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tags/tag10.xml" ContentType="application/vnd.openxmlformats-officedocument.presentationml.tags+xml"/>
  <Override PartName="/ppt/notesSlides/notesSlide7.xml" ContentType="application/vnd.openxmlformats-officedocument.presentationml.notesSlide+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ink/ink132.xml" ContentType="application/inkml+xml"/>
  <Override PartName="/ppt/ink/ink133.xml" ContentType="application/inkml+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ink/ink172.xml" ContentType="application/inkml+xml"/>
  <Override PartName="/ppt/ink/ink173.xml" ContentType="application/inkml+xml"/>
  <Override PartName="/ppt/ink/ink174.xml" ContentType="application/inkml+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ppt/ink/ink183.xml" ContentType="application/inkml+xml"/>
  <Override PartName="/ppt/ink/ink184.xml" ContentType="application/inkml+xml"/>
  <Override PartName="/ppt/ink/ink185.xml" ContentType="application/inkml+xml"/>
  <Override PartName="/ppt/ink/ink186.xml" ContentType="application/inkml+xml"/>
  <Override PartName="/ppt/ink/ink187.xml" ContentType="application/inkml+xml"/>
  <Override PartName="/ppt/ink/ink188.xml" ContentType="application/inkml+xml"/>
  <Override PartName="/ppt/ink/ink189.xml" ContentType="application/inkml+xml"/>
  <Override PartName="/ppt/ink/ink190.xml" ContentType="application/inkml+xml"/>
  <Override PartName="/ppt/ink/ink191.xml" ContentType="application/inkml+xml"/>
  <Override PartName="/ppt/ink/ink192.xml" ContentType="application/inkml+xml"/>
  <Override PartName="/ppt/ink/ink193.xml" ContentType="application/inkml+xml"/>
  <Override PartName="/ppt/ink/ink194.xml" ContentType="application/inkml+xml"/>
  <Override PartName="/ppt/ink/ink195.xml" ContentType="application/inkml+xml"/>
  <Override PartName="/ppt/ink/ink196.xml" ContentType="application/inkml+xml"/>
  <Override PartName="/ppt/ink/ink197.xml" ContentType="application/inkml+xml"/>
  <Override PartName="/ppt/ink/ink198.xml" ContentType="application/inkml+xml"/>
  <Override PartName="/ppt/ink/ink199.xml" ContentType="application/inkml+xml"/>
  <Override PartName="/ppt/ink/ink200.xml" ContentType="application/inkml+xml"/>
  <Override PartName="/ppt/ink/ink201.xml" ContentType="application/inkml+xml"/>
  <Override PartName="/ppt/ink/ink202.xml" ContentType="application/inkml+xml"/>
  <Override PartName="/ppt/ink/ink203.xml" ContentType="application/inkml+xml"/>
  <Override PartName="/ppt/ink/ink204.xml" ContentType="application/inkml+xml"/>
  <Override PartName="/ppt/ink/ink205.xml" ContentType="application/inkml+xml"/>
  <Override PartName="/ppt/ink/ink206.xml" ContentType="application/inkml+xml"/>
  <Override PartName="/ppt/ink/ink207.xml" ContentType="application/inkml+xml"/>
  <Override PartName="/ppt/ink/ink208.xml" ContentType="application/inkml+xml"/>
  <Override PartName="/ppt/ink/ink209.xml" ContentType="application/inkml+xml"/>
  <Override PartName="/ppt/ink/ink210.xml" ContentType="application/inkml+xml"/>
  <Override PartName="/ppt/ink/ink211.xml" ContentType="application/inkml+xml"/>
  <Override PartName="/ppt/ink/ink212.xml" ContentType="application/inkml+xml"/>
  <Override PartName="/ppt/ink/ink213.xml" ContentType="application/inkml+xml"/>
  <Override PartName="/ppt/ink/ink214.xml" ContentType="application/inkml+xml"/>
  <Override PartName="/ppt/ink/ink215.xml" ContentType="application/inkml+xml"/>
  <Override PartName="/ppt/ink/ink216.xml" ContentType="application/inkml+xml"/>
  <Override PartName="/ppt/ink/ink217.xml" ContentType="application/inkml+xml"/>
  <Override PartName="/ppt/ink/ink218.xml" ContentType="application/inkml+xml"/>
  <Override PartName="/ppt/ink/ink219.xml" ContentType="application/inkml+xml"/>
  <Override PartName="/ppt/ink/ink220.xml" ContentType="application/inkml+xml"/>
  <Override PartName="/ppt/ink/ink221.xml" ContentType="application/inkml+xml"/>
  <Override PartName="/ppt/ink/ink222.xml" ContentType="application/inkml+xml"/>
  <Override PartName="/ppt/ink/ink223.xml" ContentType="application/inkml+xml"/>
  <Override PartName="/ppt/ink/ink224.xml" ContentType="application/inkml+xml"/>
  <Override PartName="/ppt/ink/ink225.xml" ContentType="application/inkml+xml"/>
  <Override PartName="/ppt/ink/ink226.xml" ContentType="application/inkml+xml"/>
  <Override PartName="/ppt/ink/ink227.xml" ContentType="application/inkml+xml"/>
  <Override PartName="/ppt/ink/ink228.xml" ContentType="application/inkml+xml"/>
  <Override PartName="/ppt/ink/ink229.xml" ContentType="application/inkml+xml"/>
  <Override PartName="/ppt/ink/ink230.xml" ContentType="application/inkml+xml"/>
  <Override PartName="/ppt/ink/ink231.xml" ContentType="application/inkml+xml"/>
  <Override PartName="/ppt/ink/ink232.xml" ContentType="application/inkml+xml"/>
  <Override PartName="/ppt/ink/ink233.xml" ContentType="application/inkml+xml"/>
  <Override PartName="/ppt/ink/ink234.xml" ContentType="application/inkml+xml"/>
  <Override PartName="/ppt/ink/ink235.xml" ContentType="application/inkml+xml"/>
  <Override PartName="/ppt/ink/ink236.xml" ContentType="application/inkml+xml"/>
  <Override PartName="/ppt/ink/ink237.xml" ContentType="application/inkml+xml"/>
  <Override PartName="/ppt/ink/ink238.xml" ContentType="application/inkml+xml"/>
  <Override PartName="/ppt/ink/ink239.xml" ContentType="application/inkml+xml"/>
  <Override PartName="/ppt/ink/ink240.xml" ContentType="application/inkml+xml"/>
  <Override PartName="/ppt/ink/ink241.xml" ContentType="application/inkml+xml"/>
  <Override PartName="/ppt/ink/ink242.xml" ContentType="application/inkml+xml"/>
  <Override PartName="/ppt/ink/ink243.xml" ContentType="application/inkml+xml"/>
  <Override PartName="/ppt/ink/ink244.xml" ContentType="application/inkml+xml"/>
  <Override PartName="/ppt/ink/ink245.xml" ContentType="application/inkml+xml"/>
  <Override PartName="/ppt/ink/ink246.xml" ContentType="application/inkml+xml"/>
  <Override PartName="/ppt/ink/ink247.xml" ContentType="application/inkml+xml"/>
  <Override PartName="/ppt/ink/ink248.xml" ContentType="application/inkml+xml"/>
  <Override PartName="/ppt/ink/ink249.xml" ContentType="application/inkml+xml"/>
  <Override PartName="/ppt/ink/ink250.xml" ContentType="application/inkml+xml"/>
  <Override PartName="/ppt/ink/ink251.xml" ContentType="application/inkml+xml"/>
  <Override PartName="/ppt/ink/ink252.xml" ContentType="application/inkml+xml"/>
  <Override PartName="/ppt/ink/ink253.xml" ContentType="application/inkml+xml"/>
  <Override PartName="/ppt/ink/ink254.xml" ContentType="application/inkml+xml"/>
  <Override PartName="/ppt/ink/ink255.xml" ContentType="application/inkml+xml"/>
  <Override PartName="/ppt/ink/ink256.xml" ContentType="application/inkml+xml"/>
  <Override PartName="/ppt/ink/ink257.xml" ContentType="application/inkml+xml"/>
  <Override PartName="/ppt/ink/ink258.xml" ContentType="application/inkml+xml"/>
  <Override PartName="/ppt/ink/ink259.xml" ContentType="application/inkml+xml"/>
  <Override PartName="/ppt/ink/ink260.xml" ContentType="application/inkml+xml"/>
  <Override PartName="/ppt/ink/ink261.xml" ContentType="application/inkml+xml"/>
  <Override PartName="/ppt/ink/ink262.xml" ContentType="application/inkml+xml"/>
  <Override PartName="/ppt/ink/ink263.xml" ContentType="application/inkml+xml"/>
  <Override PartName="/ppt/ink/ink264.xml" ContentType="application/inkml+xml"/>
  <Override PartName="/ppt/ink/ink265.xml" ContentType="application/inkml+xml"/>
  <Override PartName="/ppt/ink/ink266.xml" ContentType="application/inkml+xml"/>
  <Override PartName="/ppt/ink/ink267.xml" ContentType="application/inkml+xml"/>
  <Override PartName="/ppt/ink/ink268.xml" ContentType="application/inkml+xml"/>
  <Override PartName="/ppt/ink/ink269.xml" ContentType="application/inkml+xml"/>
  <Override PartName="/ppt/ink/ink270.xml" ContentType="application/inkml+xml"/>
  <Override PartName="/ppt/ink/ink271.xml" ContentType="application/inkml+xml"/>
  <Override PartName="/ppt/ink/ink272.xml" ContentType="application/inkml+xml"/>
  <Override PartName="/ppt/ink/ink273.xml" ContentType="application/inkml+xml"/>
  <Override PartName="/ppt/ink/ink274.xml" ContentType="application/inkml+xml"/>
  <Override PartName="/ppt/tags/tag21.xml" ContentType="application/vnd.openxmlformats-officedocument.presentationml.tags+xml"/>
  <Override PartName="/ppt/ink/ink275.xml" ContentType="application/inkml+xml"/>
  <Override PartName="/ppt/ink/ink276.xml" ContentType="application/inkml+xml"/>
  <Override PartName="/ppt/ink/ink277.xml" ContentType="application/inkml+xml"/>
  <Override PartName="/ppt/ink/ink278.xml" ContentType="application/inkml+xml"/>
  <Override PartName="/ppt/ink/ink279.xml" ContentType="application/inkml+xml"/>
  <Override PartName="/ppt/ink/ink280.xml" ContentType="application/inkml+xml"/>
  <Override PartName="/ppt/ink/ink281.xml" ContentType="application/inkml+xml"/>
  <Override PartName="/ppt/ink/ink282.xml" ContentType="application/inkml+xml"/>
  <Override PartName="/ppt/ink/ink283.xml" ContentType="application/inkml+xml"/>
  <Override PartName="/ppt/ink/ink284.xml" ContentType="application/inkml+xml"/>
  <Override PartName="/ppt/ink/ink285.xml" ContentType="application/inkml+xml"/>
  <Override PartName="/ppt/ink/ink286.xml" ContentType="application/inkml+xml"/>
  <Override PartName="/ppt/ink/ink287.xml" ContentType="application/inkml+xml"/>
  <Override PartName="/ppt/ink/ink288.xml" ContentType="application/inkml+xml"/>
  <Override PartName="/ppt/ink/ink289.xml" ContentType="application/inkml+xml"/>
  <Override PartName="/ppt/ink/ink290.xml" ContentType="application/inkml+xml"/>
  <Override PartName="/ppt/ink/ink291.xml" ContentType="application/inkml+xml"/>
  <Override PartName="/ppt/ink/ink292.xml" ContentType="application/inkml+xml"/>
  <Override PartName="/ppt/ink/ink293.xml" ContentType="application/inkml+xml"/>
  <Override PartName="/ppt/ink/ink294.xml" ContentType="application/inkml+xml"/>
  <Override PartName="/ppt/ink/ink295.xml" ContentType="application/inkml+xml"/>
  <Override PartName="/ppt/ink/ink296.xml" ContentType="application/inkml+xml"/>
  <Override PartName="/ppt/ink/ink297.xml" ContentType="application/inkml+xml"/>
  <Override PartName="/ppt/ink/ink298.xml" ContentType="application/inkml+xml"/>
  <Override PartName="/ppt/ink/ink299.xml" ContentType="application/inkml+xml"/>
  <Override PartName="/ppt/ink/ink300.xml" ContentType="application/inkml+xml"/>
  <Override PartName="/ppt/ink/ink301.xml" ContentType="application/inkml+xml"/>
  <Override PartName="/ppt/ink/ink302.xml" ContentType="application/inkml+xml"/>
  <Override PartName="/ppt/ink/ink303.xml" ContentType="application/inkml+xml"/>
  <Override PartName="/ppt/ink/ink304.xml" ContentType="application/inkml+xml"/>
  <Override PartName="/ppt/ink/ink305.xml" ContentType="application/inkml+xml"/>
  <Override PartName="/ppt/ink/ink306.xml" ContentType="application/inkml+xml"/>
  <Override PartName="/ppt/ink/ink307.xml" ContentType="application/inkml+xml"/>
  <Override PartName="/ppt/ink/ink308.xml" ContentType="application/inkml+xml"/>
  <Override PartName="/ppt/ink/ink309.xml" ContentType="application/inkml+xml"/>
  <Override PartName="/ppt/ink/ink310.xml" ContentType="application/inkml+xml"/>
  <Override PartName="/ppt/ink/ink311.xml" ContentType="application/inkml+xml"/>
  <Override PartName="/ppt/ink/ink312.xml" ContentType="application/inkml+xml"/>
  <Override PartName="/ppt/ink/ink313.xml" ContentType="application/inkml+xml"/>
  <Override PartName="/ppt/tags/tag22.xml" ContentType="application/vnd.openxmlformats-officedocument.presentationml.tags+xml"/>
  <Override PartName="/ppt/tags/tag23.xml" ContentType="application/vnd.openxmlformats-officedocument.presentationml.tags+xml"/>
  <Override PartName="/ppt/ink/ink314.xml" ContentType="application/inkml+xml"/>
  <Override PartName="/ppt/ink/ink315.xml" ContentType="application/inkml+xml"/>
  <Override PartName="/ppt/ink/ink316.xml" ContentType="application/inkml+xml"/>
  <Override PartName="/ppt/ink/ink317.xml" ContentType="application/inkml+xml"/>
  <Override PartName="/ppt/ink/ink318.xml" ContentType="application/inkml+xml"/>
  <Override PartName="/ppt/ink/ink319.xml" ContentType="application/inkml+xml"/>
  <Override PartName="/ppt/ink/ink320.xml" ContentType="application/inkml+xml"/>
  <Override PartName="/ppt/ink/ink321.xml" ContentType="application/inkml+xml"/>
  <Override PartName="/ppt/ink/ink322.xml" ContentType="application/inkml+xml"/>
  <Override PartName="/ppt/ink/ink323.xml" ContentType="application/inkml+xml"/>
  <Override PartName="/ppt/ink/ink324.xml" ContentType="application/inkml+xml"/>
  <Override PartName="/ppt/ink/ink325.xml" ContentType="application/inkml+xml"/>
  <Override PartName="/ppt/ink/ink326.xml" ContentType="application/inkml+xml"/>
  <Override PartName="/ppt/ink/ink327.xml" ContentType="application/inkml+xml"/>
  <Override PartName="/ppt/ink/ink328.xml" ContentType="application/inkml+xml"/>
  <Override PartName="/ppt/ink/ink329.xml" ContentType="application/inkml+xml"/>
  <Override PartName="/ppt/ink/ink330.xml" ContentType="application/inkml+xml"/>
  <Override PartName="/ppt/ink/ink331.xml" ContentType="application/inkml+xml"/>
  <Override PartName="/ppt/ink/ink332.xml" ContentType="application/inkml+xml"/>
  <Override PartName="/ppt/ink/ink333.xml" ContentType="application/inkml+xml"/>
  <Override PartName="/ppt/ink/ink334.xml" ContentType="application/inkml+xml"/>
  <Override PartName="/ppt/ink/ink335.xml" ContentType="application/inkml+xml"/>
  <Override PartName="/ppt/ink/ink336.xml" ContentType="application/inkml+xml"/>
  <Override PartName="/ppt/ink/ink337.xml" ContentType="application/inkml+xml"/>
  <Override PartName="/ppt/ink/ink338.xml" ContentType="application/inkml+xml"/>
  <Override PartName="/ppt/ink/ink339.xml" ContentType="application/inkml+xml"/>
  <Override PartName="/ppt/ink/ink340.xml" ContentType="application/inkml+xml"/>
  <Override PartName="/ppt/ink/ink341.xml" ContentType="application/inkml+xml"/>
  <Override PartName="/ppt/ink/ink342.xml" ContentType="application/inkml+xml"/>
  <Override PartName="/ppt/ink/ink343.xml" ContentType="application/inkml+xml"/>
  <Override PartName="/ppt/ink/ink344.xml" ContentType="application/inkml+xml"/>
  <Override PartName="/ppt/ink/ink345.xml" ContentType="application/inkml+xml"/>
  <Override PartName="/ppt/ink/ink346.xml" ContentType="application/inkml+xml"/>
  <Override PartName="/ppt/ink/ink347.xml" ContentType="application/inkml+xml"/>
  <Override PartName="/ppt/ink/ink348.xml" ContentType="application/inkml+xml"/>
  <Override PartName="/ppt/ink/ink349.xml" ContentType="application/inkml+xml"/>
  <Override PartName="/ppt/ink/ink350.xml" ContentType="application/inkml+xml"/>
  <Override PartName="/ppt/ink/ink351.xml" ContentType="application/inkml+xml"/>
  <Override PartName="/ppt/ink/ink352.xml" ContentType="application/inkml+xml"/>
  <Override PartName="/ppt/ink/ink353.xml" ContentType="application/inkml+xml"/>
  <Override PartName="/ppt/ink/ink354.xml" ContentType="application/inkml+xml"/>
  <Override PartName="/ppt/ink/ink355.xml" ContentType="application/inkml+xml"/>
  <Override PartName="/ppt/ink/ink356.xml" ContentType="application/inkml+xml"/>
  <Override PartName="/ppt/ink/ink357.xml" ContentType="application/inkml+xml"/>
  <Override PartName="/ppt/ink/ink358.xml" ContentType="application/inkml+xml"/>
  <Override PartName="/ppt/ink/ink359.xml" ContentType="application/inkml+xml"/>
  <Override PartName="/ppt/ink/ink360.xml" ContentType="application/inkml+xml"/>
  <Override PartName="/ppt/ink/ink361.xml" ContentType="application/inkml+xml"/>
  <Override PartName="/ppt/ink/ink362.xml" ContentType="application/inkml+xml"/>
  <Override PartName="/ppt/ink/ink363.xml" ContentType="application/inkml+xml"/>
  <Override PartName="/ppt/ink/ink364.xml" ContentType="application/inkml+xml"/>
  <Override PartName="/ppt/ink/ink365.xml" ContentType="application/inkml+xml"/>
  <Override PartName="/ppt/ink/ink366.xml" ContentType="application/inkml+xml"/>
  <Override PartName="/ppt/ink/ink367.xml" ContentType="application/inkml+xml"/>
  <Override PartName="/ppt/ink/ink368.xml" ContentType="application/inkml+xml"/>
  <Override PartName="/ppt/ink/ink369.xml" ContentType="application/inkml+xml"/>
  <Override PartName="/ppt/ink/ink370.xml" ContentType="application/inkml+xml"/>
  <Override PartName="/ppt/ink/ink371.xml" ContentType="application/inkml+xml"/>
  <Override PartName="/ppt/ink/ink372.xml" ContentType="application/inkml+xml"/>
  <Override PartName="/ppt/ink/ink373.xml" ContentType="application/inkml+xml"/>
  <Override PartName="/ppt/ink/ink374.xml" ContentType="application/inkml+xml"/>
  <Override PartName="/ppt/ink/ink375.xml" ContentType="application/inkml+xml"/>
  <Override PartName="/ppt/ink/ink376.xml" ContentType="application/inkml+xml"/>
  <Override PartName="/ppt/ink/ink377.xml" ContentType="application/inkml+xml"/>
  <Override PartName="/ppt/ink/ink378.xml" ContentType="application/inkml+xml"/>
  <Override PartName="/ppt/ink/ink379.xml" ContentType="application/inkml+xml"/>
  <Override PartName="/ppt/ink/ink380.xml" ContentType="application/inkml+xml"/>
  <Override PartName="/ppt/ink/ink381.xml" ContentType="application/inkml+xml"/>
  <Override PartName="/ppt/ink/ink382.xml" ContentType="application/inkml+xml"/>
  <Override PartName="/ppt/ink/ink383.xml" ContentType="application/inkml+xml"/>
  <Override PartName="/ppt/ink/ink384.xml" ContentType="application/inkml+xml"/>
  <Override PartName="/ppt/ink/ink385.xml" ContentType="application/inkml+xml"/>
  <Override PartName="/ppt/ink/ink386.xml" ContentType="application/inkml+xml"/>
  <Override PartName="/ppt/ink/ink387.xml" ContentType="application/inkml+xml"/>
  <Override PartName="/ppt/ink/ink388.xml" ContentType="application/inkml+xml"/>
  <Override PartName="/ppt/ink/ink389.xml" ContentType="application/inkml+xml"/>
  <Override PartName="/ppt/ink/ink390.xml" ContentType="application/inkml+xml"/>
  <Override PartName="/ppt/ink/ink391.xml" ContentType="application/inkml+xml"/>
  <Override PartName="/ppt/ink/ink392.xml" ContentType="application/inkml+xml"/>
  <Override PartName="/ppt/ink/ink393.xml" ContentType="application/inkml+xml"/>
  <Override PartName="/ppt/ink/ink394.xml" ContentType="application/inkml+xml"/>
  <Override PartName="/ppt/ink/ink395.xml" ContentType="application/inkml+xml"/>
  <Override PartName="/ppt/ink/ink396.xml" ContentType="application/inkml+xml"/>
  <Override PartName="/ppt/ink/ink397.xml" ContentType="application/inkml+xml"/>
  <Override PartName="/ppt/ink/ink398.xml" ContentType="application/inkml+xml"/>
  <Override PartName="/ppt/ink/ink399.xml" ContentType="application/inkml+xml"/>
  <Override PartName="/ppt/ink/ink400.xml" ContentType="application/inkml+xml"/>
  <Override PartName="/ppt/ink/ink401.xml" ContentType="application/inkml+xml"/>
  <Override PartName="/ppt/ink/ink402.xml" ContentType="application/inkml+xml"/>
  <Override PartName="/ppt/ink/ink403.xml" ContentType="application/inkml+xml"/>
  <Override PartName="/ppt/ink/ink404.xml" ContentType="application/inkml+xml"/>
  <Override PartName="/ppt/ink/ink405.xml" ContentType="application/inkml+xml"/>
  <Override PartName="/ppt/ink/ink406.xml" ContentType="application/inkml+xml"/>
  <Override PartName="/ppt/ink/ink407.xml" ContentType="application/inkml+xml"/>
  <Override PartName="/ppt/ink/ink408.xml" ContentType="application/inkml+xml"/>
  <Override PartName="/ppt/ink/ink409.xml" ContentType="application/inkml+xml"/>
  <Override PartName="/ppt/ink/ink410.xml" ContentType="application/inkml+xml"/>
  <Override PartName="/ppt/ink/ink411.xml" ContentType="application/inkml+xml"/>
  <Override PartName="/ppt/ink/ink412.xml" ContentType="application/inkml+xml"/>
  <Override PartName="/ppt/ink/ink413.xml" ContentType="application/inkml+xml"/>
  <Override PartName="/ppt/ink/ink414.xml" ContentType="application/inkml+xml"/>
  <Override PartName="/ppt/ink/ink415.xml" ContentType="application/inkml+xml"/>
  <Override PartName="/ppt/ink/ink416.xml" ContentType="application/inkml+xml"/>
  <Override PartName="/ppt/ink/ink417.xml" ContentType="application/inkml+xml"/>
  <Override PartName="/ppt/ink/ink418.xml" ContentType="application/inkml+xml"/>
  <Override PartName="/ppt/ink/ink419.xml" ContentType="application/inkml+xml"/>
  <Override PartName="/ppt/tags/tag24.xml" ContentType="application/vnd.openxmlformats-officedocument.presentationml.tags+xml"/>
  <Override PartName="/ppt/ink/ink420.xml" ContentType="application/inkml+xml"/>
  <Override PartName="/ppt/ink/ink421.xml" ContentType="application/inkml+xml"/>
  <Override PartName="/ppt/ink/ink422.xml" ContentType="application/inkml+xml"/>
  <Override PartName="/ppt/ink/ink423.xml" ContentType="application/inkml+xml"/>
  <Override PartName="/ppt/ink/ink424.xml" ContentType="application/inkml+xml"/>
  <Override PartName="/ppt/ink/ink425.xml" ContentType="application/inkml+xml"/>
  <Override PartName="/ppt/ink/ink426.xml" ContentType="application/inkml+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4"/>
  </p:notesMasterIdLst>
  <p:sldIdLst>
    <p:sldId id="256" r:id="rId2"/>
    <p:sldId id="296" r:id="rId3"/>
    <p:sldId id="281" r:id="rId4"/>
    <p:sldId id="280" r:id="rId5"/>
    <p:sldId id="282" r:id="rId6"/>
    <p:sldId id="284" r:id="rId7"/>
    <p:sldId id="285" r:id="rId8"/>
    <p:sldId id="286" r:id="rId9"/>
    <p:sldId id="287" r:id="rId10"/>
    <p:sldId id="288" r:id="rId11"/>
    <p:sldId id="297" r:id="rId12"/>
    <p:sldId id="298" r:id="rId13"/>
    <p:sldId id="299" r:id="rId14"/>
    <p:sldId id="292" r:id="rId15"/>
    <p:sldId id="293" r:id="rId16"/>
    <p:sldId id="290" r:id="rId17"/>
    <p:sldId id="289" r:id="rId18"/>
    <p:sldId id="295" r:id="rId19"/>
    <p:sldId id="294" r:id="rId20"/>
    <p:sldId id="300" r:id="rId21"/>
    <p:sldId id="301" r:id="rId22"/>
    <p:sldId id="303" r:id="rId23"/>
    <p:sldId id="302" r:id="rId24"/>
    <p:sldId id="304" r:id="rId25"/>
    <p:sldId id="305" r:id="rId26"/>
    <p:sldId id="306" r:id="rId27"/>
    <p:sldId id="307" r:id="rId28"/>
    <p:sldId id="308" r:id="rId29"/>
    <p:sldId id="309" r:id="rId30"/>
    <p:sldId id="310" r:id="rId31"/>
    <p:sldId id="311" r:id="rId32"/>
    <p:sldId id="291" r:id="rId33"/>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BEB331B-5D67-4531-95A2-B11E91B68E74}">
          <p14:sldIdLst>
            <p14:sldId id="256"/>
            <p14:sldId id="296"/>
            <p14:sldId id="281"/>
            <p14:sldId id="280"/>
            <p14:sldId id="282"/>
            <p14:sldId id="284"/>
            <p14:sldId id="285"/>
            <p14:sldId id="286"/>
            <p14:sldId id="287"/>
            <p14:sldId id="288"/>
            <p14:sldId id="297"/>
            <p14:sldId id="298"/>
            <p14:sldId id="299"/>
            <p14:sldId id="292"/>
            <p14:sldId id="293"/>
            <p14:sldId id="290"/>
            <p14:sldId id="289"/>
            <p14:sldId id="295"/>
            <p14:sldId id="294"/>
            <p14:sldId id="300"/>
            <p14:sldId id="301"/>
            <p14:sldId id="303"/>
            <p14:sldId id="302"/>
            <p14:sldId id="304"/>
            <p14:sldId id="305"/>
            <p14:sldId id="306"/>
            <p14:sldId id="307"/>
            <p14:sldId id="308"/>
            <p14:sldId id="309"/>
            <p14:sldId id="310"/>
            <p14:sldId id="311"/>
            <p14:sldId id="29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875" autoAdjust="0"/>
    <p:restoredTop sz="96327" autoAdjust="0"/>
  </p:normalViewPr>
  <p:slideViewPr>
    <p:cSldViewPr snapToGrid="0">
      <p:cViewPr varScale="1">
        <p:scale>
          <a:sx n="160" d="100"/>
          <a:sy n="160" d="100"/>
        </p:scale>
        <p:origin x="424"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iket Chhabra" userId="598e0514-bef3-4e71-b6aa-f2edd6441cff" providerId="ADAL" clId="{43E39AE6-34EE-7C4D-B602-232FA08B7158}"/>
    <pc:docChg chg="modSld">
      <pc:chgData name="Aniket Chhabra" userId="598e0514-bef3-4e71-b6aa-f2edd6441cff" providerId="ADAL" clId="{43E39AE6-34EE-7C4D-B602-232FA08B7158}" dt="2022-10-20T14:42:26.950" v="351"/>
      <pc:docMkLst>
        <pc:docMk/>
      </pc:docMkLst>
      <pc:sldChg chg="addSp delSp modSp mod">
        <pc:chgData name="Aniket Chhabra" userId="598e0514-bef3-4e71-b6aa-f2edd6441cff" providerId="ADAL" clId="{43E39AE6-34EE-7C4D-B602-232FA08B7158}" dt="2022-10-20T14:27:10.805" v="184"/>
        <pc:sldMkLst>
          <pc:docMk/>
          <pc:sldMk cId="2063328610" sldId="284"/>
        </pc:sldMkLst>
        <pc:grpChg chg="del mod">
          <ac:chgData name="Aniket Chhabra" userId="598e0514-bef3-4e71-b6aa-f2edd6441cff" providerId="ADAL" clId="{43E39AE6-34EE-7C4D-B602-232FA08B7158}" dt="2022-10-20T14:26:28.340" v="113"/>
          <ac:grpSpMkLst>
            <pc:docMk/>
            <pc:sldMk cId="2063328610" sldId="284"/>
            <ac:grpSpMk id="11" creationId="{6928D1E6-A77E-BCF2-3FA2-6DA7E0882958}"/>
          </ac:grpSpMkLst>
        </pc:grpChg>
        <pc:grpChg chg="del mod">
          <ac:chgData name="Aniket Chhabra" userId="598e0514-bef3-4e71-b6aa-f2edd6441cff" providerId="ADAL" clId="{43E39AE6-34EE-7C4D-B602-232FA08B7158}" dt="2022-10-20T14:26:32.903" v="122"/>
          <ac:grpSpMkLst>
            <pc:docMk/>
            <pc:sldMk cId="2063328610" sldId="284"/>
            <ac:grpSpMk id="13" creationId="{72AC4947-9266-C212-7575-520C490E3B04}"/>
          </ac:grpSpMkLst>
        </pc:grpChg>
        <pc:grpChg chg="del mod">
          <ac:chgData name="Aniket Chhabra" userId="598e0514-bef3-4e71-b6aa-f2edd6441cff" providerId="ADAL" clId="{43E39AE6-34EE-7C4D-B602-232FA08B7158}" dt="2022-10-20T14:26:32.903" v="122"/>
          <ac:grpSpMkLst>
            <pc:docMk/>
            <pc:sldMk cId="2063328610" sldId="284"/>
            <ac:grpSpMk id="23" creationId="{966CA03D-366F-AB45-3967-923A68718C69}"/>
          </ac:grpSpMkLst>
        </pc:grpChg>
        <pc:grpChg chg="del mod">
          <ac:chgData name="Aniket Chhabra" userId="598e0514-bef3-4e71-b6aa-f2edd6441cff" providerId="ADAL" clId="{43E39AE6-34EE-7C4D-B602-232FA08B7158}" dt="2022-10-20T14:26:41.239" v="141"/>
          <ac:grpSpMkLst>
            <pc:docMk/>
            <pc:sldMk cId="2063328610" sldId="284"/>
            <ac:grpSpMk id="25" creationId="{4E7AEDE2-6A16-D899-9760-7C66C84CC363}"/>
          </ac:grpSpMkLst>
        </pc:grpChg>
        <pc:grpChg chg="del mod">
          <ac:chgData name="Aniket Chhabra" userId="598e0514-bef3-4e71-b6aa-f2edd6441cff" providerId="ADAL" clId="{43E39AE6-34EE-7C4D-B602-232FA08B7158}" dt="2022-10-20T14:26:36.522" v="132"/>
          <ac:grpSpMkLst>
            <pc:docMk/>
            <pc:sldMk cId="2063328610" sldId="284"/>
            <ac:grpSpMk id="34" creationId="{A56E441E-B3F7-F874-9769-A763C677D84B}"/>
          </ac:grpSpMkLst>
        </pc:grpChg>
        <pc:grpChg chg="del mod">
          <ac:chgData name="Aniket Chhabra" userId="598e0514-bef3-4e71-b6aa-f2edd6441cff" providerId="ADAL" clId="{43E39AE6-34EE-7C4D-B602-232FA08B7158}" dt="2022-10-20T14:26:41.239" v="141"/>
          <ac:grpSpMkLst>
            <pc:docMk/>
            <pc:sldMk cId="2063328610" sldId="284"/>
            <ac:grpSpMk id="36" creationId="{DA11C352-529E-D119-AB3F-35809344CEB2}"/>
          </ac:grpSpMkLst>
        </pc:grpChg>
        <pc:grpChg chg="del mod">
          <ac:chgData name="Aniket Chhabra" userId="598e0514-bef3-4e71-b6aa-f2edd6441cff" providerId="ADAL" clId="{43E39AE6-34EE-7C4D-B602-232FA08B7158}" dt="2022-10-20T14:26:42.557" v="145"/>
          <ac:grpSpMkLst>
            <pc:docMk/>
            <pc:sldMk cId="2063328610" sldId="284"/>
            <ac:grpSpMk id="45" creationId="{53C171DE-E69C-3528-D89C-BD5259E394E4}"/>
          </ac:grpSpMkLst>
        </pc:grpChg>
        <pc:grpChg chg="del mod">
          <ac:chgData name="Aniket Chhabra" userId="598e0514-bef3-4e71-b6aa-f2edd6441cff" providerId="ADAL" clId="{43E39AE6-34EE-7C4D-B602-232FA08B7158}" dt="2022-10-20T14:26:44.952" v="150"/>
          <ac:grpSpMkLst>
            <pc:docMk/>
            <pc:sldMk cId="2063328610" sldId="284"/>
            <ac:grpSpMk id="49" creationId="{BE36A365-7094-DCB4-EDD6-F58D3370CC4E}"/>
          </ac:grpSpMkLst>
        </pc:grpChg>
        <pc:grpChg chg="del mod">
          <ac:chgData name="Aniket Chhabra" userId="598e0514-bef3-4e71-b6aa-f2edd6441cff" providerId="ADAL" clId="{43E39AE6-34EE-7C4D-B602-232FA08B7158}" dt="2022-10-20T14:26:57.974" v="169"/>
          <ac:grpSpMkLst>
            <pc:docMk/>
            <pc:sldMk cId="2063328610" sldId="284"/>
            <ac:grpSpMk id="54" creationId="{7DD00231-3381-670B-DF80-D38553D86D01}"/>
          </ac:grpSpMkLst>
        </pc:grpChg>
        <pc:grpChg chg="del mod">
          <ac:chgData name="Aniket Chhabra" userId="598e0514-bef3-4e71-b6aa-f2edd6441cff" providerId="ADAL" clId="{43E39AE6-34EE-7C4D-B602-232FA08B7158}" dt="2022-10-20T14:26:57.974" v="169"/>
          <ac:grpSpMkLst>
            <pc:docMk/>
            <pc:sldMk cId="2063328610" sldId="284"/>
            <ac:grpSpMk id="65" creationId="{56031591-0AB5-D30E-667B-F11A4C67C565}"/>
          </ac:grpSpMkLst>
        </pc:grpChg>
        <pc:grpChg chg="del mod">
          <ac:chgData name="Aniket Chhabra" userId="598e0514-bef3-4e71-b6aa-f2edd6441cff" providerId="ADAL" clId="{43E39AE6-34EE-7C4D-B602-232FA08B7158}" dt="2022-10-20T14:26:57.974" v="169"/>
          <ac:grpSpMkLst>
            <pc:docMk/>
            <pc:sldMk cId="2063328610" sldId="284"/>
            <ac:grpSpMk id="70" creationId="{CDA81A18-B3E5-766D-3FD8-8E0B9CD22199}"/>
          </ac:grpSpMkLst>
        </pc:grpChg>
        <pc:grpChg chg="del mod">
          <ac:chgData name="Aniket Chhabra" userId="598e0514-bef3-4e71-b6aa-f2edd6441cff" providerId="ADAL" clId="{43E39AE6-34EE-7C4D-B602-232FA08B7158}" dt="2022-10-20T14:27:02.228" v="171"/>
          <ac:grpSpMkLst>
            <pc:docMk/>
            <pc:sldMk cId="2063328610" sldId="284"/>
            <ac:grpSpMk id="73" creationId="{37E85501-4EA2-5463-7892-05F22E6BCA89}"/>
          </ac:grpSpMkLst>
        </pc:grpChg>
        <pc:grpChg chg="mod">
          <ac:chgData name="Aniket Chhabra" userId="598e0514-bef3-4e71-b6aa-f2edd6441cff" providerId="ADAL" clId="{43E39AE6-34EE-7C4D-B602-232FA08B7158}" dt="2022-10-20T14:27:02.228" v="171"/>
          <ac:grpSpMkLst>
            <pc:docMk/>
            <pc:sldMk cId="2063328610" sldId="284"/>
            <ac:grpSpMk id="75" creationId="{67858B7A-CFF4-E83F-B91C-AA4FA32B4BFE}"/>
          </ac:grpSpMkLst>
        </pc:grpChg>
        <pc:grpChg chg="mod">
          <ac:chgData name="Aniket Chhabra" userId="598e0514-bef3-4e71-b6aa-f2edd6441cff" providerId="ADAL" clId="{43E39AE6-34EE-7C4D-B602-232FA08B7158}" dt="2022-10-20T14:27:02.898" v="173"/>
          <ac:grpSpMkLst>
            <pc:docMk/>
            <pc:sldMk cId="2063328610" sldId="284"/>
            <ac:grpSpMk id="77" creationId="{4D51ED5A-D134-417A-8FF4-E5DE0649E0BE}"/>
          </ac:grpSpMkLst>
        </pc:grpChg>
        <pc:grpChg chg="del mod">
          <ac:chgData name="Aniket Chhabra" userId="598e0514-bef3-4e71-b6aa-f2edd6441cff" providerId="ADAL" clId="{43E39AE6-34EE-7C4D-B602-232FA08B7158}" dt="2022-10-20T14:27:10.805" v="184"/>
          <ac:grpSpMkLst>
            <pc:docMk/>
            <pc:sldMk cId="2063328610" sldId="284"/>
            <ac:grpSpMk id="84" creationId="{B916550C-7A25-9948-E58B-0A3C07F9F8D7}"/>
          </ac:grpSpMkLst>
        </pc:grpChg>
        <pc:grpChg chg="mod">
          <ac:chgData name="Aniket Chhabra" userId="598e0514-bef3-4e71-b6aa-f2edd6441cff" providerId="ADAL" clId="{43E39AE6-34EE-7C4D-B602-232FA08B7158}" dt="2022-10-20T14:27:10.805" v="184"/>
          <ac:grpSpMkLst>
            <pc:docMk/>
            <pc:sldMk cId="2063328610" sldId="284"/>
            <ac:grpSpMk id="88" creationId="{B05519A2-A5DC-DEAD-7F98-21CF4A86493F}"/>
          </ac:grpSpMkLst>
        </pc:grpChg>
        <pc:inkChg chg="add">
          <ac:chgData name="Aniket Chhabra" userId="598e0514-bef3-4e71-b6aa-f2edd6441cff" providerId="ADAL" clId="{43E39AE6-34EE-7C4D-B602-232FA08B7158}" dt="2022-10-20T14:25:27.341" v="99" actId="9405"/>
          <ac:inkMkLst>
            <pc:docMk/>
            <pc:sldMk cId="2063328610" sldId="284"/>
            <ac:inkMk id="3" creationId="{93EAB5DE-7C23-F2FC-F018-085A1BD4F754}"/>
          </ac:inkMkLst>
        </pc:inkChg>
        <pc:inkChg chg="add">
          <ac:chgData name="Aniket Chhabra" userId="598e0514-bef3-4e71-b6aa-f2edd6441cff" providerId="ADAL" clId="{43E39AE6-34EE-7C4D-B602-232FA08B7158}" dt="2022-10-20T14:25:28.345" v="100" actId="9405"/>
          <ac:inkMkLst>
            <pc:docMk/>
            <pc:sldMk cId="2063328610" sldId="284"/>
            <ac:inkMk id="4" creationId="{138CEFB0-EBC5-1357-326A-0C3F15D714B8}"/>
          </ac:inkMkLst>
        </pc:inkChg>
        <pc:inkChg chg="add mod">
          <ac:chgData name="Aniket Chhabra" userId="598e0514-bef3-4e71-b6aa-f2edd6441cff" providerId="ADAL" clId="{43E39AE6-34EE-7C4D-B602-232FA08B7158}" dt="2022-10-20T14:27:02.228" v="171"/>
          <ac:inkMkLst>
            <pc:docMk/>
            <pc:sldMk cId="2063328610" sldId="284"/>
            <ac:inkMk id="5" creationId="{FF71C812-0722-4C6D-D075-27942BA60BBE}"/>
          </ac:inkMkLst>
        </pc:inkChg>
        <pc:inkChg chg="add mod">
          <ac:chgData name="Aniket Chhabra" userId="598e0514-bef3-4e71-b6aa-f2edd6441cff" providerId="ADAL" clId="{43E39AE6-34EE-7C4D-B602-232FA08B7158}" dt="2022-10-20T14:27:02.228" v="171"/>
          <ac:inkMkLst>
            <pc:docMk/>
            <pc:sldMk cId="2063328610" sldId="284"/>
            <ac:inkMk id="7" creationId="{45A9FD46-E0D8-A792-D1D6-039E254C03D3}"/>
          </ac:inkMkLst>
        </pc:inkChg>
        <pc:inkChg chg="add mod">
          <ac:chgData name="Aniket Chhabra" userId="598e0514-bef3-4e71-b6aa-f2edd6441cff" providerId="ADAL" clId="{43E39AE6-34EE-7C4D-B602-232FA08B7158}" dt="2022-10-20T14:27:02.228" v="171"/>
          <ac:inkMkLst>
            <pc:docMk/>
            <pc:sldMk cId="2063328610" sldId="284"/>
            <ac:inkMk id="9" creationId="{C9B59F55-4DDD-8010-9D3E-B4A75433619A}"/>
          </ac:inkMkLst>
        </pc:inkChg>
        <pc:inkChg chg="add mod">
          <ac:chgData name="Aniket Chhabra" userId="598e0514-bef3-4e71-b6aa-f2edd6441cff" providerId="ADAL" clId="{43E39AE6-34EE-7C4D-B602-232FA08B7158}" dt="2022-10-20T14:27:02.228" v="171"/>
          <ac:inkMkLst>
            <pc:docMk/>
            <pc:sldMk cId="2063328610" sldId="284"/>
            <ac:inkMk id="10" creationId="{E86282BA-7765-F4AE-70EF-F9958957C71B}"/>
          </ac:inkMkLst>
        </pc:inkChg>
        <pc:inkChg chg="add mod">
          <ac:chgData name="Aniket Chhabra" userId="598e0514-bef3-4e71-b6aa-f2edd6441cff" providerId="ADAL" clId="{43E39AE6-34EE-7C4D-B602-232FA08B7158}" dt="2022-10-20T14:27:02.228" v="171"/>
          <ac:inkMkLst>
            <pc:docMk/>
            <pc:sldMk cId="2063328610" sldId="284"/>
            <ac:inkMk id="12" creationId="{7B87777C-7C9F-83EA-C935-C68BEF524E9C}"/>
          </ac:inkMkLst>
        </pc:inkChg>
        <pc:inkChg chg="add mod">
          <ac:chgData name="Aniket Chhabra" userId="598e0514-bef3-4e71-b6aa-f2edd6441cff" providerId="ADAL" clId="{43E39AE6-34EE-7C4D-B602-232FA08B7158}" dt="2022-10-20T14:27:02.228" v="171"/>
          <ac:inkMkLst>
            <pc:docMk/>
            <pc:sldMk cId="2063328610" sldId="284"/>
            <ac:inkMk id="15" creationId="{5F5038F9-406B-47EA-2910-D34AFC14375E}"/>
          </ac:inkMkLst>
        </pc:inkChg>
        <pc:inkChg chg="add mod">
          <ac:chgData name="Aniket Chhabra" userId="598e0514-bef3-4e71-b6aa-f2edd6441cff" providerId="ADAL" clId="{43E39AE6-34EE-7C4D-B602-232FA08B7158}" dt="2022-10-20T14:27:02.228" v="171"/>
          <ac:inkMkLst>
            <pc:docMk/>
            <pc:sldMk cId="2063328610" sldId="284"/>
            <ac:inkMk id="16" creationId="{49F6CCFC-35FA-3556-B33F-949D7A47F023}"/>
          </ac:inkMkLst>
        </pc:inkChg>
        <pc:inkChg chg="add mod">
          <ac:chgData name="Aniket Chhabra" userId="598e0514-bef3-4e71-b6aa-f2edd6441cff" providerId="ADAL" clId="{43E39AE6-34EE-7C4D-B602-232FA08B7158}" dt="2022-10-20T14:27:02.228" v="171"/>
          <ac:inkMkLst>
            <pc:docMk/>
            <pc:sldMk cId="2063328610" sldId="284"/>
            <ac:inkMk id="17" creationId="{C3312708-898B-CDFD-BBF9-B263C2377902}"/>
          </ac:inkMkLst>
        </pc:inkChg>
        <pc:inkChg chg="add mod">
          <ac:chgData name="Aniket Chhabra" userId="598e0514-bef3-4e71-b6aa-f2edd6441cff" providerId="ADAL" clId="{43E39AE6-34EE-7C4D-B602-232FA08B7158}" dt="2022-10-20T14:27:02.228" v="171"/>
          <ac:inkMkLst>
            <pc:docMk/>
            <pc:sldMk cId="2063328610" sldId="284"/>
            <ac:inkMk id="18" creationId="{5443C52C-C1BE-3096-6F85-0FF71186F80F}"/>
          </ac:inkMkLst>
        </pc:inkChg>
        <pc:inkChg chg="add mod">
          <ac:chgData name="Aniket Chhabra" userId="598e0514-bef3-4e71-b6aa-f2edd6441cff" providerId="ADAL" clId="{43E39AE6-34EE-7C4D-B602-232FA08B7158}" dt="2022-10-20T14:27:02.228" v="171"/>
          <ac:inkMkLst>
            <pc:docMk/>
            <pc:sldMk cId="2063328610" sldId="284"/>
            <ac:inkMk id="19" creationId="{2B45AF85-87A3-745B-9B6E-1E92BE37B996}"/>
          </ac:inkMkLst>
        </pc:inkChg>
        <pc:inkChg chg="add mod">
          <ac:chgData name="Aniket Chhabra" userId="598e0514-bef3-4e71-b6aa-f2edd6441cff" providerId="ADAL" clId="{43E39AE6-34EE-7C4D-B602-232FA08B7158}" dt="2022-10-20T14:27:02.228" v="171"/>
          <ac:inkMkLst>
            <pc:docMk/>
            <pc:sldMk cId="2063328610" sldId="284"/>
            <ac:inkMk id="20" creationId="{99DE6010-72FC-4AB2-7653-6E3FA9F7F522}"/>
          </ac:inkMkLst>
        </pc:inkChg>
        <pc:inkChg chg="add mod">
          <ac:chgData name="Aniket Chhabra" userId="598e0514-bef3-4e71-b6aa-f2edd6441cff" providerId="ADAL" clId="{43E39AE6-34EE-7C4D-B602-232FA08B7158}" dt="2022-10-20T14:27:02.228" v="171"/>
          <ac:inkMkLst>
            <pc:docMk/>
            <pc:sldMk cId="2063328610" sldId="284"/>
            <ac:inkMk id="21" creationId="{68A55537-C98F-E1EF-98A2-18F150B8DB95}"/>
          </ac:inkMkLst>
        </pc:inkChg>
        <pc:inkChg chg="add mod">
          <ac:chgData name="Aniket Chhabra" userId="598e0514-bef3-4e71-b6aa-f2edd6441cff" providerId="ADAL" clId="{43E39AE6-34EE-7C4D-B602-232FA08B7158}" dt="2022-10-20T14:27:02.228" v="171"/>
          <ac:inkMkLst>
            <pc:docMk/>
            <pc:sldMk cId="2063328610" sldId="284"/>
            <ac:inkMk id="22" creationId="{CE4A09C4-A28F-8362-B20C-99DC0CE7C6FA}"/>
          </ac:inkMkLst>
        </pc:inkChg>
        <pc:inkChg chg="add mod">
          <ac:chgData name="Aniket Chhabra" userId="598e0514-bef3-4e71-b6aa-f2edd6441cff" providerId="ADAL" clId="{43E39AE6-34EE-7C4D-B602-232FA08B7158}" dt="2022-10-20T14:27:02.898" v="173"/>
          <ac:inkMkLst>
            <pc:docMk/>
            <pc:sldMk cId="2063328610" sldId="284"/>
            <ac:inkMk id="26" creationId="{446EC5F4-4583-9EE5-BBA9-2AFB89123B66}"/>
          </ac:inkMkLst>
        </pc:inkChg>
        <pc:inkChg chg="add mod">
          <ac:chgData name="Aniket Chhabra" userId="598e0514-bef3-4e71-b6aa-f2edd6441cff" providerId="ADAL" clId="{43E39AE6-34EE-7C4D-B602-232FA08B7158}" dt="2022-10-20T14:27:02.898" v="173"/>
          <ac:inkMkLst>
            <pc:docMk/>
            <pc:sldMk cId="2063328610" sldId="284"/>
            <ac:inkMk id="27" creationId="{9A0E22EB-EB3C-958E-A877-E9DE288C0FF6}"/>
          </ac:inkMkLst>
        </pc:inkChg>
        <pc:inkChg chg="add mod">
          <ac:chgData name="Aniket Chhabra" userId="598e0514-bef3-4e71-b6aa-f2edd6441cff" providerId="ADAL" clId="{43E39AE6-34EE-7C4D-B602-232FA08B7158}" dt="2022-10-20T14:27:02.898" v="173"/>
          <ac:inkMkLst>
            <pc:docMk/>
            <pc:sldMk cId="2063328610" sldId="284"/>
            <ac:inkMk id="29" creationId="{B420BEA6-E48A-B185-8071-E6A7686F468C}"/>
          </ac:inkMkLst>
        </pc:inkChg>
        <pc:inkChg chg="add mod">
          <ac:chgData name="Aniket Chhabra" userId="598e0514-bef3-4e71-b6aa-f2edd6441cff" providerId="ADAL" clId="{43E39AE6-34EE-7C4D-B602-232FA08B7158}" dt="2022-10-20T14:27:02.898" v="173"/>
          <ac:inkMkLst>
            <pc:docMk/>
            <pc:sldMk cId="2063328610" sldId="284"/>
            <ac:inkMk id="30" creationId="{D0A51934-22AA-F7F9-F463-B9C19324D828}"/>
          </ac:inkMkLst>
        </pc:inkChg>
        <pc:inkChg chg="add mod">
          <ac:chgData name="Aniket Chhabra" userId="598e0514-bef3-4e71-b6aa-f2edd6441cff" providerId="ADAL" clId="{43E39AE6-34EE-7C4D-B602-232FA08B7158}" dt="2022-10-20T14:27:02.898" v="173"/>
          <ac:inkMkLst>
            <pc:docMk/>
            <pc:sldMk cId="2063328610" sldId="284"/>
            <ac:inkMk id="31" creationId="{A87A6021-90A4-D3C8-F5C4-34A0B65C5C65}"/>
          </ac:inkMkLst>
        </pc:inkChg>
        <pc:inkChg chg="add mod">
          <ac:chgData name="Aniket Chhabra" userId="598e0514-bef3-4e71-b6aa-f2edd6441cff" providerId="ADAL" clId="{43E39AE6-34EE-7C4D-B602-232FA08B7158}" dt="2022-10-20T14:27:02.898" v="173"/>
          <ac:inkMkLst>
            <pc:docMk/>
            <pc:sldMk cId="2063328610" sldId="284"/>
            <ac:inkMk id="32" creationId="{DAAC35BA-3F7B-3835-42DF-01DC5DADDB73}"/>
          </ac:inkMkLst>
        </pc:inkChg>
        <pc:inkChg chg="add mod">
          <ac:chgData name="Aniket Chhabra" userId="598e0514-bef3-4e71-b6aa-f2edd6441cff" providerId="ADAL" clId="{43E39AE6-34EE-7C4D-B602-232FA08B7158}" dt="2022-10-20T14:27:02.898" v="173"/>
          <ac:inkMkLst>
            <pc:docMk/>
            <pc:sldMk cId="2063328610" sldId="284"/>
            <ac:inkMk id="33" creationId="{EC61AA27-ED6E-D497-F847-C1671FC751F6}"/>
          </ac:inkMkLst>
        </pc:inkChg>
        <pc:inkChg chg="add mod">
          <ac:chgData name="Aniket Chhabra" userId="598e0514-bef3-4e71-b6aa-f2edd6441cff" providerId="ADAL" clId="{43E39AE6-34EE-7C4D-B602-232FA08B7158}" dt="2022-10-20T14:27:02.898" v="173"/>
          <ac:inkMkLst>
            <pc:docMk/>
            <pc:sldMk cId="2063328610" sldId="284"/>
            <ac:inkMk id="35" creationId="{686C17D5-4289-8852-681E-0C4972BAD399}"/>
          </ac:inkMkLst>
        </pc:inkChg>
        <pc:inkChg chg="add mod">
          <ac:chgData name="Aniket Chhabra" userId="598e0514-bef3-4e71-b6aa-f2edd6441cff" providerId="ADAL" clId="{43E39AE6-34EE-7C4D-B602-232FA08B7158}" dt="2022-10-20T14:27:02.228" v="171"/>
          <ac:inkMkLst>
            <pc:docMk/>
            <pc:sldMk cId="2063328610" sldId="284"/>
            <ac:inkMk id="37" creationId="{EC633F70-59F3-6228-CE94-D92AF95FD0F6}"/>
          </ac:inkMkLst>
        </pc:inkChg>
        <pc:inkChg chg="add mod">
          <ac:chgData name="Aniket Chhabra" userId="598e0514-bef3-4e71-b6aa-f2edd6441cff" providerId="ADAL" clId="{43E39AE6-34EE-7C4D-B602-232FA08B7158}" dt="2022-10-20T14:27:02.228" v="171"/>
          <ac:inkMkLst>
            <pc:docMk/>
            <pc:sldMk cId="2063328610" sldId="284"/>
            <ac:inkMk id="38" creationId="{3A010016-8454-C296-3B46-D07BB450AA97}"/>
          </ac:inkMkLst>
        </pc:inkChg>
        <pc:inkChg chg="add mod">
          <ac:chgData name="Aniket Chhabra" userId="598e0514-bef3-4e71-b6aa-f2edd6441cff" providerId="ADAL" clId="{43E39AE6-34EE-7C4D-B602-232FA08B7158}" dt="2022-10-20T14:27:02.228" v="171"/>
          <ac:inkMkLst>
            <pc:docMk/>
            <pc:sldMk cId="2063328610" sldId="284"/>
            <ac:inkMk id="39" creationId="{97E552F5-A6B6-63E3-B3C4-77F640762875}"/>
          </ac:inkMkLst>
        </pc:inkChg>
        <pc:inkChg chg="add mod">
          <ac:chgData name="Aniket Chhabra" userId="598e0514-bef3-4e71-b6aa-f2edd6441cff" providerId="ADAL" clId="{43E39AE6-34EE-7C4D-B602-232FA08B7158}" dt="2022-10-20T14:27:02.228" v="171"/>
          <ac:inkMkLst>
            <pc:docMk/>
            <pc:sldMk cId="2063328610" sldId="284"/>
            <ac:inkMk id="40" creationId="{BEDF9856-7BE5-FE14-7EF1-C9A133B22E31}"/>
          </ac:inkMkLst>
        </pc:inkChg>
        <pc:inkChg chg="add mod">
          <ac:chgData name="Aniket Chhabra" userId="598e0514-bef3-4e71-b6aa-f2edd6441cff" providerId="ADAL" clId="{43E39AE6-34EE-7C4D-B602-232FA08B7158}" dt="2022-10-20T14:27:02.228" v="171"/>
          <ac:inkMkLst>
            <pc:docMk/>
            <pc:sldMk cId="2063328610" sldId="284"/>
            <ac:inkMk id="41" creationId="{6424D424-692E-2702-708C-951B93735A97}"/>
          </ac:inkMkLst>
        </pc:inkChg>
        <pc:inkChg chg="add mod">
          <ac:chgData name="Aniket Chhabra" userId="598e0514-bef3-4e71-b6aa-f2edd6441cff" providerId="ADAL" clId="{43E39AE6-34EE-7C4D-B602-232FA08B7158}" dt="2022-10-20T14:27:02.228" v="171"/>
          <ac:inkMkLst>
            <pc:docMk/>
            <pc:sldMk cId="2063328610" sldId="284"/>
            <ac:inkMk id="42" creationId="{B8EA2041-1E30-560D-ED47-0F4A6B25D67E}"/>
          </ac:inkMkLst>
        </pc:inkChg>
        <pc:inkChg chg="add mod">
          <ac:chgData name="Aniket Chhabra" userId="598e0514-bef3-4e71-b6aa-f2edd6441cff" providerId="ADAL" clId="{43E39AE6-34EE-7C4D-B602-232FA08B7158}" dt="2022-10-20T14:27:02.228" v="171"/>
          <ac:inkMkLst>
            <pc:docMk/>
            <pc:sldMk cId="2063328610" sldId="284"/>
            <ac:inkMk id="43" creationId="{D4184470-9718-64D6-A932-2F46C3D99D6E}"/>
          </ac:inkMkLst>
        </pc:inkChg>
        <pc:inkChg chg="add mod">
          <ac:chgData name="Aniket Chhabra" userId="598e0514-bef3-4e71-b6aa-f2edd6441cff" providerId="ADAL" clId="{43E39AE6-34EE-7C4D-B602-232FA08B7158}" dt="2022-10-20T14:27:02.228" v="171"/>
          <ac:inkMkLst>
            <pc:docMk/>
            <pc:sldMk cId="2063328610" sldId="284"/>
            <ac:inkMk id="44" creationId="{94ED4732-6593-4151-4043-168726D30938}"/>
          </ac:inkMkLst>
        </pc:inkChg>
        <pc:inkChg chg="add mod">
          <ac:chgData name="Aniket Chhabra" userId="598e0514-bef3-4e71-b6aa-f2edd6441cff" providerId="ADAL" clId="{43E39AE6-34EE-7C4D-B602-232FA08B7158}" dt="2022-10-20T14:27:02.228" v="171"/>
          <ac:inkMkLst>
            <pc:docMk/>
            <pc:sldMk cId="2063328610" sldId="284"/>
            <ac:inkMk id="46" creationId="{F335B593-AB21-5D53-A8FA-E7039CA6E97E}"/>
          </ac:inkMkLst>
        </pc:inkChg>
        <pc:inkChg chg="add mod">
          <ac:chgData name="Aniket Chhabra" userId="598e0514-bef3-4e71-b6aa-f2edd6441cff" providerId="ADAL" clId="{43E39AE6-34EE-7C4D-B602-232FA08B7158}" dt="2022-10-20T14:27:02.228" v="171"/>
          <ac:inkMkLst>
            <pc:docMk/>
            <pc:sldMk cId="2063328610" sldId="284"/>
            <ac:inkMk id="47" creationId="{5CFBEE80-7941-A2CB-E7AE-201693D0D1B0}"/>
          </ac:inkMkLst>
        </pc:inkChg>
        <pc:inkChg chg="add mod">
          <ac:chgData name="Aniket Chhabra" userId="598e0514-bef3-4e71-b6aa-f2edd6441cff" providerId="ADAL" clId="{43E39AE6-34EE-7C4D-B602-232FA08B7158}" dt="2022-10-20T14:27:02.228" v="171"/>
          <ac:inkMkLst>
            <pc:docMk/>
            <pc:sldMk cId="2063328610" sldId="284"/>
            <ac:inkMk id="48" creationId="{9039213C-AC9B-B924-4EB8-C08199E17600}"/>
          </ac:inkMkLst>
        </pc:inkChg>
        <pc:inkChg chg="add mod">
          <ac:chgData name="Aniket Chhabra" userId="598e0514-bef3-4e71-b6aa-f2edd6441cff" providerId="ADAL" clId="{43E39AE6-34EE-7C4D-B602-232FA08B7158}" dt="2022-10-20T14:27:02.228" v="171"/>
          <ac:inkMkLst>
            <pc:docMk/>
            <pc:sldMk cId="2063328610" sldId="284"/>
            <ac:inkMk id="50" creationId="{7B733590-E58F-A062-0322-35BC28171596}"/>
          </ac:inkMkLst>
        </pc:inkChg>
        <pc:inkChg chg="add mod">
          <ac:chgData name="Aniket Chhabra" userId="598e0514-bef3-4e71-b6aa-f2edd6441cff" providerId="ADAL" clId="{43E39AE6-34EE-7C4D-B602-232FA08B7158}" dt="2022-10-20T14:27:02.228" v="171"/>
          <ac:inkMkLst>
            <pc:docMk/>
            <pc:sldMk cId="2063328610" sldId="284"/>
            <ac:inkMk id="51" creationId="{BD00AA77-ACC3-FED4-3C3D-04E52B55D1D4}"/>
          </ac:inkMkLst>
        </pc:inkChg>
        <pc:inkChg chg="add mod">
          <ac:chgData name="Aniket Chhabra" userId="598e0514-bef3-4e71-b6aa-f2edd6441cff" providerId="ADAL" clId="{43E39AE6-34EE-7C4D-B602-232FA08B7158}" dt="2022-10-20T14:27:02.228" v="171"/>
          <ac:inkMkLst>
            <pc:docMk/>
            <pc:sldMk cId="2063328610" sldId="284"/>
            <ac:inkMk id="52" creationId="{FAE851A3-C7E6-13DC-FE63-0822E2E0DFF8}"/>
          </ac:inkMkLst>
        </pc:inkChg>
        <pc:inkChg chg="add mod">
          <ac:chgData name="Aniket Chhabra" userId="598e0514-bef3-4e71-b6aa-f2edd6441cff" providerId="ADAL" clId="{43E39AE6-34EE-7C4D-B602-232FA08B7158}" dt="2022-10-20T14:27:02.228" v="171"/>
          <ac:inkMkLst>
            <pc:docMk/>
            <pc:sldMk cId="2063328610" sldId="284"/>
            <ac:inkMk id="53" creationId="{37329085-3DD7-6A91-69CD-0F07D305251E}"/>
          </ac:inkMkLst>
        </pc:inkChg>
        <pc:inkChg chg="add mod">
          <ac:chgData name="Aniket Chhabra" userId="598e0514-bef3-4e71-b6aa-f2edd6441cff" providerId="ADAL" clId="{43E39AE6-34EE-7C4D-B602-232FA08B7158}" dt="2022-10-20T14:27:02.228" v="171"/>
          <ac:inkMkLst>
            <pc:docMk/>
            <pc:sldMk cId="2063328610" sldId="284"/>
            <ac:inkMk id="55" creationId="{51D4BBA9-A58D-4EA6-9816-95CBA674F15E}"/>
          </ac:inkMkLst>
        </pc:inkChg>
        <pc:inkChg chg="add mod">
          <ac:chgData name="Aniket Chhabra" userId="598e0514-bef3-4e71-b6aa-f2edd6441cff" providerId="ADAL" clId="{43E39AE6-34EE-7C4D-B602-232FA08B7158}" dt="2022-10-20T14:27:02.228" v="171"/>
          <ac:inkMkLst>
            <pc:docMk/>
            <pc:sldMk cId="2063328610" sldId="284"/>
            <ac:inkMk id="56" creationId="{24E16AA5-9ED9-E90F-BAC5-A1F4186F2F33}"/>
          </ac:inkMkLst>
        </pc:inkChg>
        <pc:inkChg chg="add mod">
          <ac:chgData name="Aniket Chhabra" userId="598e0514-bef3-4e71-b6aa-f2edd6441cff" providerId="ADAL" clId="{43E39AE6-34EE-7C4D-B602-232FA08B7158}" dt="2022-10-20T14:27:02.228" v="171"/>
          <ac:inkMkLst>
            <pc:docMk/>
            <pc:sldMk cId="2063328610" sldId="284"/>
            <ac:inkMk id="57" creationId="{D02012CA-7B01-6701-ABFA-D747EC2A55BB}"/>
          </ac:inkMkLst>
        </pc:inkChg>
        <pc:inkChg chg="add mod">
          <ac:chgData name="Aniket Chhabra" userId="598e0514-bef3-4e71-b6aa-f2edd6441cff" providerId="ADAL" clId="{43E39AE6-34EE-7C4D-B602-232FA08B7158}" dt="2022-10-20T14:27:02.228" v="171"/>
          <ac:inkMkLst>
            <pc:docMk/>
            <pc:sldMk cId="2063328610" sldId="284"/>
            <ac:inkMk id="58" creationId="{392269D5-5142-3D4F-CE05-064EB881574F}"/>
          </ac:inkMkLst>
        </pc:inkChg>
        <pc:inkChg chg="add mod">
          <ac:chgData name="Aniket Chhabra" userId="598e0514-bef3-4e71-b6aa-f2edd6441cff" providerId="ADAL" clId="{43E39AE6-34EE-7C4D-B602-232FA08B7158}" dt="2022-10-20T14:27:02.228" v="171"/>
          <ac:inkMkLst>
            <pc:docMk/>
            <pc:sldMk cId="2063328610" sldId="284"/>
            <ac:inkMk id="59" creationId="{96DB6694-D37C-DE49-009B-17CF4ECB9975}"/>
          </ac:inkMkLst>
        </pc:inkChg>
        <pc:inkChg chg="add mod">
          <ac:chgData name="Aniket Chhabra" userId="598e0514-bef3-4e71-b6aa-f2edd6441cff" providerId="ADAL" clId="{43E39AE6-34EE-7C4D-B602-232FA08B7158}" dt="2022-10-20T14:27:02.228" v="171"/>
          <ac:inkMkLst>
            <pc:docMk/>
            <pc:sldMk cId="2063328610" sldId="284"/>
            <ac:inkMk id="60" creationId="{65D9A21B-1E2E-229E-321C-5C8754A82471}"/>
          </ac:inkMkLst>
        </pc:inkChg>
        <pc:inkChg chg="add mod">
          <ac:chgData name="Aniket Chhabra" userId="598e0514-bef3-4e71-b6aa-f2edd6441cff" providerId="ADAL" clId="{43E39AE6-34EE-7C4D-B602-232FA08B7158}" dt="2022-10-20T14:27:02.228" v="171"/>
          <ac:inkMkLst>
            <pc:docMk/>
            <pc:sldMk cId="2063328610" sldId="284"/>
            <ac:inkMk id="61" creationId="{FD9C3212-DC5F-D27E-E4BD-A75B667BB326}"/>
          </ac:inkMkLst>
        </pc:inkChg>
        <pc:inkChg chg="add mod">
          <ac:chgData name="Aniket Chhabra" userId="598e0514-bef3-4e71-b6aa-f2edd6441cff" providerId="ADAL" clId="{43E39AE6-34EE-7C4D-B602-232FA08B7158}" dt="2022-10-20T14:27:02.228" v="171"/>
          <ac:inkMkLst>
            <pc:docMk/>
            <pc:sldMk cId="2063328610" sldId="284"/>
            <ac:inkMk id="62" creationId="{B23B2F66-BB9D-6DF1-6F54-B5D3EF489D70}"/>
          </ac:inkMkLst>
        </pc:inkChg>
        <pc:inkChg chg="add mod">
          <ac:chgData name="Aniket Chhabra" userId="598e0514-bef3-4e71-b6aa-f2edd6441cff" providerId="ADAL" clId="{43E39AE6-34EE-7C4D-B602-232FA08B7158}" dt="2022-10-20T14:27:02.228" v="171"/>
          <ac:inkMkLst>
            <pc:docMk/>
            <pc:sldMk cId="2063328610" sldId="284"/>
            <ac:inkMk id="63" creationId="{9C461ED6-37ED-32B4-150B-F4BC5BE66D4A}"/>
          </ac:inkMkLst>
        </pc:inkChg>
        <pc:inkChg chg="add mod">
          <ac:chgData name="Aniket Chhabra" userId="598e0514-bef3-4e71-b6aa-f2edd6441cff" providerId="ADAL" clId="{43E39AE6-34EE-7C4D-B602-232FA08B7158}" dt="2022-10-20T14:27:02.228" v="171"/>
          <ac:inkMkLst>
            <pc:docMk/>
            <pc:sldMk cId="2063328610" sldId="284"/>
            <ac:inkMk id="64" creationId="{C5CF1D81-FF7F-BBA7-D996-805C41C7A3E2}"/>
          </ac:inkMkLst>
        </pc:inkChg>
        <pc:inkChg chg="add mod">
          <ac:chgData name="Aniket Chhabra" userId="598e0514-bef3-4e71-b6aa-f2edd6441cff" providerId="ADAL" clId="{43E39AE6-34EE-7C4D-B602-232FA08B7158}" dt="2022-10-20T14:27:02.228" v="171"/>
          <ac:inkMkLst>
            <pc:docMk/>
            <pc:sldMk cId="2063328610" sldId="284"/>
            <ac:inkMk id="66" creationId="{D1FFE367-9F7E-EE78-D97F-E5FCD009A29D}"/>
          </ac:inkMkLst>
        </pc:inkChg>
        <pc:inkChg chg="add mod">
          <ac:chgData name="Aniket Chhabra" userId="598e0514-bef3-4e71-b6aa-f2edd6441cff" providerId="ADAL" clId="{43E39AE6-34EE-7C4D-B602-232FA08B7158}" dt="2022-10-20T14:27:02.228" v="171"/>
          <ac:inkMkLst>
            <pc:docMk/>
            <pc:sldMk cId="2063328610" sldId="284"/>
            <ac:inkMk id="67" creationId="{D7F131C4-8D42-42CF-6E30-A316AB0ED530}"/>
          </ac:inkMkLst>
        </pc:inkChg>
        <pc:inkChg chg="add mod">
          <ac:chgData name="Aniket Chhabra" userId="598e0514-bef3-4e71-b6aa-f2edd6441cff" providerId="ADAL" clId="{43E39AE6-34EE-7C4D-B602-232FA08B7158}" dt="2022-10-20T14:27:02.228" v="171"/>
          <ac:inkMkLst>
            <pc:docMk/>
            <pc:sldMk cId="2063328610" sldId="284"/>
            <ac:inkMk id="68" creationId="{045F9D51-9BD1-B566-5C15-1ACF18972381}"/>
          </ac:inkMkLst>
        </pc:inkChg>
        <pc:inkChg chg="add mod">
          <ac:chgData name="Aniket Chhabra" userId="598e0514-bef3-4e71-b6aa-f2edd6441cff" providerId="ADAL" clId="{43E39AE6-34EE-7C4D-B602-232FA08B7158}" dt="2022-10-20T14:27:02.228" v="171"/>
          <ac:inkMkLst>
            <pc:docMk/>
            <pc:sldMk cId="2063328610" sldId="284"/>
            <ac:inkMk id="69" creationId="{6BDB37E3-422F-1C3C-0610-8E3A6B7174B0}"/>
          </ac:inkMkLst>
        </pc:inkChg>
        <pc:inkChg chg="add mod">
          <ac:chgData name="Aniket Chhabra" userId="598e0514-bef3-4e71-b6aa-f2edd6441cff" providerId="ADAL" clId="{43E39AE6-34EE-7C4D-B602-232FA08B7158}" dt="2022-10-20T14:27:02.228" v="171"/>
          <ac:inkMkLst>
            <pc:docMk/>
            <pc:sldMk cId="2063328610" sldId="284"/>
            <ac:inkMk id="71" creationId="{8B5DE85D-EF0C-B29C-601F-1F03FCB672CD}"/>
          </ac:inkMkLst>
        </pc:inkChg>
        <pc:inkChg chg="add mod">
          <ac:chgData name="Aniket Chhabra" userId="598e0514-bef3-4e71-b6aa-f2edd6441cff" providerId="ADAL" clId="{43E39AE6-34EE-7C4D-B602-232FA08B7158}" dt="2022-10-20T14:27:02.228" v="171"/>
          <ac:inkMkLst>
            <pc:docMk/>
            <pc:sldMk cId="2063328610" sldId="284"/>
            <ac:inkMk id="72" creationId="{0C5CF5B9-A555-45FB-A7A3-C3779A4FDDB4}"/>
          </ac:inkMkLst>
        </pc:inkChg>
        <pc:inkChg chg="add mod">
          <ac:chgData name="Aniket Chhabra" userId="598e0514-bef3-4e71-b6aa-f2edd6441cff" providerId="ADAL" clId="{43E39AE6-34EE-7C4D-B602-232FA08B7158}" dt="2022-10-20T14:27:02.228" v="171"/>
          <ac:inkMkLst>
            <pc:docMk/>
            <pc:sldMk cId="2063328610" sldId="284"/>
            <ac:inkMk id="74" creationId="{5D916640-F1E5-2CB7-DF9E-C3690A88AE09}"/>
          </ac:inkMkLst>
        </pc:inkChg>
        <pc:inkChg chg="add mod">
          <ac:chgData name="Aniket Chhabra" userId="598e0514-bef3-4e71-b6aa-f2edd6441cff" providerId="ADAL" clId="{43E39AE6-34EE-7C4D-B602-232FA08B7158}" dt="2022-10-20T14:27:02.898" v="173"/>
          <ac:inkMkLst>
            <pc:docMk/>
            <pc:sldMk cId="2063328610" sldId="284"/>
            <ac:inkMk id="76" creationId="{A6788E56-1877-6237-74F0-3A714DA2F226}"/>
          </ac:inkMkLst>
        </pc:inkChg>
        <pc:inkChg chg="add mod">
          <ac:chgData name="Aniket Chhabra" userId="598e0514-bef3-4e71-b6aa-f2edd6441cff" providerId="ADAL" clId="{43E39AE6-34EE-7C4D-B602-232FA08B7158}" dt="2022-10-20T14:27:10.805" v="184"/>
          <ac:inkMkLst>
            <pc:docMk/>
            <pc:sldMk cId="2063328610" sldId="284"/>
            <ac:inkMk id="78" creationId="{DE6827FC-863B-692D-2748-94D4DF5E8BFD}"/>
          </ac:inkMkLst>
        </pc:inkChg>
        <pc:inkChg chg="add mod">
          <ac:chgData name="Aniket Chhabra" userId="598e0514-bef3-4e71-b6aa-f2edd6441cff" providerId="ADAL" clId="{43E39AE6-34EE-7C4D-B602-232FA08B7158}" dt="2022-10-20T14:27:10.805" v="184"/>
          <ac:inkMkLst>
            <pc:docMk/>
            <pc:sldMk cId="2063328610" sldId="284"/>
            <ac:inkMk id="79" creationId="{6247843E-6DE8-B593-B523-B26926F365C4}"/>
          </ac:inkMkLst>
        </pc:inkChg>
        <pc:inkChg chg="add mod">
          <ac:chgData name="Aniket Chhabra" userId="598e0514-bef3-4e71-b6aa-f2edd6441cff" providerId="ADAL" clId="{43E39AE6-34EE-7C4D-B602-232FA08B7158}" dt="2022-10-20T14:27:10.805" v="184"/>
          <ac:inkMkLst>
            <pc:docMk/>
            <pc:sldMk cId="2063328610" sldId="284"/>
            <ac:inkMk id="80" creationId="{A41A8943-8EED-1C83-036A-4E2BCFFE1847}"/>
          </ac:inkMkLst>
        </pc:inkChg>
        <pc:inkChg chg="add mod">
          <ac:chgData name="Aniket Chhabra" userId="598e0514-bef3-4e71-b6aa-f2edd6441cff" providerId="ADAL" clId="{43E39AE6-34EE-7C4D-B602-232FA08B7158}" dt="2022-10-20T14:27:10.805" v="184"/>
          <ac:inkMkLst>
            <pc:docMk/>
            <pc:sldMk cId="2063328610" sldId="284"/>
            <ac:inkMk id="81" creationId="{1A1017A0-61E1-E753-A658-389281AA432B}"/>
          </ac:inkMkLst>
        </pc:inkChg>
        <pc:inkChg chg="add mod">
          <ac:chgData name="Aniket Chhabra" userId="598e0514-bef3-4e71-b6aa-f2edd6441cff" providerId="ADAL" clId="{43E39AE6-34EE-7C4D-B602-232FA08B7158}" dt="2022-10-20T14:27:10.805" v="184"/>
          <ac:inkMkLst>
            <pc:docMk/>
            <pc:sldMk cId="2063328610" sldId="284"/>
            <ac:inkMk id="82" creationId="{3AD2D5E4-59B3-20C4-8703-C50FE8E48553}"/>
          </ac:inkMkLst>
        </pc:inkChg>
        <pc:inkChg chg="add mod">
          <ac:chgData name="Aniket Chhabra" userId="598e0514-bef3-4e71-b6aa-f2edd6441cff" providerId="ADAL" clId="{43E39AE6-34EE-7C4D-B602-232FA08B7158}" dt="2022-10-20T14:27:10.805" v="184"/>
          <ac:inkMkLst>
            <pc:docMk/>
            <pc:sldMk cId="2063328610" sldId="284"/>
            <ac:inkMk id="83" creationId="{381E897E-DB27-8EB8-2455-7EA60DCA75E4}"/>
          </ac:inkMkLst>
        </pc:inkChg>
        <pc:inkChg chg="add mod">
          <ac:chgData name="Aniket Chhabra" userId="598e0514-bef3-4e71-b6aa-f2edd6441cff" providerId="ADAL" clId="{43E39AE6-34EE-7C4D-B602-232FA08B7158}" dt="2022-10-20T14:27:10.805" v="184"/>
          <ac:inkMkLst>
            <pc:docMk/>
            <pc:sldMk cId="2063328610" sldId="284"/>
            <ac:inkMk id="85" creationId="{46685FF7-9477-FE2E-30DD-2F4571A53F97}"/>
          </ac:inkMkLst>
        </pc:inkChg>
        <pc:inkChg chg="add mod">
          <ac:chgData name="Aniket Chhabra" userId="598e0514-bef3-4e71-b6aa-f2edd6441cff" providerId="ADAL" clId="{43E39AE6-34EE-7C4D-B602-232FA08B7158}" dt="2022-10-20T14:27:10.805" v="184"/>
          <ac:inkMkLst>
            <pc:docMk/>
            <pc:sldMk cId="2063328610" sldId="284"/>
            <ac:inkMk id="86" creationId="{B242085D-70CF-A1B4-4362-A2952FB85175}"/>
          </ac:inkMkLst>
        </pc:inkChg>
        <pc:inkChg chg="add mod">
          <ac:chgData name="Aniket Chhabra" userId="598e0514-bef3-4e71-b6aa-f2edd6441cff" providerId="ADAL" clId="{43E39AE6-34EE-7C4D-B602-232FA08B7158}" dt="2022-10-20T14:27:10.805" v="184"/>
          <ac:inkMkLst>
            <pc:docMk/>
            <pc:sldMk cId="2063328610" sldId="284"/>
            <ac:inkMk id="87" creationId="{DCEC1FCB-66B8-15C2-1B06-F8EDAE341A3A}"/>
          </ac:inkMkLst>
        </pc:inkChg>
      </pc:sldChg>
      <pc:sldChg chg="addSp delSp modSp mod">
        <pc:chgData name="Aniket Chhabra" userId="598e0514-bef3-4e71-b6aa-f2edd6441cff" providerId="ADAL" clId="{43E39AE6-34EE-7C4D-B602-232FA08B7158}" dt="2022-10-20T14:38:19.460" v="304" actId="9405"/>
        <pc:sldMkLst>
          <pc:docMk/>
          <pc:sldMk cId="1370836176" sldId="285"/>
        </pc:sldMkLst>
        <pc:grpChg chg="del mod">
          <ac:chgData name="Aniket Chhabra" userId="598e0514-bef3-4e71-b6aa-f2edd6441cff" providerId="ADAL" clId="{43E39AE6-34EE-7C4D-B602-232FA08B7158}" dt="2022-10-20T14:27:35.296" v="209"/>
          <ac:grpSpMkLst>
            <pc:docMk/>
            <pc:sldMk cId="1370836176" sldId="285"/>
            <ac:grpSpMk id="7" creationId="{52D50D6A-BE3A-E141-74AE-F0A757A9B8C5}"/>
          </ac:grpSpMkLst>
        </pc:grpChg>
        <pc:grpChg chg="mod">
          <ac:chgData name="Aniket Chhabra" userId="598e0514-bef3-4e71-b6aa-f2edd6441cff" providerId="ADAL" clId="{43E39AE6-34EE-7C4D-B602-232FA08B7158}" dt="2022-10-20T14:25:43.239" v="103"/>
          <ac:grpSpMkLst>
            <pc:docMk/>
            <pc:sldMk cId="1370836176" sldId="285"/>
            <ac:grpSpMk id="12" creationId="{AE126389-607E-9600-640A-9E85C04DAE11}"/>
          </ac:grpSpMkLst>
        </pc:grpChg>
        <pc:grpChg chg="mod">
          <ac:chgData name="Aniket Chhabra" userId="598e0514-bef3-4e71-b6aa-f2edd6441cff" providerId="ADAL" clId="{43E39AE6-34EE-7C4D-B602-232FA08B7158}" dt="2022-10-20T14:27:35.296" v="209"/>
          <ac:grpSpMkLst>
            <pc:docMk/>
            <pc:sldMk cId="1370836176" sldId="285"/>
            <ac:grpSpMk id="42" creationId="{21835C86-3635-ABA3-755C-9F8A0B39288A}"/>
          </ac:grpSpMkLst>
        </pc:grpChg>
        <pc:grpChg chg="mod">
          <ac:chgData name="Aniket Chhabra" userId="598e0514-bef3-4e71-b6aa-f2edd6441cff" providerId="ADAL" clId="{43E39AE6-34EE-7C4D-B602-232FA08B7158}" dt="2022-10-20T14:27:37.222" v="212"/>
          <ac:grpSpMkLst>
            <pc:docMk/>
            <pc:sldMk cId="1370836176" sldId="285"/>
            <ac:grpSpMk id="45" creationId="{BDF247E1-59C4-EFA1-2951-2D94A8C670EB}"/>
          </ac:grpSpMkLst>
        </pc:grpChg>
        <pc:inkChg chg="add mod">
          <ac:chgData name="Aniket Chhabra" userId="598e0514-bef3-4e71-b6aa-f2edd6441cff" providerId="ADAL" clId="{43E39AE6-34EE-7C4D-B602-232FA08B7158}" dt="2022-10-20T14:27:35.296" v="209"/>
          <ac:inkMkLst>
            <pc:docMk/>
            <pc:sldMk cId="1370836176" sldId="285"/>
            <ac:inkMk id="4" creationId="{AD601294-44CA-3BD2-CC52-1B8668EACDCF}"/>
          </ac:inkMkLst>
        </pc:inkChg>
        <pc:inkChg chg="add mod">
          <ac:chgData name="Aniket Chhabra" userId="598e0514-bef3-4e71-b6aa-f2edd6441cff" providerId="ADAL" clId="{43E39AE6-34EE-7C4D-B602-232FA08B7158}" dt="2022-10-20T14:27:35.296" v="209"/>
          <ac:inkMkLst>
            <pc:docMk/>
            <pc:sldMk cId="1370836176" sldId="285"/>
            <ac:inkMk id="5" creationId="{945576E5-379D-79DA-1145-52AC1A3F00EC}"/>
          </ac:inkMkLst>
        </pc:inkChg>
        <pc:inkChg chg="add">
          <ac:chgData name="Aniket Chhabra" userId="598e0514-bef3-4e71-b6aa-f2edd6441cff" providerId="ADAL" clId="{43E39AE6-34EE-7C4D-B602-232FA08B7158}" dt="2022-10-20T14:25:23.534" v="98" actId="9405"/>
          <ac:inkMkLst>
            <pc:docMk/>
            <pc:sldMk cId="1370836176" sldId="285"/>
            <ac:inkMk id="8" creationId="{34175319-8F78-DCC4-72FE-4F3A6F65598D}"/>
          </ac:inkMkLst>
        </pc:inkChg>
        <pc:inkChg chg="add mod">
          <ac:chgData name="Aniket Chhabra" userId="598e0514-bef3-4e71-b6aa-f2edd6441cff" providerId="ADAL" clId="{43E39AE6-34EE-7C4D-B602-232FA08B7158}" dt="2022-10-20T14:25:43.239" v="103"/>
          <ac:inkMkLst>
            <pc:docMk/>
            <pc:sldMk cId="1370836176" sldId="285"/>
            <ac:inkMk id="9" creationId="{CCDFDC39-CD38-B52D-6AE1-4D2D7BBFBAF7}"/>
          </ac:inkMkLst>
        </pc:inkChg>
        <pc:inkChg chg="add mod">
          <ac:chgData name="Aniket Chhabra" userId="598e0514-bef3-4e71-b6aa-f2edd6441cff" providerId="ADAL" clId="{43E39AE6-34EE-7C4D-B602-232FA08B7158}" dt="2022-10-20T14:25:43.239" v="103"/>
          <ac:inkMkLst>
            <pc:docMk/>
            <pc:sldMk cId="1370836176" sldId="285"/>
            <ac:inkMk id="11" creationId="{5EB18B8A-2EB4-F084-74C7-18C943987EED}"/>
          </ac:inkMkLst>
        </pc:inkChg>
        <pc:inkChg chg="add">
          <ac:chgData name="Aniket Chhabra" userId="598e0514-bef3-4e71-b6aa-f2edd6441cff" providerId="ADAL" clId="{43E39AE6-34EE-7C4D-B602-232FA08B7158}" dt="2022-10-20T14:27:21.388" v="185" actId="9405"/>
          <ac:inkMkLst>
            <pc:docMk/>
            <pc:sldMk cId="1370836176" sldId="285"/>
            <ac:inkMk id="13" creationId="{33226A8A-E960-3CDB-5E6A-EFD8FEF07E2C}"/>
          </ac:inkMkLst>
        </pc:inkChg>
        <pc:inkChg chg="add">
          <ac:chgData name="Aniket Chhabra" userId="598e0514-bef3-4e71-b6aa-f2edd6441cff" providerId="ADAL" clId="{43E39AE6-34EE-7C4D-B602-232FA08B7158}" dt="2022-10-20T14:27:23.052" v="186" actId="9405"/>
          <ac:inkMkLst>
            <pc:docMk/>
            <pc:sldMk cId="1370836176" sldId="285"/>
            <ac:inkMk id="14" creationId="{0C8A637A-CA7C-A139-A8C7-E210E3240BDE}"/>
          </ac:inkMkLst>
        </pc:inkChg>
        <pc:inkChg chg="add mod">
          <ac:chgData name="Aniket Chhabra" userId="598e0514-bef3-4e71-b6aa-f2edd6441cff" providerId="ADAL" clId="{43E39AE6-34EE-7C4D-B602-232FA08B7158}" dt="2022-10-20T14:27:35.296" v="209"/>
          <ac:inkMkLst>
            <pc:docMk/>
            <pc:sldMk cId="1370836176" sldId="285"/>
            <ac:inkMk id="15" creationId="{B7AD6EDF-6700-DF4F-B79F-E0824796AD89}"/>
          </ac:inkMkLst>
        </pc:inkChg>
        <pc:inkChg chg="add mod">
          <ac:chgData name="Aniket Chhabra" userId="598e0514-bef3-4e71-b6aa-f2edd6441cff" providerId="ADAL" clId="{43E39AE6-34EE-7C4D-B602-232FA08B7158}" dt="2022-10-20T14:27:35.296" v="209"/>
          <ac:inkMkLst>
            <pc:docMk/>
            <pc:sldMk cId="1370836176" sldId="285"/>
            <ac:inkMk id="16" creationId="{D6DFBDC2-B0F1-6647-4EBE-CB1F39ECA855}"/>
          </ac:inkMkLst>
        </pc:inkChg>
        <pc:inkChg chg="add mod">
          <ac:chgData name="Aniket Chhabra" userId="598e0514-bef3-4e71-b6aa-f2edd6441cff" providerId="ADAL" clId="{43E39AE6-34EE-7C4D-B602-232FA08B7158}" dt="2022-10-20T14:27:35.296" v="209"/>
          <ac:inkMkLst>
            <pc:docMk/>
            <pc:sldMk cId="1370836176" sldId="285"/>
            <ac:inkMk id="18" creationId="{D57FF0D1-B298-D4C2-BAB2-95B4B40B4E52}"/>
          </ac:inkMkLst>
        </pc:inkChg>
        <pc:inkChg chg="add mod">
          <ac:chgData name="Aniket Chhabra" userId="598e0514-bef3-4e71-b6aa-f2edd6441cff" providerId="ADAL" clId="{43E39AE6-34EE-7C4D-B602-232FA08B7158}" dt="2022-10-20T14:27:35.296" v="209"/>
          <ac:inkMkLst>
            <pc:docMk/>
            <pc:sldMk cId="1370836176" sldId="285"/>
            <ac:inkMk id="20" creationId="{4745E4F0-C5F3-585D-7AEF-7A8673DB82B9}"/>
          </ac:inkMkLst>
        </pc:inkChg>
        <pc:inkChg chg="add mod">
          <ac:chgData name="Aniket Chhabra" userId="598e0514-bef3-4e71-b6aa-f2edd6441cff" providerId="ADAL" clId="{43E39AE6-34EE-7C4D-B602-232FA08B7158}" dt="2022-10-20T14:27:35.296" v="209"/>
          <ac:inkMkLst>
            <pc:docMk/>
            <pc:sldMk cId="1370836176" sldId="285"/>
            <ac:inkMk id="21" creationId="{2D654D57-72F5-7752-C6E1-180550569F36}"/>
          </ac:inkMkLst>
        </pc:inkChg>
        <pc:inkChg chg="add mod">
          <ac:chgData name="Aniket Chhabra" userId="598e0514-bef3-4e71-b6aa-f2edd6441cff" providerId="ADAL" clId="{43E39AE6-34EE-7C4D-B602-232FA08B7158}" dt="2022-10-20T14:27:35.296" v="209"/>
          <ac:inkMkLst>
            <pc:docMk/>
            <pc:sldMk cId="1370836176" sldId="285"/>
            <ac:inkMk id="22" creationId="{B3FC56FE-0E56-9066-58FC-52F6850BF68F}"/>
          </ac:inkMkLst>
        </pc:inkChg>
        <pc:inkChg chg="add mod">
          <ac:chgData name="Aniket Chhabra" userId="598e0514-bef3-4e71-b6aa-f2edd6441cff" providerId="ADAL" clId="{43E39AE6-34EE-7C4D-B602-232FA08B7158}" dt="2022-10-20T14:27:35.296" v="209"/>
          <ac:inkMkLst>
            <pc:docMk/>
            <pc:sldMk cId="1370836176" sldId="285"/>
            <ac:inkMk id="23" creationId="{C1FE5410-84C8-73C0-5D45-6B434607BB7E}"/>
          </ac:inkMkLst>
        </pc:inkChg>
        <pc:inkChg chg="add mod">
          <ac:chgData name="Aniket Chhabra" userId="598e0514-bef3-4e71-b6aa-f2edd6441cff" providerId="ADAL" clId="{43E39AE6-34EE-7C4D-B602-232FA08B7158}" dt="2022-10-20T14:27:35.296" v="209"/>
          <ac:inkMkLst>
            <pc:docMk/>
            <pc:sldMk cId="1370836176" sldId="285"/>
            <ac:inkMk id="24" creationId="{B9560FC8-36E4-9987-A1DE-8F963261D05E}"/>
          </ac:inkMkLst>
        </pc:inkChg>
        <pc:inkChg chg="add mod">
          <ac:chgData name="Aniket Chhabra" userId="598e0514-bef3-4e71-b6aa-f2edd6441cff" providerId="ADAL" clId="{43E39AE6-34EE-7C4D-B602-232FA08B7158}" dt="2022-10-20T14:27:35.296" v="209"/>
          <ac:inkMkLst>
            <pc:docMk/>
            <pc:sldMk cId="1370836176" sldId="285"/>
            <ac:inkMk id="25" creationId="{72593809-1887-CD3D-9C18-AFCDE4D9D3A3}"/>
          </ac:inkMkLst>
        </pc:inkChg>
        <pc:inkChg chg="add mod">
          <ac:chgData name="Aniket Chhabra" userId="598e0514-bef3-4e71-b6aa-f2edd6441cff" providerId="ADAL" clId="{43E39AE6-34EE-7C4D-B602-232FA08B7158}" dt="2022-10-20T14:27:35.296" v="209"/>
          <ac:inkMkLst>
            <pc:docMk/>
            <pc:sldMk cId="1370836176" sldId="285"/>
            <ac:inkMk id="26" creationId="{E71469EC-5512-B225-2B8C-44F036B3F6A0}"/>
          </ac:inkMkLst>
        </pc:inkChg>
        <pc:inkChg chg="add mod">
          <ac:chgData name="Aniket Chhabra" userId="598e0514-bef3-4e71-b6aa-f2edd6441cff" providerId="ADAL" clId="{43E39AE6-34EE-7C4D-B602-232FA08B7158}" dt="2022-10-20T14:27:35.296" v="209"/>
          <ac:inkMkLst>
            <pc:docMk/>
            <pc:sldMk cId="1370836176" sldId="285"/>
            <ac:inkMk id="29" creationId="{ADCA1361-3390-FCCB-962F-1DCFA7C1C843}"/>
          </ac:inkMkLst>
        </pc:inkChg>
        <pc:inkChg chg="add mod">
          <ac:chgData name="Aniket Chhabra" userId="598e0514-bef3-4e71-b6aa-f2edd6441cff" providerId="ADAL" clId="{43E39AE6-34EE-7C4D-B602-232FA08B7158}" dt="2022-10-20T14:27:35.296" v="209"/>
          <ac:inkMkLst>
            <pc:docMk/>
            <pc:sldMk cId="1370836176" sldId="285"/>
            <ac:inkMk id="30" creationId="{F239DDCC-FFD5-D492-C43E-37CFBB8EC468}"/>
          </ac:inkMkLst>
        </pc:inkChg>
        <pc:inkChg chg="add mod">
          <ac:chgData name="Aniket Chhabra" userId="598e0514-bef3-4e71-b6aa-f2edd6441cff" providerId="ADAL" clId="{43E39AE6-34EE-7C4D-B602-232FA08B7158}" dt="2022-10-20T14:27:35.296" v="209"/>
          <ac:inkMkLst>
            <pc:docMk/>
            <pc:sldMk cId="1370836176" sldId="285"/>
            <ac:inkMk id="31" creationId="{95490500-6BDA-31E0-6484-D11F3EC8FF88}"/>
          </ac:inkMkLst>
        </pc:inkChg>
        <pc:inkChg chg="add mod">
          <ac:chgData name="Aniket Chhabra" userId="598e0514-bef3-4e71-b6aa-f2edd6441cff" providerId="ADAL" clId="{43E39AE6-34EE-7C4D-B602-232FA08B7158}" dt="2022-10-20T14:27:35.296" v="209"/>
          <ac:inkMkLst>
            <pc:docMk/>
            <pc:sldMk cId="1370836176" sldId="285"/>
            <ac:inkMk id="32" creationId="{AF947B1F-B2F2-C182-C1DF-7033AA4AF699}"/>
          </ac:inkMkLst>
        </pc:inkChg>
        <pc:inkChg chg="add mod">
          <ac:chgData name="Aniket Chhabra" userId="598e0514-bef3-4e71-b6aa-f2edd6441cff" providerId="ADAL" clId="{43E39AE6-34EE-7C4D-B602-232FA08B7158}" dt="2022-10-20T14:27:35.296" v="209"/>
          <ac:inkMkLst>
            <pc:docMk/>
            <pc:sldMk cId="1370836176" sldId="285"/>
            <ac:inkMk id="33" creationId="{C4F7C30D-24FC-C824-0053-A4AB6EF7D0E2}"/>
          </ac:inkMkLst>
        </pc:inkChg>
        <pc:inkChg chg="add mod">
          <ac:chgData name="Aniket Chhabra" userId="598e0514-bef3-4e71-b6aa-f2edd6441cff" providerId="ADAL" clId="{43E39AE6-34EE-7C4D-B602-232FA08B7158}" dt="2022-10-20T14:27:35.296" v="209"/>
          <ac:inkMkLst>
            <pc:docMk/>
            <pc:sldMk cId="1370836176" sldId="285"/>
            <ac:inkMk id="34" creationId="{A74A0EA8-6930-D1A4-F3CF-56B4940323A6}"/>
          </ac:inkMkLst>
        </pc:inkChg>
        <pc:inkChg chg="add mod">
          <ac:chgData name="Aniket Chhabra" userId="598e0514-bef3-4e71-b6aa-f2edd6441cff" providerId="ADAL" clId="{43E39AE6-34EE-7C4D-B602-232FA08B7158}" dt="2022-10-20T14:27:35.296" v="209"/>
          <ac:inkMkLst>
            <pc:docMk/>
            <pc:sldMk cId="1370836176" sldId="285"/>
            <ac:inkMk id="35" creationId="{5C236F65-19E1-6986-98A1-F0E7D3D89BFA}"/>
          </ac:inkMkLst>
        </pc:inkChg>
        <pc:inkChg chg="add mod">
          <ac:chgData name="Aniket Chhabra" userId="598e0514-bef3-4e71-b6aa-f2edd6441cff" providerId="ADAL" clId="{43E39AE6-34EE-7C4D-B602-232FA08B7158}" dt="2022-10-20T14:27:35.296" v="209"/>
          <ac:inkMkLst>
            <pc:docMk/>
            <pc:sldMk cId="1370836176" sldId="285"/>
            <ac:inkMk id="37" creationId="{50FF8319-C6CF-1EDE-7F13-A7F9450614C4}"/>
          </ac:inkMkLst>
        </pc:inkChg>
        <pc:inkChg chg="add mod">
          <ac:chgData name="Aniket Chhabra" userId="598e0514-bef3-4e71-b6aa-f2edd6441cff" providerId="ADAL" clId="{43E39AE6-34EE-7C4D-B602-232FA08B7158}" dt="2022-10-20T14:27:35.296" v="209"/>
          <ac:inkMkLst>
            <pc:docMk/>
            <pc:sldMk cId="1370836176" sldId="285"/>
            <ac:inkMk id="38" creationId="{21C086C9-D217-8611-9097-8D2037B84260}"/>
          </ac:inkMkLst>
        </pc:inkChg>
        <pc:inkChg chg="add mod">
          <ac:chgData name="Aniket Chhabra" userId="598e0514-bef3-4e71-b6aa-f2edd6441cff" providerId="ADAL" clId="{43E39AE6-34EE-7C4D-B602-232FA08B7158}" dt="2022-10-20T14:27:35.296" v="209"/>
          <ac:inkMkLst>
            <pc:docMk/>
            <pc:sldMk cId="1370836176" sldId="285"/>
            <ac:inkMk id="39" creationId="{C5442D33-5059-16BF-4F92-60C42AE4DB76}"/>
          </ac:inkMkLst>
        </pc:inkChg>
        <pc:inkChg chg="add mod">
          <ac:chgData name="Aniket Chhabra" userId="598e0514-bef3-4e71-b6aa-f2edd6441cff" providerId="ADAL" clId="{43E39AE6-34EE-7C4D-B602-232FA08B7158}" dt="2022-10-20T14:27:35.296" v="209"/>
          <ac:inkMkLst>
            <pc:docMk/>
            <pc:sldMk cId="1370836176" sldId="285"/>
            <ac:inkMk id="40" creationId="{0A4C72BF-EAC6-1212-6758-B7D7B5E53A81}"/>
          </ac:inkMkLst>
        </pc:inkChg>
        <pc:inkChg chg="add">
          <ac:chgData name="Aniket Chhabra" userId="598e0514-bef3-4e71-b6aa-f2edd6441cff" providerId="ADAL" clId="{43E39AE6-34EE-7C4D-B602-232FA08B7158}" dt="2022-10-20T14:27:34.306" v="208" actId="9405"/>
          <ac:inkMkLst>
            <pc:docMk/>
            <pc:sldMk cId="1370836176" sldId="285"/>
            <ac:inkMk id="41" creationId="{8DD4ECCE-4F42-7B8B-0521-D6A098B4919A}"/>
          </ac:inkMkLst>
        </pc:inkChg>
        <pc:inkChg chg="add mod">
          <ac:chgData name="Aniket Chhabra" userId="598e0514-bef3-4e71-b6aa-f2edd6441cff" providerId="ADAL" clId="{43E39AE6-34EE-7C4D-B602-232FA08B7158}" dt="2022-10-20T14:27:37.222" v="212"/>
          <ac:inkMkLst>
            <pc:docMk/>
            <pc:sldMk cId="1370836176" sldId="285"/>
            <ac:inkMk id="43" creationId="{EE25938A-6804-D435-57DC-F115AD827E09}"/>
          </ac:inkMkLst>
        </pc:inkChg>
        <pc:inkChg chg="add mod">
          <ac:chgData name="Aniket Chhabra" userId="598e0514-bef3-4e71-b6aa-f2edd6441cff" providerId="ADAL" clId="{43E39AE6-34EE-7C4D-B602-232FA08B7158}" dt="2022-10-20T14:27:37.222" v="212"/>
          <ac:inkMkLst>
            <pc:docMk/>
            <pc:sldMk cId="1370836176" sldId="285"/>
            <ac:inkMk id="44" creationId="{B4F82819-1662-35CA-31B9-4A4390A6C6B3}"/>
          </ac:inkMkLst>
        </pc:inkChg>
        <pc:inkChg chg="add">
          <ac:chgData name="Aniket Chhabra" userId="598e0514-bef3-4e71-b6aa-f2edd6441cff" providerId="ADAL" clId="{43E39AE6-34EE-7C4D-B602-232FA08B7158}" dt="2022-10-20T14:38:19.460" v="304" actId="9405"/>
          <ac:inkMkLst>
            <pc:docMk/>
            <pc:sldMk cId="1370836176" sldId="285"/>
            <ac:inkMk id="46" creationId="{2A227978-62C6-E24B-1F7F-A0DAF0F8F501}"/>
          </ac:inkMkLst>
        </pc:inkChg>
      </pc:sldChg>
      <pc:sldChg chg="addSp delSp modSp mod">
        <pc:chgData name="Aniket Chhabra" userId="598e0514-bef3-4e71-b6aa-f2edd6441cff" providerId="ADAL" clId="{43E39AE6-34EE-7C4D-B602-232FA08B7158}" dt="2022-10-20T14:39:12.279" v="330"/>
        <pc:sldMkLst>
          <pc:docMk/>
          <pc:sldMk cId="2691590533" sldId="286"/>
        </pc:sldMkLst>
        <pc:grpChg chg="add del mod">
          <ac:chgData name="Aniket Chhabra" userId="598e0514-bef3-4e71-b6aa-f2edd6441cff" providerId="ADAL" clId="{43E39AE6-34EE-7C4D-B602-232FA08B7158}" dt="2022-10-20T14:25:01.569" v="94"/>
          <ac:grpSpMkLst>
            <pc:docMk/>
            <pc:sldMk cId="2691590533" sldId="286"/>
            <ac:grpSpMk id="9" creationId="{CFF3F4A1-03FD-77DB-8A7F-8947631B44FF}"/>
          </ac:grpSpMkLst>
        </pc:grpChg>
        <pc:grpChg chg="del mod">
          <ac:chgData name="Aniket Chhabra" userId="598e0514-bef3-4e71-b6aa-f2edd6441cff" providerId="ADAL" clId="{43E39AE6-34EE-7C4D-B602-232FA08B7158}" dt="2022-10-20T14:24:00.333" v="20"/>
          <ac:grpSpMkLst>
            <pc:docMk/>
            <pc:sldMk cId="2691590533" sldId="286"/>
            <ac:grpSpMk id="13" creationId="{69567FDD-61BB-5DFC-D958-7792F4FD0D8E}"/>
          </ac:grpSpMkLst>
        </pc:grpChg>
        <pc:grpChg chg="mod">
          <ac:chgData name="Aniket Chhabra" userId="598e0514-bef3-4e71-b6aa-f2edd6441cff" providerId="ADAL" clId="{43E39AE6-34EE-7C4D-B602-232FA08B7158}" dt="2022-10-20T14:24:00.333" v="20"/>
          <ac:grpSpMkLst>
            <pc:docMk/>
            <pc:sldMk cId="2691590533" sldId="286"/>
            <ac:grpSpMk id="28" creationId="{D0E441CF-09C2-CF23-B73C-5A44B31BC514}"/>
          </ac:grpSpMkLst>
        </pc:grpChg>
        <pc:grpChg chg="mod">
          <ac:chgData name="Aniket Chhabra" userId="598e0514-bef3-4e71-b6aa-f2edd6441cff" providerId="ADAL" clId="{43E39AE6-34EE-7C4D-B602-232FA08B7158}" dt="2022-10-20T14:24:03.166" v="27"/>
          <ac:grpSpMkLst>
            <pc:docMk/>
            <pc:sldMk cId="2691590533" sldId="286"/>
            <ac:grpSpMk id="35" creationId="{6FC762A7-2ECC-51E2-3795-4BDE673876EC}"/>
          </ac:grpSpMkLst>
        </pc:grpChg>
        <pc:grpChg chg="add del mod">
          <ac:chgData name="Aniket Chhabra" userId="598e0514-bef3-4e71-b6aa-f2edd6441cff" providerId="ADAL" clId="{43E39AE6-34EE-7C4D-B602-232FA08B7158}" dt="2022-10-20T14:26:01.588" v="106"/>
          <ac:grpSpMkLst>
            <pc:docMk/>
            <pc:sldMk cId="2691590533" sldId="286"/>
            <ac:grpSpMk id="38" creationId="{B85D3BFD-77D0-2A23-C6E5-5C42AE1A560A}"/>
          </ac:grpSpMkLst>
        </pc:grpChg>
        <pc:grpChg chg="del mod">
          <ac:chgData name="Aniket Chhabra" userId="598e0514-bef3-4e71-b6aa-f2edd6441cff" providerId="ADAL" clId="{43E39AE6-34EE-7C4D-B602-232FA08B7158}" dt="2022-10-20T14:27:50.036" v="214"/>
          <ac:grpSpMkLst>
            <pc:docMk/>
            <pc:sldMk cId="2691590533" sldId="286"/>
            <ac:grpSpMk id="41" creationId="{EAE01CFA-B8C6-B4F6-1680-450482E50057}"/>
          </ac:grpSpMkLst>
        </pc:grpChg>
        <pc:grpChg chg="add del mod">
          <ac:chgData name="Aniket Chhabra" userId="598e0514-bef3-4e71-b6aa-f2edd6441cff" providerId="ADAL" clId="{43E39AE6-34EE-7C4D-B602-232FA08B7158}" dt="2022-10-20T14:27:51.265" v="216"/>
          <ac:grpSpMkLst>
            <pc:docMk/>
            <pc:sldMk cId="2691590533" sldId="286"/>
            <ac:grpSpMk id="44" creationId="{C747654B-D738-36D4-2541-207F1FF39317}"/>
          </ac:grpSpMkLst>
        </pc:grpChg>
        <pc:grpChg chg="mod">
          <ac:chgData name="Aniket Chhabra" userId="598e0514-bef3-4e71-b6aa-f2edd6441cff" providerId="ADAL" clId="{43E39AE6-34EE-7C4D-B602-232FA08B7158}" dt="2022-10-20T14:24:19.374" v="48"/>
          <ac:grpSpMkLst>
            <pc:docMk/>
            <pc:sldMk cId="2691590533" sldId="286"/>
            <ac:grpSpMk id="63" creationId="{3E42F8D7-E70C-A524-76D3-7CF3478604A6}"/>
          </ac:grpSpMkLst>
        </pc:grpChg>
        <pc:grpChg chg="del mod">
          <ac:chgData name="Aniket Chhabra" userId="598e0514-bef3-4e71-b6aa-f2edd6441cff" providerId="ADAL" clId="{43E39AE6-34EE-7C4D-B602-232FA08B7158}" dt="2022-10-20T14:24:33.060" v="62"/>
          <ac:grpSpMkLst>
            <pc:docMk/>
            <pc:sldMk cId="2691590533" sldId="286"/>
            <ac:grpSpMk id="75" creationId="{77465002-A94F-CFD4-1B59-A538AF3E5936}"/>
          </ac:grpSpMkLst>
        </pc:grpChg>
        <pc:grpChg chg="del mod">
          <ac:chgData name="Aniket Chhabra" userId="598e0514-bef3-4e71-b6aa-f2edd6441cff" providerId="ADAL" clId="{43E39AE6-34EE-7C4D-B602-232FA08B7158}" dt="2022-10-20T14:24:35.017" v="65"/>
          <ac:grpSpMkLst>
            <pc:docMk/>
            <pc:sldMk cId="2691590533" sldId="286"/>
            <ac:grpSpMk id="77" creationId="{FE0EA262-4166-1ADB-05D6-2F98B880609D}"/>
          </ac:grpSpMkLst>
        </pc:grpChg>
        <pc:grpChg chg="del mod">
          <ac:chgData name="Aniket Chhabra" userId="598e0514-bef3-4e71-b6aa-f2edd6441cff" providerId="ADAL" clId="{43E39AE6-34EE-7C4D-B602-232FA08B7158}" dt="2022-10-20T14:27:51.265" v="216"/>
          <ac:grpSpMkLst>
            <pc:docMk/>
            <pc:sldMk cId="2691590533" sldId="286"/>
            <ac:grpSpMk id="80" creationId="{72C04832-2E91-9336-8354-36EBFACE1284}"/>
          </ac:grpSpMkLst>
        </pc:grpChg>
        <pc:grpChg chg="add del mod">
          <ac:chgData name="Aniket Chhabra" userId="598e0514-bef3-4e71-b6aa-f2edd6441cff" providerId="ADAL" clId="{43E39AE6-34EE-7C4D-B602-232FA08B7158}" dt="2022-10-20T14:27:51.265" v="216"/>
          <ac:grpSpMkLst>
            <pc:docMk/>
            <pc:sldMk cId="2691590533" sldId="286"/>
            <ac:grpSpMk id="84" creationId="{4A8BB432-CF8A-21F5-5383-9BBE929E97EA}"/>
          </ac:grpSpMkLst>
        </pc:grpChg>
        <pc:grpChg chg="mod">
          <ac:chgData name="Aniket Chhabra" userId="598e0514-bef3-4e71-b6aa-f2edd6441cff" providerId="ADAL" clId="{43E39AE6-34EE-7C4D-B602-232FA08B7158}" dt="2022-10-20T14:26:01.588" v="106"/>
          <ac:grpSpMkLst>
            <pc:docMk/>
            <pc:sldMk cId="2691590533" sldId="286"/>
            <ac:grpSpMk id="87" creationId="{A07531E0-7241-B335-B63D-57D7F32BAA83}"/>
          </ac:grpSpMkLst>
        </pc:grpChg>
        <pc:grpChg chg="del mod">
          <ac:chgData name="Aniket Chhabra" userId="598e0514-bef3-4e71-b6aa-f2edd6441cff" providerId="ADAL" clId="{43E39AE6-34EE-7C4D-B602-232FA08B7158}" dt="2022-10-20T14:27:51.908" v="218"/>
          <ac:grpSpMkLst>
            <pc:docMk/>
            <pc:sldMk cId="2691590533" sldId="286"/>
            <ac:grpSpMk id="89" creationId="{3BBB82D6-86E9-C7B4-CACD-F405D2B1676D}"/>
          </ac:grpSpMkLst>
        </pc:grpChg>
        <pc:grpChg chg="del mod">
          <ac:chgData name="Aniket Chhabra" userId="598e0514-bef3-4e71-b6aa-f2edd6441cff" providerId="ADAL" clId="{43E39AE6-34EE-7C4D-B602-232FA08B7158}" dt="2022-10-20T14:28:24.911" v="251"/>
          <ac:grpSpMkLst>
            <pc:docMk/>
            <pc:sldMk cId="2691590533" sldId="286"/>
            <ac:grpSpMk id="91" creationId="{32DA360B-7FC3-8ABE-ABC8-314693E70F97}"/>
          </ac:grpSpMkLst>
        </pc:grpChg>
        <pc:grpChg chg="del mod">
          <ac:chgData name="Aniket Chhabra" userId="598e0514-bef3-4e71-b6aa-f2edd6441cff" providerId="ADAL" clId="{43E39AE6-34EE-7C4D-B602-232FA08B7158}" dt="2022-10-20T14:31:38.723" v="254"/>
          <ac:grpSpMkLst>
            <pc:docMk/>
            <pc:sldMk cId="2691590533" sldId="286"/>
            <ac:grpSpMk id="93" creationId="{937997E3-18FB-5D25-D33B-65218FDFD51A}"/>
          </ac:grpSpMkLst>
        </pc:grpChg>
        <pc:grpChg chg="del mod">
          <ac:chgData name="Aniket Chhabra" userId="598e0514-bef3-4e71-b6aa-f2edd6441cff" providerId="ADAL" clId="{43E39AE6-34EE-7C4D-B602-232FA08B7158}" dt="2022-10-20T14:28:15.642" v="234"/>
          <ac:grpSpMkLst>
            <pc:docMk/>
            <pc:sldMk cId="2691590533" sldId="286"/>
            <ac:grpSpMk id="100" creationId="{017DB2EC-DB69-799E-B354-14C74D3C9DF6}"/>
          </ac:grpSpMkLst>
        </pc:grpChg>
        <pc:grpChg chg="del mod">
          <ac:chgData name="Aniket Chhabra" userId="598e0514-bef3-4e71-b6aa-f2edd6441cff" providerId="ADAL" clId="{43E39AE6-34EE-7C4D-B602-232FA08B7158}" dt="2022-10-20T14:28:17.172" v="237"/>
          <ac:grpSpMkLst>
            <pc:docMk/>
            <pc:sldMk cId="2691590533" sldId="286"/>
            <ac:grpSpMk id="109" creationId="{3DC99D5F-3817-13AA-31C8-1311A7F083D6}"/>
          </ac:grpSpMkLst>
        </pc:grpChg>
        <pc:grpChg chg="mod">
          <ac:chgData name="Aniket Chhabra" userId="598e0514-bef3-4e71-b6aa-f2edd6441cff" providerId="ADAL" clId="{43E39AE6-34EE-7C4D-B602-232FA08B7158}" dt="2022-10-20T14:28:17.172" v="237"/>
          <ac:grpSpMkLst>
            <pc:docMk/>
            <pc:sldMk cId="2691590533" sldId="286"/>
            <ac:grpSpMk id="112" creationId="{5D4837F9-2811-10F4-A778-2149521FCA32}"/>
          </ac:grpSpMkLst>
        </pc:grpChg>
        <pc:grpChg chg="del mod">
          <ac:chgData name="Aniket Chhabra" userId="598e0514-bef3-4e71-b6aa-f2edd6441cff" providerId="ADAL" clId="{43E39AE6-34EE-7C4D-B602-232FA08B7158}" dt="2022-10-20T14:31:38.723" v="254"/>
          <ac:grpSpMkLst>
            <pc:docMk/>
            <pc:sldMk cId="2691590533" sldId="286"/>
            <ac:grpSpMk id="126" creationId="{79C706A0-BD52-33CD-289E-891975E93BB7}"/>
          </ac:grpSpMkLst>
        </pc:grpChg>
        <pc:grpChg chg="del mod">
          <ac:chgData name="Aniket Chhabra" userId="598e0514-bef3-4e71-b6aa-f2edd6441cff" providerId="ADAL" clId="{43E39AE6-34EE-7C4D-B602-232FA08B7158}" dt="2022-10-20T14:28:24.911" v="251"/>
          <ac:grpSpMkLst>
            <pc:docMk/>
            <pc:sldMk cId="2691590533" sldId="286"/>
            <ac:grpSpMk id="127" creationId="{37EB8AC5-E46E-78F0-BC36-9FF73D436B66}"/>
          </ac:grpSpMkLst>
        </pc:grpChg>
        <pc:grpChg chg="mod">
          <ac:chgData name="Aniket Chhabra" userId="598e0514-bef3-4e71-b6aa-f2edd6441cff" providerId="ADAL" clId="{43E39AE6-34EE-7C4D-B602-232FA08B7158}" dt="2022-10-20T14:28:24.911" v="251"/>
          <ac:grpSpMkLst>
            <pc:docMk/>
            <pc:sldMk cId="2691590533" sldId="286"/>
            <ac:grpSpMk id="128" creationId="{E30C90A6-41D3-37F2-7C2D-CA6A065FCA9B}"/>
          </ac:grpSpMkLst>
        </pc:grpChg>
        <pc:grpChg chg="del mod">
          <ac:chgData name="Aniket Chhabra" userId="598e0514-bef3-4e71-b6aa-f2edd6441cff" providerId="ADAL" clId="{43E39AE6-34EE-7C4D-B602-232FA08B7158}" dt="2022-10-20T14:39:06.824" v="307"/>
          <ac:grpSpMkLst>
            <pc:docMk/>
            <pc:sldMk cId="2691590533" sldId="286"/>
            <ac:grpSpMk id="131" creationId="{724FF4BC-2976-7181-FEFE-698AD21F36C1}"/>
          </ac:grpSpMkLst>
        </pc:grpChg>
        <pc:grpChg chg="del mod">
          <ac:chgData name="Aniket Chhabra" userId="598e0514-bef3-4e71-b6aa-f2edd6441cff" providerId="ADAL" clId="{43E39AE6-34EE-7C4D-B602-232FA08B7158}" dt="2022-10-20T14:36:54.357" v="265"/>
          <ac:grpSpMkLst>
            <pc:docMk/>
            <pc:sldMk cId="2691590533" sldId="286"/>
            <ac:grpSpMk id="140" creationId="{3B67BA0F-3AF3-7438-2DD6-3A17D584929A}"/>
          </ac:grpSpMkLst>
        </pc:grpChg>
        <pc:grpChg chg="del mod">
          <ac:chgData name="Aniket Chhabra" userId="598e0514-bef3-4e71-b6aa-f2edd6441cff" providerId="ADAL" clId="{43E39AE6-34EE-7C4D-B602-232FA08B7158}" dt="2022-10-20T14:36:59.088" v="277"/>
          <ac:grpSpMkLst>
            <pc:docMk/>
            <pc:sldMk cId="2691590533" sldId="286"/>
            <ac:grpSpMk id="142" creationId="{C7C055A6-23F4-2CD6-6272-A7A6DA881836}"/>
          </ac:grpSpMkLst>
        </pc:grpChg>
        <pc:grpChg chg="del mod">
          <ac:chgData name="Aniket Chhabra" userId="598e0514-bef3-4e71-b6aa-f2edd6441cff" providerId="ADAL" clId="{43E39AE6-34EE-7C4D-B602-232FA08B7158}" dt="2022-10-20T14:37:04.639" v="284"/>
          <ac:grpSpMkLst>
            <pc:docMk/>
            <pc:sldMk cId="2691590533" sldId="286"/>
            <ac:grpSpMk id="154" creationId="{9D5FAFF2-DBFD-DF4F-27BB-1E10A50D4096}"/>
          </ac:grpSpMkLst>
        </pc:grpChg>
        <pc:grpChg chg="del mod">
          <ac:chgData name="Aniket Chhabra" userId="598e0514-bef3-4e71-b6aa-f2edd6441cff" providerId="ADAL" clId="{43E39AE6-34EE-7C4D-B602-232FA08B7158}" dt="2022-10-20T14:37:04.639" v="284"/>
          <ac:grpSpMkLst>
            <pc:docMk/>
            <pc:sldMk cId="2691590533" sldId="286"/>
            <ac:grpSpMk id="155" creationId="{5BE114CC-C1D7-0E03-E23C-592590C55BCE}"/>
          </ac:grpSpMkLst>
        </pc:grpChg>
        <pc:grpChg chg="mod">
          <ac:chgData name="Aniket Chhabra" userId="598e0514-bef3-4e71-b6aa-f2edd6441cff" providerId="ADAL" clId="{43E39AE6-34EE-7C4D-B602-232FA08B7158}" dt="2022-10-20T14:37:04.639" v="284"/>
          <ac:grpSpMkLst>
            <pc:docMk/>
            <pc:sldMk cId="2691590533" sldId="286"/>
            <ac:grpSpMk id="162" creationId="{E9F0DC67-A570-4A69-C7FF-8D9C132525E7}"/>
          </ac:grpSpMkLst>
        </pc:grpChg>
        <pc:grpChg chg="del mod">
          <ac:chgData name="Aniket Chhabra" userId="598e0514-bef3-4e71-b6aa-f2edd6441cff" providerId="ADAL" clId="{43E39AE6-34EE-7C4D-B602-232FA08B7158}" dt="2022-10-20T14:37:09.798" v="296"/>
          <ac:grpSpMkLst>
            <pc:docMk/>
            <pc:sldMk cId="2691590533" sldId="286"/>
            <ac:grpSpMk id="163" creationId="{579822BF-DAB3-905C-1686-B5B5F01E4F07}"/>
          </ac:grpSpMkLst>
        </pc:grpChg>
        <pc:grpChg chg="del mod">
          <ac:chgData name="Aniket Chhabra" userId="598e0514-bef3-4e71-b6aa-f2edd6441cff" providerId="ADAL" clId="{43E39AE6-34EE-7C4D-B602-232FA08B7158}" dt="2022-10-20T14:37:10.548" v="298"/>
          <ac:grpSpMkLst>
            <pc:docMk/>
            <pc:sldMk cId="2691590533" sldId="286"/>
            <ac:grpSpMk id="175" creationId="{172AD8C6-EEA1-3308-C505-5EBF39764687}"/>
          </ac:grpSpMkLst>
        </pc:grpChg>
        <pc:grpChg chg="mod">
          <ac:chgData name="Aniket Chhabra" userId="598e0514-bef3-4e71-b6aa-f2edd6441cff" providerId="ADAL" clId="{43E39AE6-34EE-7C4D-B602-232FA08B7158}" dt="2022-10-20T14:37:09.798" v="296"/>
          <ac:grpSpMkLst>
            <pc:docMk/>
            <pc:sldMk cId="2691590533" sldId="286"/>
            <ac:grpSpMk id="176" creationId="{F788A0C0-82A5-585B-71D8-42BA34A55B4A}"/>
          </ac:grpSpMkLst>
        </pc:grpChg>
        <pc:grpChg chg="del mod">
          <ac:chgData name="Aniket Chhabra" userId="598e0514-bef3-4e71-b6aa-f2edd6441cff" providerId="ADAL" clId="{43E39AE6-34EE-7C4D-B602-232FA08B7158}" dt="2022-10-20T14:37:11.909" v="300"/>
          <ac:grpSpMkLst>
            <pc:docMk/>
            <pc:sldMk cId="2691590533" sldId="286"/>
            <ac:grpSpMk id="178" creationId="{4A24FB9C-D0D2-D67E-516D-AD982DF660CB}"/>
          </ac:grpSpMkLst>
        </pc:grpChg>
        <pc:grpChg chg="del mod">
          <ac:chgData name="Aniket Chhabra" userId="598e0514-bef3-4e71-b6aa-f2edd6441cff" providerId="ADAL" clId="{43E39AE6-34EE-7C4D-B602-232FA08B7158}" dt="2022-10-20T14:37:13.764" v="303"/>
          <ac:grpSpMkLst>
            <pc:docMk/>
            <pc:sldMk cId="2691590533" sldId="286"/>
            <ac:grpSpMk id="180" creationId="{FC1D0632-AFD1-CDD6-3195-7725A359F02B}"/>
          </ac:grpSpMkLst>
        </pc:grpChg>
        <pc:grpChg chg="mod">
          <ac:chgData name="Aniket Chhabra" userId="598e0514-bef3-4e71-b6aa-f2edd6441cff" providerId="ADAL" clId="{43E39AE6-34EE-7C4D-B602-232FA08B7158}" dt="2022-10-20T14:37:13.764" v="303"/>
          <ac:grpSpMkLst>
            <pc:docMk/>
            <pc:sldMk cId="2691590533" sldId="286"/>
            <ac:grpSpMk id="183" creationId="{A76CA22E-A3C6-1299-360F-27E36A4DD958}"/>
          </ac:grpSpMkLst>
        </pc:grpChg>
        <pc:grpChg chg="del mod">
          <ac:chgData name="Aniket Chhabra" userId="598e0514-bef3-4e71-b6aa-f2edd6441cff" providerId="ADAL" clId="{43E39AE6-34EE-7C4D-B602-232FA08B7158}" dt="2022-10-20T14:39:12.278" v="328"/>
          <ac:grpSpMkLst>
            <pc:docMk/>
            <pc:sldMk cId="2691590533" sldId="286"/>
            <ac:grpSpMk id="186" creationId="{24C13BC9-9BC3-7B41-C948-743415202BD2}"/>
          </ac:grpSpMkLst>
        </pc:grpChg>
        <pc:inkChg chg="add">
          <ac:chgData name="Aniket Chhabra" userId="598e0514-bef3-4e71-b6aa-f2edd6441cff" providerId="ADAL" clId="{43E39AE6-34EE-7C4D-B602-232FA08B7158}" dt="2022-10-20T14:23:44.822" v="0" actId="9405"/>
          <ac:inkMkLst>
            <pc:docMk/>
            <pc:sldMk cId="2691590533" sldId="286"/>
            <ac:inkMk id="3" creationId="{A97071F9-B3EA-5091-E7E7-0F845D1ED658}"/>
          </ac:inkMkLst>
        </pc:inkChg>
        <pc:inkChg chg="add del mod">
          <ac:chgData name="Aniket Chhabra" userId="598e0514-bef3-4e71-b6aa-f2edd6441cff" providerId="ADAL" clId="{43E39AE6-34EE-7C4D-B602-232FA08B7158}" dt="2022-10-20T14:25:01.569" v="94"/>
          <ac:inkMkLst>
            <pc:docMk/>
            <pc:sldMk cId="2691590533" sldId="286"/>
            <ac:inkMk id="4" creationId="{4FEFE598-9D11-5AAA-A34B-A7E971F3A451}"/>
          </ac:inkMkLst>
        </pc:inkChg>
        <pc:inkChg chg="add del mod">
          <ac:chgData name="Aniket Chhabra" userId="598e0514-bef3-4e71-b6aa-f2edd6441cff" providerId="ADAL" clId="{43E39AE6-34EE-7C4D-B602-232FA08B7158}" dt="2022-10-20T14:25:01.569" v="94"/>
          <ac:inkMkLst>
            <pc:docMk/>
            <pc:sldMk cId="2691590533" sldId="286"/>
            <ac:inkMk id="5" creationId="{39F45764-93C6-6290-C55D-46DBC8AB6F94}"/>
          </ac:inkMkLst>
        </pc:inkChg>
        <pc:inkChg chg="add del mod">
          <ac:chgData name="Aniket Chhabra" userId="598e0514-bef3-4e71-b6aa-f2edd6441cff" providerId="ADAL" clId="{43E39AE6-34EE-7C4D-B602-232FA08B7158}" dt="2022-10-20T14:25:01.569" v="94"/>
          <ac:inkMkLst>
            <pc:docMk/>
            <pc:sldMk cId="2691590533" sldId="286"/>
            <ac:inkMk id="7" creationId="{085000D0-86D0-B330-2B72-5159691E249B}"/>
          </ac:inkMkLst>
        </pc:inkChg>
        <pc:inkChg chg="add mod">
          <ac:chgData name="Aniket Chhabra" userId="598e0514-bef3-4e71-b6aa-f2edd6441cff" providerId="ADAL" clId="{43E39AE6-34EE-7C4D-B602-232FA08B7158}" dt="2022-10-20T14:24:00.333" v="20"/>
          <ac:inkMkLst>
            <pc:docMk/>
            <pc:sldMk cId="2691590533" sldId="286"/>
            <ac:inkMk id="10" creationId="{B9076F94-96AF-B463-859E-A77C79C6200C}"/>
          </ac:inkMkLst>
        </pc:inkChg>
        <pc:inkChg chg="add mod">
          <ac:chgData name="Aniket Chhabra" userId="598e0514-bef3-4e71-b6aa-f2edd6441cff" providerId="ADAL" clId="{43E39AE6-34EE-7C4D-B602-232FA08B7158}" dt="2022-10-20T14:24:00.333" v="20"/>
          <ac:inkMkLst>
            <pc:docMk/>
            <pc:sldMk cId="2691590533" sldId="286"/>
            <ac:inkMk id="11" creationId="{852E1B6A-1642-83FA-6D07-D4B68AF53B7F}"/>
          </ac:inkMkLst>
        </pc:inkChg>
        <pc:inkChg chg="add mod">
          <ac:chgData name="Aniket Chhabra" userId="598e0514-bef3-4e71-b6aa-f2edd6441cff" providerId="ADAL" clId="{43E39AE6-34EE-7C4D-B602-232FA08B7158}" dt="2022-10-20T14:24:00.333" v="20"/>
          <ac:inkMkLst>
            <pc:docMk/>
            <pc:sldMk cId="2691590533" sldId="286"/>
            <ac:inkMk id="12" creationId="{F322E923-6FCB-7691-43BE-DB3D97C05CAB}"/>
          </ac:inkMkLst>
        </pc:inkChg>
        <pc:inkChg chg="add mod">
          <ac:chgData name="Aniket Chhabra" userId="598e0514-bef3-4e71-b6aa-f2edd6441cff" providerId="ADAL" clId="{43E39AE6-34EE-7C4D-B602-232FA08B7158}" dt="2022-10-20T14:24:00.333" v="20"/>
          <ac:inkMkLst>
            <pc:docMk/>
            <pc:sldMk cId="2691590533" sldId="286"/>
            <ac:inkMk id="14" creationId="{BFE4CD61-2B4F-0985-ED43-BA7492FCA029}"/>
          </ac:inkMkLst>
        </pc:inkChg>
        <pc:inkChg chg="add mod">
          <ac:chgData name="Aniket Chhabra" userId="598e0514-bef3-4e71-b6aa-f2edd6441cff" providerId="ADAL" clId="{43E39AE6-34EE-7C4D-B602-232FA08B7158}" dt="2022-10-20T14:24:00.333" v="20"/>
          <ac:inkMkLst>
            <pc:docMk/>
            <pc:sldMk cId="2691590533" sldId="286"/>
            <ac:inkMk id="16" creationId="{CD4639F0-E78A-AC4E-5ED3-E4AAFA5274D3}"/>
          </ac:inkMkLst>
        </pc:inkChg>
        <pc:inkChg chg="add mod">
          <ac:chgData name="Aniket Chhabra" userId="598e0514-bef3-4e71-b6aa-f2edd6441cff" providerId="ADAL" clId="{43E39AE6-34EE-7C4D-B602-232FA08B7158}" dt="2022-10-20T14:24:00.333" v="20"/>
          <ac:inkMkLst>
            <pc:docMk/>
            <pc:sldMk cId="2691590533" sldId="286"/>
            <ac:inkMk id="17" creationId="{AE4439B6-A7EF-B590-501A-DCD3BB931B07}"/>
          </ac:inkMkLst>
        </pc:inkChg>
        <pc:inkChg chg="add mod">
          <ac:chgData name="Aniket Chhabra" userId="598e0514-bef3-4e71-b6aa-f2edd6441cff" providerId="ADAL" clId="{43E39AE6-34EE-7C4D-B602-232FA08B7158}" dt="2022-10-20T14:24:00.333" v="20"/>
          <ac:inkMkLst>
            <pc:docMk/>
            <pc:sldMk cId="2691590533" sldId="286"/>
            <ac:inkMk id="18" creationId="{D2FB4F54-4965-1DA6-A250-DFB48FBFB4D4}"/>
          </ac:inkMkLst>
        </pc:inkChg>
        <pc:inkChg chg="add mod">
          <ac:chgData name="Aniket Chhabra" userId="598e0514-bef3-4e71-b6aa-f2edd6441cff" providerId="ADAL" clId="{43E39AE6-34EE-7C4D-B602-232FA08B7158}" dt="2022-10-20T14:24:00.333" v="20"/>
          <ac:inkMkLst>
            <pc:docMk/>
            <pc:sldMk cId="2691590533" sldId="286"/>
            <ac:inkMk id="19" creationId="{F56CC8D5-63F5-541C-CD37-59E5AF11E40E}"/>
          </ac:inkMkLst>
        </pc:inkChg>
        <pc:inkChg chg="add mod">
          <ac:chgData name="Aniket Chhabra" userId="598e0514-bef3-4e71-b6aa-f2edd6441cff" providerId="ADAL" clId="{43E39AE6-34EE-7C4D-B602-232FA08B7158}" dt="2022-10-20T14:24:00.333" v="20"/>
          <ac:inkMkLst>
            <pc:docMk/>
            <pc:sldMk cId="2691590533" sldId="286"/>
            <ac:inkMk id="20" creationId="{3BA2EE44-10DE-E7F0-DA99-D0ACC9D833EE}"/>
          </ac:inkMkLst>
        </pc:inkChg>
        <pc:inkChg chg="add mod">
          <ac:chgData name="Aniket Chhabra" userId="598e0514-bef3-4e71-b6aa-f2edd6441cff" providerId="ADAL" clId="{43E39AE6-34EE-7C4D-B602-232FA08B7158}" dt="2022-10-20T14:24:00.333" v="20"/>
          <ac:inkMkLst>
            <pc:docMk/>
            <pc:sldMk cId="2691590533" sldId="286"/>
            <ac:inkMk id="22" creationId="{E545C4FB-DDD8-4578-452A-CC1D068BC804}"/>
          </ac:inkMkLst>
        </pc:inkChg>
        <pc:inkChg chg="add mod">
          <ac:chgData name="Aniket Chhabra" userId="598e0514-bef3-4e71-b6aa-f2edd6441cff" providerId="ADAL" clId="{43E39AE6-34EE-7C4D-B602-232FA08B7158}" dt="2022-10-20T14:24:00.333" v="20"/>
          <ac:inkMkLst>
            <pc:docMk/>
            <pc:sldMk cId="2691590533" sldId="286"/>
            <ac:inkMk id="24" creationId="{BB4D7322-7566-95CE-1990-C581527BBBD6}"/>
          </ac:inkMkLst>
        </pc:inkChg>
        <pc:inkChg chg="add mod">
          <ac:chgData name="Aniket Chhabra" userId="598e0514-bef3-4e71-b6aa-f2edd6441cff" providerId="ADAL" clId="{43E39AE6-34EE-7C4D-B602-232FA08B7158}" dt="2022-10-20T14:24:00.333" v="20"/>
          <ac:inkMkLst>
            <pc:docMk/>
            <pc:sldMk cId="2691590533" sldId="286"/>
            <ac:inkMk id="25" creationId="{5EF5B686-0C27-C0D2-5BC7-A5E691C86D66}"/>
          </ac:inkMkLst>
        </pc:inkChg>
        <pc:inkChg chg="add mod">
          <ac:chgData name="Aniket Chhabra" userId="598e0514-bef3-4e71-b6aa-f2edd6441cff" providerId="ADAL" clId="{43E39AE6-34EE-7C4D-B602-232FA08B7158}" dt="2022-10-20T14:24:00.333" v="20"/>
          <ac:inkMkLst>
            <pc:docMk/>
            <pc:sldMk cId="2691590533" sldId="286"/>
            <ac:inkMk id="26" creationId="{D9DC3882-B71D-9828-D8F7-0EFA79A20830}"/>
          </ac:inkMkLst>
        </pc:inkChg>
        <pc:inkChg chg="add mod">
          <ac:chgData name="Aniket Chhabra" userId="598e0514-bef3-4e71-b6aa-f2edd6441cff" providerId="ADAL" clId="{43E39AE6-34EE-7C4D-B602-232FA08B7158}" dt="2022-10-20T14:24:00.333" v="20"/>
          <ac:inkMkLst>
            <pc:docMk/>
            <pc:sldMk cId="2691590533" sldId="286"/>
            <ac:inkMk id="27" creationId="{16BAF084-CBBC-4826-BCF5-F523B10A3E03}"/>
          </ac:inkMkLst>
        </pc:inkChg>
        <pc:inkChg chg="add mod">
          <ac:chgData name="Aniket Chhabra" userId="598e0514-bef3-4e71-b6aa-f2edd6441cff" providerId="ADAL" clId="{43E39AE6-34EE-7C4D-B602-232FA08B7158}" dt="2022-10-20T14:24:03.166" v="27"/>
          <ac:inkMkLst>
            <pc:docMk/>
            <pc:sldMk cId="2691590533" sldId="286"/>
            <ac:inkMk id="29" creationId="{C7795F05-BDE6-F909-A1B5-CEC5B5358A24}"/>
          </ac:inkMkLst>
        </pc:inkChg>
        <pc:inkChg chg="add mod">
          <ac:chgData name="Aniket Chhabra" userId="598e0514-bef3-4e71-b6aa-f2edd6441cff" providerId="ADAL" clId="{43E39AE6-34EE-7C4D-B602-232FA08B7158}" dt="2022-10-20T14:24:03.166" v="27"/>
          <ac:inkMkLst>
            <pc:docMk/>
            <pc:sldMk cId="2691590533" sldId="286"/>
            <ac:inkMk id="30" creationId="{D99E3357-2B8C-3915-CA9B-DA48678A7F22}"/>
          </ac:inkMkLst>
        </pc:inkChg>
        <pc:inkChg chg="add mod">
          <ac:chgData name="Aniket Chhabra" userId="598e0514-bef3-4e71-b6aa-f2edd6441cff" providerId="ADAL" clId="{43E39AE6-34EE-7C4D-B602-232FA08B7158}" dt="2022-10-20T14:24:03.166" v="27"/>
          <ac:inkMkLst>
            <pc:docMk/>
            <pc:sldMk cId="2691590533" sldId="286"/>
            <ac:inkMk id="31" creationId="{74A275B2-31EC-0D12-E3D4-36B926DA67F2}"/>
          </ac:inkMkLst>
        </pc:inkChg>
        <pc:inkChg chg="add mod">
          <ac:chgData name="Aniket Chhabra" userId="598e0514-bef3-4e71-b6aa-f2edd6441cff" providerId="ADAL" clId="{43E39AE6-34EE-7C4D-B602-232FA08B7158}" dt="2022-10-20T14:24:03.166" v="27"/>
          <ac:inkMkLst>
            <pc:docMk/>
            <pc:sldMk cId="2691590533" sldId="286"/>
            <ac:inkMk id="32" creationId="{0246DD9E-4E9A-3F04-6C70-CA4365687195}"/>
          </ac:inkMkLst>
        </pc:inkChg>
        <pc:inkChg chg="add mod">
          <ac:chgData name="Aniket Chhabra" userId="598e0514-bef3-4e71-b6aa-f2edd6441cff" providerId="ADAL" clId="{43E39AE6-34EE-7C4D-B602-232FA08B7158}" dt="2022-10-20T14:24:03.166" v="27"/>
          <ac:inkMkLst>
            <pc:docMk/>
            <pc:sldMk cId="2691590533" sldId="286"/>
            <ac:inkMk id="33" creationId="{27F34332-AC61-44EC-0C0F-DCDDEF7F3FA6}"/>
          </ac:inkMkLst>
        </pc:inkChg>
        <pc:inkChg chg="add mod">
          <ac:chgData name="Aniket Chhabra" userId="598e0514-bef3-4e71-b6aa-f2edd6441cff" providerId="ADAL" clId="{43E39AE6-34EE-7C4D-B602-232FA08B7158}" dt="2022-10-20T14:24:03.166" v="27"/>
          <ac:inkMkLst>
            <pc:docMk/>
            <pc:sldMk cId="2691590533" sldId="286"/>
            <ac:inkMk id="34" creationId="{84393764-5333-E779-9C7D-825613A1031C}"/>
          </ac:inkMkLst>
        </pc:inkChg>
        <pc:inkChg chg="add del mod">
          <ac:chgData name="Aniket Chhabra" userId="598e0514-bef3-4e71-b6aa-f2edd6441cff" providerId="ADAL" clId="{43E39AE6-34EE-7C4D-B602-232FA08B7158}" dt="2022-10-20T14:26:01.588" v="106"/>
          <ac:inkMkLst>
            <pc:docMk/>
            <pc:sldMk cId="2691590533" sldId="286"/>
            <ac:inkMk id="36" creationId="{7BF691DD-89BD-DF45-63A5-D5AE3EBFECF3}"/>
          </ac:inkMkLst>
        </pc:inkChg>
        <pc:inkChg chg="add del mod">
          <ac:chgData name="Aniket Chhabra" userId="598e0514-bef3-4e71-b6aa-f2edd6441cff" providerId="ADAL" clId="{43E39AE6-34EE-7C4D-B602-232FA08B7158}" dt="2022-10-20T14:26:01.588" v="106"/>
          <ac:inkMkLst>
            <pc:docMk/>
            <pc:sldMk cId="2691590533" sldId="286"/>
            <ac:inkMk id="37" creationId="{987BEDEA-A935-BDB9-A14B-D61A97C72536}"/>
          </ac:inkMkLst>
        </pc:inkChg>
        <pc:inkChg chg="add mod">
          <ac:chgData name="Aniket Chhabra" userId="598e0514-bef3-4e71-b6aa-f2edd6441cff" providerId="ADAL" clId="{43E39AE6-34EE-7C4D-B602-232FA08B7158}" dt="2022-10-20T14:39:06.824" v="307"/>
          <ac:inkMkLst>
            <pc:docMk/>
            <pc:sldMk cId="2691590533" sldId="286"/>
            <ac:inkMk id="39" creationId="{FF7BEC06-01E9-DA27-5919-BD4D45E4CDC5}"/>
          </ac:inkMkLst>
        </pc:inkChg>
        <pc:inkChg chg="add mod">
          <ac:chgData name="Aniket Chhabra" userId="598e0514-bef3-4e71-b6aa-f2edd6441cff" providerId="ADAL" clId="{43E39AE6-34EE-7C4D-B602-232FA08B7158}" dt="2022-10-20T14:39:06.824" v="307"/>
          <ac:inkMkLst>
            <pc:docMk/>
            <pc:sldMk cId="2691590533" sldId="286"/>
            <ac:inkMk id="40" creationId="{F8013D09-3B7F-06BB-3580-73B1E625315E}"/>
          </ac:inkMkLst>
        </pc:inkChg>
        <pc:inkChg chg="add mod">
          <ac:chgData name="Aniket Chhabra" userId="598e0514-bef3-4e71-b6aa-f2edd6441cff" providerId="ADAL" clId="{43E39AE6-34EE-7C4D-B602-232FA08B7158}" dt="2022-10-20T14:39:06.824" v="307"/>
          <ac:inkMkLst>
            <pc:docMk/>
            <pc:sldMk cId="2691590533" sldId="286"/>
            <ac:inkMk id="42" creationId="{E06EF0F1-025D-5220-AB58-C38223782500}"/>
          </ac:inkMkLst>
        </pc:inkChg>
        <pc:inkChg chg="add del mod">
          <ac:chgData name="Aniket Chhabra" userId="598e0514-bef3-4e71-b6aa-f2edd6441cff" providerId="ADAL" clId="{43E39AE6-34EE-7C4D-B602-232FA08B7158}" dt="2022-10-20T14:39:06.824" v="307"/>
          <ac:inkMkLst>
            <pc:docMk/>
            <pc:sldMk cId="2691590533" sldId="286"/>
            <ac:inkMk id="43" creationId="{B7BC7EE3-DDE1-3B1B-38B9-6508C960FFCA}"/>
          </ac:inkMkLst>
        </pc:inkChg>
        <pc:inkChg chg="add">
          <ac:chgData name="Aniket Chhabra" userId="598e0514-bef3-4e71-b6aa-f2edd6441cff" providerId="ADAL" clId="{43E39AE6-34EE-7C4D-B602-232FA08B7158}" dt="2022-10-20T14:24:12.109" v="37" actId="9405"/>
          <ac:inkMkLst>
            <pc:docMk/>
            <pc:sldMk cId="2691590533" sldId="286"/>
            <ac:inkMk id="45" creationId="{163D65EC-8036-AB4E-F5FB-61843D2796AA}"/>
          </ac:inkMkLst>
        </pc:inkChg>
        <pc:inkChg chg="add mod">
          <ac:chgData name="Aniket Chhabra" userId="598e0514-bef3-4e71-b6aa-f2edd6441cff" providerId="ADAL" clId="{43E39AE6-34EE-7C4D-B602-232FA08B7158}" dt="2022-10-20T14:24:19.374" v="48"/>
          <ac:inkMkLst>
            <pc:docMk/>
            <pc:sldMk cId="2691590533" sldId="286"/>
            <ac:inkMk id="46" creationId="{15B177A7-ACF7-C440-3B88-0C7EC0321FC4}"/>
          </ac:inkMkLst>
        </pc:inkChg>
        <pc:inkChg chg="add mod">
          <ac:chgData name="Aniket Chhabra" userId="598e0514-bef3-4e71-b6aa-f2edd6441cff" providerId="ADAL" clId="{43E39AE6-34EE-7C4D-B602-232FA08B7158}" dt="2022-10-20T14:24:19.374" v="48"/>
          <ac:inkMkLst>
            <pc:docMk/>
            <pc:sldMk cId="2691590533" sldId="286"/>
            <ac:inkMk id="47" creationId="{77C9C31C-C664-13FF-26BF-0120CFF85B67}"/>
          </ac:inkMkLst>
        </pc:inkChg>
        <pc:inkChg chg="add mod">
          <ac:chgData name="Aniket Chhabra" userId="598e0514-bef3-4e71-b6aa-f2edd6441cff" providerId="ADAL" clId="{43E39AE6-34EE-7C4D-B602-232FA08B7158}" dt="2022-10-20T14:24:19.374" v="48"/>
          <ac:inkMkLst>
            <pc:docMk/>
            <pc:sldMk cId="2691590533" sldId="286"/>
            <ac:inkMk id="48" creationId="{73A5F622-22BA-76D5-6233-96B38DD089D4}"/>
          </ac:inkMkLst>
        </pc:inkChg>
        <pc:inkChg chg="add mod">
          <ac:chgData name="Aniket Chhabra" userId="598e0514-bef3-4e71-b6aa-f2edd6441cff" providerId="ADAL" clId="{43E39AE6-34EE-7C4D-B602-232FA08B7158}" dt="2022-10-20T14:24:19.374" v="48"/>
          <ac:inkMkLst>
            <pc:docMk/>
            <pc:sldMk cId="2691590533" sldId="286"/>
            <ac:inkMk id="49" creationId="{013B56A8-D60C-EFC8-6182-A81C98C359D7}"/>
          </ac:inkMkLst>
        </pc:inkChg>
        <pc:inkChg chg="add mod">
          <ac:chgData name="Aniket Chhabra" userId="598e0514-bef3-4e71-b6aa-f2edd6441cff" providerId="ADAL" clId="{43E39AE6-34EE-7C4D-B602-232FA08B7158}" dt="2022-10-20T14:24:19.374" v="48"/>
          <ac:inkMkLst>
            <pc:docMk/>
            <pc:sldMk cId="2691590533" sldId="286"/>
            <ac:inkMk id="50" creationId="{FB8D97A7-C46C-0D36-607F-1E15DA995BBF}"/>
          </ac:inkMkLst>
        </pc:inkChg>
        <pc:inkChg chg="add mod">
          <ac:chgData name="Aniket Chhabra" userId="598e0514-bef3-4e71-b6aa-f2edd6441cff" providerId="ADAL" clId="{43E39AE6-34EE-7C4D-B602-232FA08B7158}" dt="2022-10-20T14:24:19.374" v="48"/>
          <ac:inkMkLst>
            <pc:docMk/>
            <pc:sldMk cId="2691590533" sldId="286"/>
            <ac:inkMk id="51" creationId="{3FDB26B8-A893-2C11-F1C6-556AA180C383}"/>
          </ac:inkMkLst>
        </pc:inkChg>
        <pc:inkChg chg="add mod">
          <ac:chgData name="Aniket Chhabra" userId="598e0514-bef3-4e71-b6aa-f2edd6441cff" providerId="ADAL" clId="{43E39AE6-34EE-7C4D-B602-232FA08B7158}" dt="2022-10-20T14:24:19.374" v="48"/>
          <ac:inkMkLst>
            <pc:docMk/>
            <pc:sldMk cId="2691590533" sldId="286"/>
            <ac:inkMk id="52" creationId="{B62E23F6-6561-D275-346C-AE368D1F070D}"/>
          </ac:inkMkLst>
        </pc:inkChg>
        <pc:inkChg chg="del">
          <ac:chgData name="Aniket Chhabra" userId="598e0514-bef3-4e71-b6aa-f2edd6441cff" providerId="ADAL" clId="{43E39AE6-34EE-7C4D-B602-232FA08B7158}" dt="2022-10-20T14:39:12.279" v="330"/>
          <ac:inkMkLst>
            <pc:docMk/>
            <pc:sldMk cId="2691590533" sldId="286"/>
            <ac:inkMk id="53" creationId="{403AADBF-16AA-46E7-B7B5-C8AF65A24CB6}"/>
          </ac:inkMkLst>
        </pc:inkChg>
        <pc:inkChg chg="del">
          <ac:chgData name="Aniket Chhabra" userId="598e0514-bef3-4e71-b6aa-f2edd6441cff" providerId="ADAL" clId="{43E39AE6-34EE-7C4D-B602-232FA08B7158}" dt="2022-10-20T14:39:12.278" v="327"/>
          <ac:inkMkLst>
            <pc:docMk/>
            <pc:sldMk cId="2691590533" sldId="286"/>
            <ac:inkMk id="54" creationId="{475DB171-9D47-94CC-7908-AE7E5A94A847}"/>
          </ac:inkMkLst>
        </pc:inkChg>
        <pc:inkChg chg="add del">
          <ac:chgData name="Aniket Chhabra" userId="598e0514-bef3-4e71-b6aa-f2edd6441cff" providerId="ADAL" clId="{43E39AE6-34EE-7C4D-B602-232FA08B7158}" dt="2022-10-20T14:39:12.278" v="329"/>
          <ac:inkMkLst>
            <pc:docMk/>
            <pc:sldMk cId="2691590533" sldId="286"/>
            <ac:inkMk id="59" creationId="{17353E40-CC5F-3460-515E-75FA27A18387}"/>
          </ac:inkMkLst>
        </pc:inkChg>
        <pc:inkChg chg="add mod">
          <ac:chgData name="Aniket Chhabra" userId="598e0514-bef3-4e71-b6aa-f2edd6441cff" providerId="ADAL" clId="{43E39AE6-34EE-7C4D-B602-232FA08B7158}" dt="2022-10-20T14:24:19.374" v="48"/>
          <ac:inkMkLst>
            <pc:docMk/>
            <pc:sldMk cId="2691590533" sldId="286"/>
            <ac:inkMk id="60" creationId="{630102FD-D9D0-5DAE-B88C-9239D51266D2}"/>
          </ac:inkMkLst>
        </pc:inkChg>
        <pc:inkChg chg="add mod">
          <ac:chgData name="Aniket Chhabra" userId="598e0514-bef3-4e71-b6aa-f2edd6441cff" providerId="ADAL" clId="{43E39AE6-34EE-7C4D-B602-232FA08B7158}" dt="2022-10-20T14:24:19.374" v="48"/>
          <ac:inkMkLst>
            <pc:docMk/>
            <pc:sldMk cId="2691590533" sldId="286"/>
            <ac:inkMk id="61" creationId="{EA4D9447-4C31-CBA3-A1A6-88D9FB8590AC}"/>
          </ac:inkMkLst>
        </pc:inkChg>
        <pc:inkChg chg="add mod">
          <ac:chgData name="Aniket Chhabra" userId="598e0514-bef3-4e71-b6aa-f2edd6441cff" providerId="ADAL" clId="{43E39AE6-34EE-7C4D-B602-232FA08B7158}" dt="2022-10-20T14:24:19.374" v="48"/>
          <ac:inkMkLst>
            <pc:docMk/>
            <pc:sldMk cId="2691590533" sldId="286"/>
            <ac:inkMk id="62" creationId="{6757F261-0022-9EAB-8430-45009B0F2D36}"/>
          </ac:inkMkLst>
        </pc:inkChg>
        <pc:inkChg chg="add del mod">
          <ac:chgData name="Aniket Chhabra" userId="598e0514-bef3-4e71-b6aa-f2edd6441cff" providerId="ADAL" clId="{43E39AE6-34EE-7C4D-B602-232FA08B7158}" dt="2022-10-20T14:39:12.275" v="314"/>
          <ac:inkMkLst>
            <pc:docMk/>
            <pc:sldMk cId="2691590533" sldId="286"/>
            <ac:inkMk id="64" creationId="{9E7B3E65-2584-F167-D60D-DD24CBD4DB0B}"/>
          </ac:inkMkLst>
        </pc:inkChg>
        <pc:inkChg chg="add del mod">
          <ac:chgData name="Aniket Chhabra" userId="598e0514-bef3-4e71-b6aa-f2edd6441cff" providerId="ADAL" clId="{43E39AE6-34EE-7C4D-B602-232FA08B7158}" dt="2022-10-20T14:39:12.276" v="319"/>
          <ac:inkMkLst>
            <pc:docMk/>
            <pc:sldMk cId="2691590533" sldId="286"/>
            <ac:inkMk id="65" creationId="{268CEE96-DE0E-FA5A-217A-818CD88A1D1A}"/>
          </ac:inkMkLst>
        </pc:inkChg>
        <pc:inkChg chg="add del mod">
          <ac:chgData name="Aniket Chhabra" userId="598e0514-bef3-4e71-b6aa-f2edd6441cff" providerId="ADAL" clId="{43E39AE6-34EE-7C4D-B602-232FA08B7158}" dt="2022-10-20T14:39:12.278" v="328"/>
          <ac:inkMkLst>
            <pc:docMk/>
            <pc:sldMk cId="2691590533" sldId="286"/>
            <ac:inkMk id="66" creationId="{DF426EAF-1DBD-1987-3D21-BE3F27A3E184}"/>
          </ac:inkMkLst>
        </pc:inkChg>
        <pc:inkChg chg="add del mod">
          <ac:chgData name="Aniket Chhabra" userId="598e0514-bef3-4e71-b6aa-f2edd6441cff" providerId="ADAL" clId="{43E39AE6-34EE-7C4D-B602-232FA08B7158}" dt="2022-10-20T14:39:12.277" v="324"/>
          <ac:inkMkLst>
            <pc:docMk/>
            <pc:sldMk cId="2691590533" sldId="286"/>
            <ac:inkMk id="67" creationId="{6D41D426-69E0-BD43-D3B0-2BA67DDE3247}"/>
          </ac:inkMkLst>
        </pc:inkChg>
        <pc:inkChg chg="add del mod">
          <ac:chgData name="Aniket Chhabra" userId="598e0514-bef3-4e71-b6aa-f2edd6441cff" providerId="ADAL" clId="{43E39AE6-34EE-7C4D-B602-232FA08B7158}" dt="2022-10-20T14:39:12.273" v="308"/>
          <ac:inkMkLst>
            <pc:docMk/>
            <pc:sldMk cId="2691590533" sldId="286"/>
            <ac:inkMk id="68" creationId="{A6C447EE-8BF8-38A0-1E0C-E4A52CD3B724}"/>
          </ac:inkMkLst>
        </pc:inkChg>
        <pc:inkChg chg="add del mod">
          <ac:chgData name="Aniket Chhabra" userId="598e0514-bef3-4e71-b6aa-f2edd6441cff" providerId="ADAL" clId="{43E39AE6-34EE-7C4D-B602-232FA08B7158}" dt="2022-10-20T14:39:12.278" v="325"/>
          <ac:inkMkLst>
            <pc:docMk/>
            <pc:sldMk cId="2691590533" sldId="286"/>
            <ac:inkMk id="69" creationId="{72866E56-A9A6-DA48-1827-DFEBA8891700}"/>
          </ac:inkMkLst>
        </pc:inkChg>
        <pc:inkChg chg="add del mod">
          <ac:chgData name="Aniket Chhabra" userId="598e0514-bef3-4e71-b6aa-f2edd6441cff" providerId="ADAL" clId="{43E39AE6-34EE-7C4D-B602-232FA08B7158}" dt="2022-10-20T14:39:12.277" v="320"/>
          <ac:inkMkLst>
            <pc:docMk/>
            <pc:sldMk cId="2691590533" sldId="286"/>
            <ac:inkMk id="70" creationId="{4B52ED0E-83C7-5A68-8487-CADA805E1B0D}"/>
          </ac:inkMkLst>
        </pc:inkChg>
        <pc:inkChg chg="add del mod">
          <ac:chgData name="Aniket Chhabra" userId="598e0514-bef3-4e71-b6aa-f2edd6441cff" providerId="ADAL" clId="{43E39AE6-34EE-7C4D-B602-232FA08B7158}" dt="2022-10-20T14:39:12.274" v="310"/>
          <ac:inkMkLst>
            <pc:docMk/>
            <pc:sldMk cId="2691590533" sldId="286"/>
            <ac:inkMk id="71" creationId="{59E581A1-9472-7EAC-3EA5-AD29129CCE82}"/>
          </ac:inkMkLst>
        </pc:inkChg>
        <pc:inkChg chg="add del mod">
          <ac:chgData name="Aniket Chhabra" userId="598e0514-bef3-4e71-b6aa-f2edd6441cff" providerId="ADAL" clId="{43E39AE6-34EE-7C4D-B602-232FA08B7158}" dt="2022-10-20T14:39:12.276" v="317"/>
          <ac:inkMkLst>
            <pc:docMk/>
            <pc:sldMk cId="2691590533" sldId="286"/>
            <ac:inkMk id="72" creationId="{6B47F99F-3221-5ED1-5467-7162FF2F3EE7}"/>
          </ac:inkMkLst>
        </pc:inkChg>
        <pc:inkChg chg="add del mod">
          <ac:chgData name="Aniket Chhabra" userId="598e0514-bef3-4e71-b6aa-f2edd6441cff" providerId="ADAL" clId="{43E39AE6-34EE-7C4D-B602-232FA08B7158}" dt="2022-10-20T14:39:12.275" v="313"/>
          <ac:inkMkLst>
            <pc:docMk/>
            <pc:sldMk cId="2691590533" sldId="286"/>
            <ac:inkMk id="73" creationId="{4C1A05BD-7705-2B8F-0279-BE59676E46A1}"/>
          </ac:inkMkLst>
        </pc:inkChg>
        <pc:inkChg chg="add del mod">
          <ac:chgData name="Aniket Chhabra" userId="598e0514-bef3-4e71-b6aa-f2edd6441cff" providerId="ADAL" clId="{43E39AE6-34EE-7C4D-B602-232FA08B7158}" dt="2022-10-20T14:39:12.277" v="323"/>
          <ac:inkMkLst>
            <pc:docMk/>
            <pc:sldMk cId="2691590533" sldId="286"/>
            <ac:inkMk id="74" creationId="{09D661DF-58E8-5C3B-0F90-193484BAD405}"/>
          </ac:inkMkLst>
        </pc:inkChg>
        <pc:inkChg chg="add del mod">
          <ac:chgData name="Aniket Chhabra" userId="598e0514-bef3-4e71-b6aa-f2edd6441cff" providerId="ADAL" clId="{43E39AE6-34EE-7C4D-B602-232FA08B7158}" dt="2022-10-20T14:39:12.275" v="316"/>
          <ac:inkMkLst>
            <pc:docMk/>
            <pc:sldMk cId="2691590533" sldId="286"/>
            <ac:inkMk id="76" creationId="{DB647431-A2E4-7636-76BA-C12DF37A2591}"/>
          </ac:inkMkLst>
        </pc:inkChg>
        <pc:inkChg chg="add del mod">
          <ac:chgData name="Aniket Chhabra" userId="598e0514-bef3-4e71-b6aa-f2edd6441cff" providerId="ADAL" clId="{43E39AE6-34EE-7C4D-B602-232FA08B7158}" dt="2022-10-20T14:39:12.278" v="326"/>
          <ac:inkMkLst>
            <pc:docMk/>
            <pc:sldMk cId="2691590533" sldId="286"/>
            <ac:inkMk id="78" creationId="{904F4D80-8622-3BD8-4530-E8DA31983C49}"/>
          </ac:inkMkLst>
        </pc:inkChg>
        <pc:inkChg chg="add del mod">
          <ac:chgData name="Aniket Chhabra" userId="598e0514-bef3-4e71-b6aa-f2edd6441cff" providerId="ADAL" clId="{43E39AE6-34EE-7C4D-B602-232FA08B7158}" dt="2022-10-20T14:39:12.277" v="322"/>
          <ac:inkMkLst>
            <pc:docMk/>
            <pc:sldMk cId="2691590533" sldId="286"/>
            <ac:inkMk id="79" creationId="{FB08AF04-3C46-E31D-191A-EB538006A685}"/>
          </ac:inkMkLst>
        </pc:inkChg>
        <pc:inkChg chg="add del mod">
          <ac:chgData name="Aniket Chhabra" userId="598e0514-bef3-4e71-b6aa-f2edd6441cff" providerId="ADAL" clId="{43E39AE6-34EE-7C4D-B602-232FA08B7158}" dt="2022-10-20T14:39:12.274" v="311"/>
          <ac:inkMkLst>
            <pc:docMk/>
            <pc:sldMk cId="2691590533" sldId="286"/>
            <ac:inkMk id="81" creationId="{28BAD1C7-5CFE-BD14-A039-BF8467F90173}"/>
          </ac:inkMkLst>
        </pc:inkChg>
        <pc:inkChg chg="add del mod">
          <ac:chgData name="Aniket Chhabra" userId="598e0514-bef3-4e71-b6aa-f2edd6441cff" providerId="ADAL" clId="{43E39AE6-34EE-7C4D-B602-232FA08B7158}" dt="2022-10-20T14:39:12.275" v="315"/>
          <ac:inkMkLst>
            <pc:docMk/>
            <pc:sldMk cId="2691590533" sldId="286"/>
            <ac:inkMk id="82" creationId="{96DA1456-D761-F7C3-B8B8-07EFFDBDCA93}"/>
          </ac:inkMkLst>
        </pc:inkChg>
        <pc:inkChg chg="add del mod">
          <ac:chgData name="Aniket Chhabra" userId="598e0514-bef3-4e71-b6aa-f2edd6441cff" providerId="ADAL" clId="{43E39AE6-34EE-7C4D-B602-232FA08B7158}" dt="2022-10-20T14:39:12.274" v="312"/>
          <ac:inkMkLst>
            <pc:docMk/>
            <pc:sldMk cId="2691590533" sldId="286"/>
            <ac:inkMk id="83" creationId="{4233C140-FA9E-79F8-4243-EA5B4BA9EE9E}"/>
          </ac:inkMkLst>
        </pc:inkChg>
        <pc:inkChg chg="add mod">
          <ac:chgData name="Aniket Chhabra" userId="598e0514-bef3-4e71-b6aa-f2edd6441cff" providerId="ADAL" clId="{43E39AE6-34EE-7C4D-B602-232FA08B7158}" dt="2022-10-20T14:26:01.588" v="106"/>
          <ac:inkMkLst>
            <pc:docMk/>
            <pc:sldMk cId="2691590533" sldId="286"/>
            <ac:inkMk id="85" creationId="{7C1EF4B3-EA0D-0AD3-8DA5-119A6D992B2B}"/>
          </ac:inkMkLst>
        </pc:inkChg>
        <pc:inkChg chg="add mod">
          <ac:chgData name="Aniket Chhabra" userId="598e0514-bef3-4e71-b6aa-f2edd6441cff" providerId="ADAL" clId="{43E39AE6-34EE-7C4D-B602-232FA08B7158}" dt="2022-10-20T14:26:01.588" v="106"/>
          <ac:inkMkLst>
            <pc:docMk/>
            <pc:sldMk cId="2691590533" sldId="286"/>
            <ac:inkMk id="86" creationId="{43E8612E-BABD-A9C6-98E8-864DC163C456}"/>
          </ac:inkMkLst>
        </pc:inkChg>
        <pc:inkChg chg="add mod">
          <ac:chgData name="Aniket Chhabra" userId="598e0514-bef3-4e71-b6aa-f2edd6441cff" providerId="ADAL" clId="{43E39AE6-34EE-7C4D-B602-232FA08B7158}" dt="2022-10-20T14:39:06.824" v="307"/>
          <ac:inkMkLst>
            <pc:docMk/>
            <pc:sldMk cId="2691590533" sldId="286"/>
            <ac:inkMk id="88" creationId="{87160D41-E198-0B05-3FD2-2C6DEEEB5365}"/>
          </ac:inkMkLst>
        </pc:inkChg>
        <pc:inkChg chg="add mod">
          <ac:chgData name="Aniket Chhabra" userId="598e0514-bef3-4e71-b6aa-f2edd6441cff" providerId="ADAL" clId="{43E39AE6-34EE-7C4D-B602-232FA08B7158}" dt="2022-10-20T14:39:06.824" v="307"/>
          <ac:inkMkLst>
            <pc:docMk/>
            <pc:sldMk cId="2691590533" sldId="286"/>
            <ac:inkMk id="90" creationId="{D02DF60A-0C08-A98C-A2A0-C07B9226B750}"/>
          </ac:inkMkLst>
        </pc:inkChg>
        <pc:inkChg chg="add mod">
          <ac:chgData name="Aniket Chhabra" userId="598e0514-bef3-4e71-b6aa-f2edd6441cff" providerId="ADAL" clId="{43E39AE6-34EE-7C4D-B602-232FA08B7158}" dt="2022-10-20T14:39:06.824" v="307"/>
          <ac:inkMkLst>
            <pc:docMk/>
            <pc:sldMk cId="2691590533" sldId="286"/>
            <ac:inkMk id="92" creationId="{ACCEB843-BD5E-C6E7-D2A6-D628E3CC1B62}"/>
          </ac:inkMkLst>
        </pc:inkChg>
        <pc:inkChg chg="add">
          <ac:chgData name="Aniket Chhabra" userId="598e0514-bef3-4e71-b6aa-f2edd6441cff" providerId="ADAL" clId="{43E39AE6-34EE-7C4D-B602-232FA08B7158}" dt="2022-10-20T14:28:02.334" v="219" actId="9405"/>
          <ac:inkMkLst>
            <pc:docMk/>
            <pc:sldMk cId="2691590533" sldId="286"/>
            <ac:inkMk id="94" creationId="{C9B1B891-D8E8-C7E7-C538-8D3D3CF4DEE7}"/>
          </ac:inkMkLst>
        </pc:inkChg>
        <pc:inkChg chg="add">
          <ac:chgData name="Aniket Chhabra" userId="598e0514-bef3-4e71-b6aa-f2edd6441cff" providerId="ADAL" clId="{43E39AE6-34EE-7C4D-B602-232FA08B7158}" dt="2022-10-20T14:28:04.527" v="220" actId="9405"/>
          <ac:inkMkLst>
            <pc:docMk/>
            <pc:sldMk cId="2691590533" sldId="286"/>
            <ac:inkMk id="95" creationId="{B5A953B3-7278-27A8-D9C7-4134765749DB}"/>
          </ac:inkMkLst>
        </pc:inkChg>
        <pc:inkChg chg="add">
          <ac:chgData name="Aniket Chhabra" userId="598e0514-bef3-4e71-b6aa-f2edd6441cff" providerId="ADAL" clId="{43E39AE6-34EE-7C4D-B602-232FA08B7158}" dt="2022-10-20T14:28:05.630" v="221" actId="9405"/>
          <ac:inkMkLst>
            <pc:docMk/>
            <pc:sldMk cId="2691590533" sldId="286"/>
            <ac:inkMk id="96" creationId="{5D631112-5129-1772-D17B-4A4EA1F8FD47}"/>
          </ac:inkMkLst>
        </pc:inkChg>
        <pc:inkChg chg="add mod">
          <ac:chgData name="Aniket Chhabra" userId="598e0514-bef3-4e71-b6aa-f2edd6441cff" providerId="ADAL" clId="{43E39AE6-34EE-7C4D-B602-232FA08B7158}" dt="2022-10-20T14:28:17.172" v="237"/>
          <ac:inkMkLst>
            <pc:docMk/>
            <pc:sldMk cId="2691590533" sldId="286"/>
            <ac:inkMk id="97" creationId="{AA015C1D-3056-6C37-DD42-4D772B1F0661}"/>
          </ac:inkMkLst>
        </pc:inkChg>
        <pc:inkChg chg="add mod">
          <ac:chgData name="Aniket Chhabra" userId="598e0514-bef3-4e71-b6aa-f2edd6441cff" providerId="ADAL" clId="{43E39AE6-34EE-7C4D-B602-232FA08B7158}" dt="2022-10-20T14:28:17.172" v="237"/>
          <ac:inkMkLst>
            <pc:docMk/>
            <pc:sldMk cId="2691590533" sldId="286"/>
            <ac:inkMk id="98" creationId="{B4530E7A-67F7-F052-2BE9-D2C7027CB7F0}"/>
          </ac:inkMkLst>
        </pc:inkChg>
        <pc:inkChg chg="add mod">
          <ac:chgData name="Aniket Chhabra" userId="598e0514-bef3-4e71-b6aa-f2edd6441cff" providerId="ADAL" clId="{43E39AE6-34EE-7C4D-B602-232FA08B7158}" dt="2022-10-20T14:28:17.172" v="237"/>
          <ac:inkMkLst>
            <pc:docMk/>
            <pc:sldMk cId="2691590533" sldId="286"/>
            <ac:inkMk id="99" creationId="{F0CD67CE-D810-84FC-664B-AE200A18E998}"/>
          </ac:inkMkLst>
        </pc:inkChg>
        <pc:inkChg chg="add mod">
          <ac:chgData name="Aniket Chhabra" userId="598e0514-bef3-4e71-b6aa-f2edd6441cff" providerId="ADAL" clId="{43E39AE6-34EE-7C4D-B602-232FA08B7158}" dt="2022-10-20T14:28:17.172" v="237"/>
          <ac:inkMkLst>
            <pc:docMk/>
            <pc:sldMk cId="2691590533" sldId="286"/>
            <ac:inkMk id="101" creationId="{19A2129E-D06D-A04F-7822-518EDC9F9436}"/>
          </ac:inkMkLst>
        </pc:inkChg>
        <pc:inkChg chg="add mod">
          <ac:chgData name="Aniket Chhabra" userId="598e0514-bef3-4e71-b6aa-f2edd6441cff" providerId="ADAL" clId="{43E39AE6-34EE-7C4D-B602-232FA08B7158}" dt="2022-10-20T14:28:17.172" v="237"/>
          <ac:inkMkLst>
            <pc:docMk/>
            <pc:sldMk cId="2691590533" sldId="286"/>
            <ac:inkMk id="102" creationId="{1254FD68-EE5A-FE42-4FC2-89D010081505}"/>
          </ac:inkMkLst>
        </pc:inkChg>
        <pc:inkChg chg="add mod">
          <ac:chgData name="Aniket Chhabra" userId="598e0514-bef3-4e71-b6aa-f2edd6441cff" providerId="ADAL" clId="{43E39AE6-34EE-7C4D-B602-232FA08B7158}" dt="2022-10-20T14:28:17.172" v="237"/>
          <ac:inkMkLst>
            <pc:docMk/>
            <pc:sldMk cId="2691590533" sldId="286"/>
            <ac:inkMk id="103" creationId="{73B1A8D3-B311-61D1-A51B-444B273782D3}"/>
          </ac:inkMkLst>
        </pc:inkChg>
        <pc:inkChg chg="add mod">
          <ac:chgData name="Aniket Chhabra" userId="598e0514-bef3-4e71-b6aa-f2edd6441cff" providerId="ADAL" clId="{43E39AE6-34EE-7C4D-B602-232FA08B7158}" dt="2022-10-20T14:28:17.172" v="237"/>
          <ac:inkMkLst>
            <pc:docMk/>
            <pc:sldMk cId="2691590533" sldId="286"/>
            <ac:inkMk id="104" creationId="{78B5605A-FB5E-6D94-2299-94B542BA19D7}"/>
          </ac:inkMkLst>
        </pc:inkChg>
        <pc:inkChg chg="add mod">
          <ac:chgData name="Aniket Chhabra" userId="598e0514-bef3-4e71-b6aa-f2edd6441cff" providerId="ADAL" clId="{43E39AE6-34EE-7C4D-B602-232FA08B7158}" dt="2022-10-20T14:28:17.172" v="237"/>
          <ac:inkMkLst>
            <pc:docMk/>
            <pc:sldMk cId="2691590533" sldId="286"/>
            <ac:inkMk id="105" creationId="{13AA6C00-0543-9908-8FC1-21D80EFA4ABF}"/>
          </ac:inkMkLst>
        </pc:inkChg>
        <pc:inkChg chg="add mod">
          <ac:chgData name="Aniket Chhabra" userId="598e0514-bef3-4e71-b6aa-f2edd6441cff" providerId="ADAL" clId="{43E39AE6-34EE-7C4D-B602-232FA08B7158}" dt="2022-10-20T14:28:17.172" v="237"/>
          <ac:inkMkLst>
            <pc:docMk/>
            <pc:sldMk cId="2691590533" sldId="286"/>
            <ac:inkMk id="106" creationId="{3332A2E0-8AD9-BD86-6936-8CC480C6ABF3}"/>
          </ac:inkMkLst>
        </pc:inkChg>
        <pc:inkChg chg="add mod">
          <ac:chgData name="Aniket Chhabra" userId="598e0514-bef3-4e71-b6aa-f2edd6441cff" providerId="ADAL" clId="{43E39AE6-34EE-7C4D-B602-232FA08B7158}" dt="2022-10-20T14:28:17.172" v="237"/>
          <ac:inkMkLst>
            <pc:docMk/>
            <pc:sldMk cId="2691590533" sldId="286"/>
            <ac:inkMk id="107" creationId="{6078144C-6622-3028-47DB-A32010C65570}"/>
          </ac:inkMkLst>
        </pc:inkChg>
        <pc:inkChg chg="add mod">
          <ac:chgData name="Aniket Chhabra" userId="598e0514-bef3-4e71-b6aa-f2edd6441cff" providerId="ADAL" clId="{43E39AE6-34EE-7C4D-B602-232FA08B7158}" dt="2022-10-20T14:28:17.172" v="237"/>
          <ac:inkMkLst>
            <pc:docMk/>
            <pc:sldMk cId="2691590533" sldId="286"/>
            <ac:inkMk id="108" creationId="{71819451-612F-3C6D-C31D-F56BD293A316}"/>
          </ac:inkMkLst>
        </pc:inkChg>
        <pc:inkChg chg="add mod">
          <ac:chgData name="Aniket Chhabra" userId="598e0514-bef3-4e71-b6aa-f2edd6441cff" providerId="ADAL" clId="{43E39AE6-34EE-7C4D-B602-232FA08B7158}" dt="2022-10-20T14:28:17.172" v="237"/>
          <ac:inkMkLst>
            <pc:docMk/>
            <pc:sldMk cId="2691590533" sldId="286"/>
            <ac:inkMk id="110" creationId="{5E13A3AE-10C3-C089-3799-11F680B611F4}"/>
          </ac:inkMkLst>
        </pc:inkChg>
        <pc:inkChg chg="add mod">
          <ac:chgData name="Aniket Chhabra" userId="598e0514-bef3-4e71-b6aa-f2edd6441cff" providerId="ADAL" clId="{43E39AE6-34EE-7C4D-B602-232FA08B7158}" dt="2022-10-20T14:28:17.172" v="237"/>
          <ac:inkMkLst>
            <pc:docMk/>
            <pc:sldMk cId="2691590533" sldId="286"/>
            <ac:inkMk id="111" creationId="{2B856E1C-7201-8157-873F-634439CB0363}"/>
          </ac:inkMkLst>
        </pc:inkChg>
        <pc:inkChg chg="add mod">
          <ac:chgData name="Aniket Chhabra" userId="598e0514-bef3-4e71-b6aa-f2edd6441cff" providerId="ADAL" clId="{43E39AE6-34EE-7C4D-B602-232FA08B7158}" dt="2022-10-20T14:28:24.911" v="251"/>
          <ac:inkMkLst>
            <pc:docMk/>
            <pc:sldMk cId="2691590533" sldId="286"/>
            <ac:inkMk id="113" creationId="{0AEF008F-4F5F-A6CA-4E84-88A28E44FCEF}"/>
          </ac:inkMkLst>
        </pc:inkChg>
        <pc:inkChg chg="add mod">
          <ac:chgData name="Aniket Chhabra" userId="598e0514-bef3-4e71-b6aa-f2edd6441cff" providerId="ADAL" clId="{43E39AE6-34EE-7C4D-B602-232FA08B7158}" dt="2022-10-20T14:28:24.911" v="251"/>
          <ac:inkMkLst>
            <pc:docMk/>
            <pc:sldMk cId="2691590533" sldId="286"/>
            <ac:inkMk id="114" creationId="{4F2FAFD0-6CDC-2BA9-CD45-28D1FF46297F}"/>
          </ac:inkMkLst>
        </pc:inkChg>
        <pc:inkChg chg="add mod">
          <ac:chgData name="Aniket Chhabra" userId="598e0514-bef3-4e71-b6aa-f2edd6441cff" providerId="ADAL" clId="{43E39AE6-34EE-7C4D-B602-232FA08B7158}" dt="2022-10-20T14:28:24.911" v="251"/>
          <ac:inkMkLst>
            <pc:docMk/>
            <pc:sldMk cId="2691590533" sldId="286"/>
            <ac:inkMk id="115" creationId="{428A67C3-F1C6-198E-E616-57B27B81DCD4}"/>
          </ac:inkMkLst>
        </pc:inkChg>
        <pc:inkChg chg="add mod">
          <ac:chgData name="Aniket Chhabra" userId="598e0514-bef3-4e71-b6aa-f2edd6441cff" providerId="ADAL" clId="{43E39AE6-34EE-7C4D-B602-232FA08B7158}" dt="2022-10-20T14:28:24.911" v="251"/>
          <ac:inkMkLst>
            <pc:docMk/>
            <pc:sldMk cId="2691590533" sldId="286"/>
            <ac:inkMk id="116" creationId="{14B42172-551F-236E-84B9-BB469AB4AE60}"/>
          </ac:inkMkLst>
        </pc:inkChg>
        <pc:inkChg chg="add mod">
          <ac:chgData name="Aniket Chhabra" userId="598e0514-bef3-4e71-b6aa-f2edd6441cff" providerId="ADAL" clId="{43E39AE6-34EE-7C4D-B602-232FA08B7158}" dt="2022-10-20T14:28:24.911" v="251"/>
          <ac:inkMkLst>
            <pc:docMk/>
            <pc:sldMk cId="2691590533" sldId="286"/>
            <ac:inkMk id="117" creationId="{F65084F7-5C1F-A75F-E073-AFB0C38841BD}"/>
          </ac:inkMkLst>
        </pc:inkChg>
        <pc:inkChg chg="add mod">
          <ac:chgData name="Aniket Chhabra" userId="598e0514-bef3-4e71-b6aa-f2edd6441cff" providerId="ADAL" clId="{43E39AE6-34EE-7C4D-B602-232FA08B7158}" dt="2022-10-20T14:28:24.911" v="251"/>
          <ac:inkMkLst>
            <pc:docMk/>
            <pc:sldMk cId="2691590533" sldId="286"/>
            <ac:inkMk id="118" creationId="{382AF538-C332-E045-0614-BB341E1BC0FB}"/>
          </ac:inkMkLst>
        </pc:inkChg>
        <pc:inkChg chg="add mod">
          <ac:chgData name="Aniket Chhabra" userId="598e0514-bef3-4e71-b6aa-f2edd6441cff" providerId="ADAL" clId="{43E39AE6-34EE-7C4D-B602-232FA08B7158}" dt="2022-10-20T14:28:24.911" v="251"/>
          <ac:inkMkLst>
            <pc:docMk/>
            <pc:sldMk cId="2691590533" sldId="286"/>
            <ac:inkMk id="119" creationId="{0DE53FB6-437A-5D57-FB3B-EDB15452A0FC}"/>
          </ac:inkMkLst>
        </pc:inkChg>
        <pc:inkChg chg="add mod">
          <ac:chgData name="Aniket Chhabra" userId="598e0514-bef3-4e71-b6aa-f2edd6441cff" providerId="ADAL" clId="{43E39AE6-34EE-7C4D-B602-232FA08B7158}" dt="2022-10-20T14:28:24.911" v="251"/>
          <ac:inkMkLst>
            <pc:docMk/>
            <pc:sldMk cId="2691590533" sldId="286"/>
            <ac:inkMk id="120" creationId="{D23BCEFB-BABF-38DB-7648-C08E33F80FE6}"/>
          </ac:inkMkLst>
        </pc:inkChg>
        <pc:inkChg chg="add mod">
          <ac:chgData name="Aniket Chhabra" userId="598e0514-bef3-4e71-b6aa-f2edd6441cff" providerId="ADAL" clId="{43E39AE6-34EE-7C4D-B602-232FA08B7158}" dt="2022-10-20T14:28:24.911" v="251"/>
          <ac:inkMkLst>
            <pc:docMk/>
            <pc:sldMk cId="2691590533" sldId="286"/>
            <ac:inkMk id="121" creationId="{2F69A4A9-596D-6FF0-B4E8-00420F052EF4}"/>
          </ac:inkMkLst>
        </pc:inkChg>
        <pc:inkChg chg="add mod">
          <ac:chgData name="Aniket Chhabra" userId="598e0514-bef3-4e71-b6aa-f2edd6441cff" providerId="ADAL" clId="{43E39AE6-34EE-7C4D-B602-232FA08B7158}" dt="2022-10-20T14:28:24.911" v="251"/>
          <ac:inkMkLst>
            <pc:docMk/>
            <pc:sldMk cId="2691590533" sldId="286"/>
            <ac:inkMk id="122" creationId="{01C0DB0C-E2D8-4192-0B20-5C22A952A238}"/>
          </ac:inkMkLst>
        </pc:inkChg>
        <pc:inkChg chg="add mod">
          <ac:chgData name="Aniket Chhabra" userId="598e0514-bef3-4e71-b6aa-f2edd6441cff" providerId="ADAL" clId="{43E39AE6-34EE-7C4D-B602-232FA08B7158}" dt="2022-10-20T14:28:24.911" v="251"/>
          <ac:inkMkLst>
            <pc:docMk/>
            <pc:sldMk cId="2691590533" sldId="286"/>
            <ac:inkMk id="123" creationId="{1DAD4C64-2AE4-60F3-2438-2F3D579F327D}"/>
          </ac:inkMkLst>
        </pc:inkChg>
        <pc:inkChg chg="add mod">
          <ac:chgData name="Aniket Chhabra" userId="598e0514-bef3-4e71-b6aa-f2edd6441cff" providerId="ADAL" clId="{43E39AE6-34EE-7C4D-B602-232FA08B7158}" dt="2022-10-20T14:39:12.278" v="328"/>
          <ac:inkMkLst>
            <pc:docMk/>
            <pc:sldMk cId="2691590533" sldId="286"/>
            <ac:inkMk id="124" creationId="{49BBA496-CED6-A273-0209-847636971F60}"/>
          </ac:inkMkLst>
        </pc:inkChg>
        <pc:inkChg chg="add del mod">
          <ac:chgData name="Aniket Chhabra" userId="598e0514-bef3-4e71-b6aa-f2edd6441cff" providerId="ADAL" clId="{43E39AE6-34EE-7C4D-B602-232FA08B7158}" dt="2022-10-20T14:39:12.274" v="309"/>
          <ac:inkMkLst>
            <pc:docMk/>
            <pc:sldMk cId="2691590533" sldId="286"/>
            <ac:inkMk id="125" creationId="{5554EF99-E2E9-3908-E0E1-B4351F43F628}"/>
          </ac:inkMkLst>
        </pc:inkChg>
        <pc:inkChg chg="add mod">
          <ac:chgData name="Aniket Chhabra" userId="598e0514-bef3-4e71-b6aa-f2edd6441cff" providerId="ADAL" clId="{43E39AE6-34EE-7C4D-B602-232FA08B7158}" dt="2022-10-20T14:39:06.824" v="307"/>
          <ac:inkMkLst>
            <pc:docMk/>
            <pc:sldMk cId="2691590533" sldId="286"/>
            <ac:inkMk id="129" creationId="{900F6471-811E-9CB8-2FE7-0081879D9E93}"/>
          </ac:inkMkLst>
        </pc:inkChg>
        <pc:inkChg chg="add mod">
          <ac:chgData name="Aniket Chhabra" userId="598e0514-bef3-4e71-b6aa-f2edd6441cff" providerId="ADAL" clId="{43E39AE6-34EE-7C4D-B602-232FA08B7158}" dt="2022-10-20T14:39:06.824" v="307"/>
          <ac:inkMkLst>
            <pc:docMk/>
            <pc:sldMk cId="2691590533" sldId="286"/>
            <ac:inkMk id="130" creationId="{9BC85B15-7DC8-7263-0DB5-F024737A046B}"/>
          </ac:inkMkLst>
        </pc:inkChg>
        <pc:inkChg chg="add mod">
          <ac:chgData name="Aniket Chhabra" userId="598e0514-bef3-4e71-b6aa-f2edd6441cff" providerId="ADAL" clId="{43E39AE6-34EE-7C4D-B602-232FA08B7158}" dt="2022-10-20T14:37:04.639" v="284"/>
          <ac:inkMkLst>
            <pc:docMk/>
            <pc:sldMk cId="2691590533" sldId="286"/>
            <ac:inkMk id="132" creationId="{E693F2A9-9649-1F3B-53F8-B9709B47D809}"/>
          </ac:inkMkLst>
        </pc:inkChg>
        <pc:inkChg chg="add mod">
          <ac:chgData name="Aniket Chhabra" userId="598e0514-bef3-4e71-b6aa-f2edd6441cff" providerId="ADAL" clId="{43E39AE6-34EE-7C4D-B602-232FA08B7158}" dt="2022-10-20T14:37:04.639" v="284"/>
          <ac:inkMkLst>
            <pc:docMk/>
            <pc:sldMk cId="2691590533" sldId="286"/>
            <ac:inkMk id="133" creationId="{3FE4B9FF-7D90-6551-770A-B4286D78FB36}"/>
          </ac:inkMkLst>
        </pc:inkChg>
        <pc:inkChg chg="add mod">
          <ac:chgData name="Aniket Chhabra" userId="598e0514-bef3-4e71-b6aa-f2edd6441cff" providerId="ADAL" clId="{43E39AE6-34EE-7C4D-B602-232FA08B7158}" dt="2022-10-20T14:37:04.639" v="284"/>
          <ac:inkMkLst>
            <pc:docMk/>
            <pc:sldMk cId="2691590533" sldId="286"/>
            <ac:inkMk id="134" creationId="{B8E2218E-4068-C8B1-5C30-F3DC82B4A29F}"/>
          </ac:inkMkLst>
        </pc:inkChg>
        <pc:inkChg chg="add mod">
          <ac:chgData name="Aniket Chhabra" userId="598e0514-bef3-4e71-b6aa-f2edd6441cff" providerId="ADAL" clId="{43E39AE6-34EE-7C4D-B602-232FA08B7158}" dt="2022-10-20T14:37:04.639" v="284"/>
          <ac:inkMkLst>
            <pc:docMk/>
            <pc:sldMk cId="2691590533" sldId="286"/>
            <ac:inkMk id="135" creationId="{75CB0E8B-AFD1-EEAE-F91D-26E9BB0B8178}"/>
          </ac:inkMkLst>
        </pc:inkChg>
        <pc:inkChg chg="add mod">
          <ac:chgData name="Aniket Chhabra" userId="598e0514-bef3-4e71-b6aa-f2edd6441cff" providerId="ADAL" clId="{43E39AE6-34EE-7C4D-B602-232FA08B7158}" dt="2022-10-20T14:37:04.639" v="284"/>
          <ac:inkMkLst>
            <pc:docMk/>
            <pc:sldMk cId="2691590533" sldId="286"/>
            <ac:inkMk id="136" creationId="{D8A3B3EB-2A64-7318-9C74-0368E33DCCE5}"/>
          </ac:inkMkLst>
        </pc:inkChg>
        <pc:inkChg chg="add mod">
          <ac:chgData name="Aniket Chhabra" userId="598e0514-bef3-4e71-b6aa-f2edd6441cff" providerId="ADAL" clId="{43E39AE6-34EE-7C4D-B602-232FA08B7158}" dt="2022-10-20T14:37:04.639" v="284"/>
          <ac:inkMkLst>
            <pc:docMk/>
            <pc:sldMk cId="2691590533" sldId="286"/>
            <ac:inkMk id="137" creationId="{7F9FB68C-0F90-736C-26F6-B7066004FFBC}"/>
          </ac:inkMkLst>
        </pc:inkChg>
        <pc:inkChg chg="add mod">
          <ac:chgData name="Aniket Chhabra" userId="598e0514-bef3-4e71-b6aa-f2edd6441cff" providerId="ADAL" clId="{43E39AE6-34EE-7C4D-B602-232FA08B7158}" dt="2022-10-20T14:37:04.639" v="284"/>
          <ac:inkMkLst>
            <pc:docMk/>
            <pc:sldMk cId="2691590533" sldId="286"/>
            <ac:inkMk id="138" creationId="{ED0F79E6-2C05-8813-C7D2-FD30DAF86765}"/>
          </ac:inkMkLst>
        </pc:inkChg>
        <pc:inkChg chg="add mod">
          <ac:chgData name="Aniket Chhabra" userId="598e0514-bef3-4e71-b6aa-f2edd6441cff" providerId="ADAL" clId="{43E39AE6-34EE-7C4D-B602-232FA08B7158}" dt="2022-10-20T14:37:04.639" v="284"/>
          <ac:inkMkLst>
            <pc:docMk/>
            <pc:sldMk cId="2691590533" sldId="286"/>
            <ac:inkMk id="139" creationId="{4A77EB0B-293F-C1D1-B3B6-B4AB83E5BCAA}"/>
          </ac:inkMkLst>
        </pc:inkChg>
        <pc:inkChg chg="add mod">
          <ac:chgData name="Aniket Chhabra" userId="598e0514-bef3-4e71-b6aa-f2edd6441cff" providerId="ADAL" clId="{43E39AE6-34EE-7C4D-B602-232FA08B7158}" dt="2022-10-20T14:37:04.639" v="284"/>
          <ac:inkMkLst>
            <pc:docMk/>
            <pc:sldMk cId="2691590533" sldId="286"/>
            <ac:inkMk id="141" creationId="{61378FD8-974C-6734-BAE7-92A3F5B74380}"/>
          </ac:inkMkLst>
        </pc:inkChg>
        <pc:inkChg chg="add mod">
          <ac:chgData name="Aniket Chhabra" userId="598e0514-bef3-4e71-b6aa-f2edd6441cff" providerId="ADAL" clId="{43E39AE6-34EE-7C4D-B602-232FA08B7158}" dt="2022-10-20T14:37:04.639" v="284"/>
          <ac:inkMkLst>
            <pc:docMk/>
            <pc:sldMk cId="2691590533" sldId="286"/>
            <ac:inkMk id="143" creationId="{A75490C1-7243-7A86-4E0B-E3089DEF150D}"/>
          </ac:inkMkLst>
        </pc:inkChg>
        <pc:inkChg chg="add mod">
          <ac:chgData name="Aniket Chhabra" userId="598e0514-bef3-4e71-b6aa-f2edd6441cff" providerId="ADAL" clId="{43E39AE6-34EE-7C4D-B602-232FA08B7158}" dt="2022-10-20T14:37:04.639" v="284"/>
          <ac:inkMkLst>
            <pc:docMk/>
            <pc:sldMk cId="2691590533" sldId="286"/>
            <ac:inkMk id="144" creationId="{74823F33-82AB-2119-0CF7-F20878BF6FBA}"/>
          </ac:inkMkLst>
        </pc:inkChg>
        <pc:inkChg chg="add mod">
          <ac:chgData name="Aniket Chhabra" userId="598e0514-bef3-4e71-b6aa-f2edd6441cff" providerId="ADAL" clId="{43E39AE6-34EE-7C4D-B602-232FA08B7158}" dt="2022-10-20T14:37:09.798" v="296"/>
          <ac:inkMkLst>
            <pc:docMk/>
            <pc:sldMk cId="2691590533" sldId="286"/>
            <ac:inkMk id="145" creationId="{44887A43-A1E0-FF1A-3A1F-0F0FC9359E96}"/>
          </ac:inkMkLst>
        </pc:inkChg>
        <pc:inkChg chg="add mod">
          <ac:chgData name="Aniket Chhabra" userId="598e0514-bef3-4e71-b6aa-f2edd6441cff" providerId="ADAL" clId="{43E39AE6-34EE-7C4D-B602-232FA08B7158}" dt="2022-10-20T14:37:09.798" v="296"/>
          <ac:inkMkLst>
            <pc:docMk/>
            <pc:sldMk cId="2691590533" sldId="286"/>
            <ac:inkMk id="146" creationId="{516BD209-445D-C5B6-8E84-58BC28C15DD7}"/>
          </ac:inkMkLst>
        </pc:inkChg>
        <pc:inkChg chg="add mod">
          <ac:chgData name="Aniket Chhabra" userId="598e0514-bef3-4e71-b6aa-f2edd6441cff" providerId="ADAL" clId="{43E39AE6-34EE-7C4D-B602-232FA08B7158}" dt="2022-10-20T14:37:09.798" v="296"/>
          <ac:inkMkLst>
            <pc:docMk/>
            <pc:sldMk cId="2691590533" sldId="286"/>
            <ac:inkMk id="147" creationId="{5440DA3E-5653-0650-E801-54AD9D7465DA}"/>
          </ac:inkMkLst>
        </pc:inkChg>
        <pc:inkChg chg="add mod">
          <ac:chgData name="Aniket Chhabra" userId="598e0514-bef3-4e71-b6aa-f2edd6441cff" providerId="ADAL" clId="{43E39AE6-34EE-7C4D-B602-232FA08B7158}" dt="2022-10-20T14:37:09.798" v="296"/>
          <ac:inkMkLst>
            <pc:docMk/>
            <pc:sldMk cId="2691590533" sldId="286"/>
            <ac:inkMk id="148" creationId="{F2D92E4B-9A36-1C32-3A92-601A9D89486C}"/>
          </ac:inkMkLst>
        </pc:inkChg>
        <pc:inkChg chg="add mod">
          <ac:chgData name="Aniket Chhabra" userId="598e0514-bef3-4e71-b6aa-f2edd6441cff" providerId="ADAL" clId="{43E39AE6-34EE-7C4D-B602-232FA08B7158}" dt="2022-10-20T14:37:09.798" v="296"/>
          <ac:inkMkLst>
            <pc:docMk/>
            <pc:sldMk cId="2691590533" sldId="286"/>
            <ac:inkMk id="149" creationId="{15EA5846-6F86-8843-3998-9F5A01F9C49C}"/>
          </ac:inkMkLst>
        </pc:inkChg>
        <pc:inkChg chg="add mod">
          <ac:chgData name="Aniket Chhabra" userId="598e0514-bef3-4e71-b6aa-f2edd6441cff" providerId="ADAL" clId="{43E39AE6-34EE-7C4D-B602-232FA08B7158}" dt="2022-10-20T14:37:09.798" v="296"/>
          <ac:inkMkLst>
            <pc:docMk/>
            <pc:sldMk cId="2691590533" sldId="286"/>
            <ac:inkMk id="150" creationId="{A37B5A69-7D00-2EE2-8499-9B85C158E75C}"/>
          </ac:inkMkLst>
        </pc:inkChg>
        <pc:inkChg chg="add mod">
          <ac:chgData name="Aniket Chhabra" userId="598e0514-bef3-4e71-b6aa-f2edd6441cff" providerId="ADAL" clId="{43E39AE6-34EE-7C4D-B602-232FA08B7158}" dt="2022-10-20T14:37:09.798" v="296"/>
          <ac:inkMkLst>
            <pc:docMk/>
            <pc:sldMk cId="2691590533" sldId="286"/>
            <ac:inkMk id="151" creationId="{59E31A70-DB03-6EA6-0435-64E1E5622E2E}"/>
          </ac:inkMkLst>
        </pc:inkChg>
        <pc:inkChg chg="add mod">
          <ac:chgData name="Aniket Chhabra" userId="598e0514-bef3-4e71-b6aa-f2edd6441cff" providerId="ADAL" clId="{43E39AE6-34EE-7C4D-B602-232FA08B7158}" dt="2022-10-20T14:37:09.798" v="296"/>
          <ac:inkMkLst>
            <pc:docMk/>
            <pc:sldMk cId="2691590533" sldId="286"/>
            <ac:inkMk id="152" creationId="{57AEB2E4-C5BE-BC9B-561F-289F8F793C6B}"/>
          </ac:inkMkLst>
        </pc:inkChg>
        <pc:inkChg chg="add mod">
          <ac:chgData name="Aniket Chhabra" userId="598e0514-bef3-4e71-b6aa-f2edd6441cff" providerId="ADAL" clId="{43E39AE6-34EE-7C4D-B602-232FA08B7158}" dt="2022-10-20T14:37:09.798" v="296"/>
          <ac:inkMkLst>
            <pc:docMk/>
            <pc:sldMk cId="2691590533" sldId="286"/>
            <ac:inkMk id="153" creationId="{6F881D3F-0C2F-B230-F996-8395A32EA57C}"/>
          </ac:inkMkLst>
        </pc:inkChg>
        <pc:inkChg chg="add mod">
          <ac:chgData name="Aniket Chhabra" userId="598e0514-bef3-4e71-b6aa-f2edd6441cff" providerId="ADAL" clId="{43E39AE6-34EE-7C4D-B602-232FA08B7158}" dt="2022-10-20T14:37:09.798" v="296"/>
          <ac:inkMkLst>
            <pc:docMk/>
            <pc:sldMk cId="2691590533" sldId="286"/>
            <ac:inkMk id="156" creationId="{508ED890-4DC1-6794-743E-B9C5D59B6BD5}"/>
          </ac:inkMkLst>
        </pc:inkChg>
        <pc:inkChg chg="add mod">
          <ac:chgData name="Aniket Chhabra" userId="598e0514-bef3-4e71-b6aa-f2edd6441cff" providerId="ADAL" clId="{43E39AE6-34EE-7C4D-B602-232FA08B7158}" dt="2022-10-20T14:37:09.798" v="296"/>
          <ac:inkMkLst>
            <pc:docMk/>
            <pc:sldMk cId="2691590533" sldId="286"/>
            <ac:inkMk id="157" creationId="{9BA74A0C-3741-5035-AFDE-F950F2A96680}"/>
          </ac:inkMkLst>
        </pc:inkChg>
        <pc:inkChg chg="add mod">
          <ac:chgData name="Aniket Chhabra" userId="598e0514-bef3-4e71-b6aa-f2edd6441cff" providerId="ADAL" clId="{43E39AE6-34EE-7C4D-B602-232FA08B7158}" dt="2022-10-20T14:37:09.798" v="296"/>
          <ac:inkMkLst>
            <pc:docMk/>
            <pc:sldMk cId="2691590533" sldId="286"/>
            <ac:inkMk id="158" creationId="{B51C5771-89EC-6C0B-7796-598523F588D2}"/>
          </ac:inkMkLst>
        </pc:inkChg>
        <pc:inkChg chg="add mod">
          <ac:chgData name="Aniket Chhabra" userId="598e0514-bef3-4e71-b6aa-f2edd6441cff" providerId="ADAL" clId="{43E39AE6-34EE-7C4D-B602-232FA08B7158}" dt="2022-10-20T14:37:09.798" v="296"/>
          <ac:inkMkLst>
            <pc:docMk/>
            <pc:sldMk cId="2691590533" sldId="286"/>
            <ac:inkMk id="159" creationId="{081FCACB-1730-CC44-E77B-64040C067FD1}"/>
          </ac:inkMkLst>
        </pc:inkChg>
        <pc:inkChg chg="add mod">
          <ac:chgData name="Aniket Chhabra" userId="598e0514-bef3-4e71-b6aa-f2edd6441cff" providerId="ADAL" clId="{43E39AE6-34EE-7C4D-B602-232FA08B7158}" dt="2022-10-20T14:37:09.798" v="296"/>
          <ac:inkMkLst>
            <pc:docMk/>
            <pc:sldMk cId="2691590533" sldId="286"/>
            <ac:inkMk id="160" creationId="{1FAE930A-A09E-C5AE-F0E9-36860FE900D5}"/>
          </ac:inkMkLst>
        </pc:inkChg>
        <pc:inkChg chg="add mod">
          <ac:chgData name="Aniket Chhabra" userId="598e0514-bef3-4e71-b6aa-f2edd6441cff" providerId="ADAL" clId="{43E39AE6-34EE-7C4D-B602-232FA08B7158}" dt="2022-10-20T14:37:04.639" v="284"/>
          <ac:inkMkLst>
            <pc:docMk/>
            <pc:sldMk cId="2691590533" sldId="286"/>
            <ac:inkMk id="161" creationId="{2CA6C57D-C6A3-B092-6AA2-581D1F5F2C4F}"/>
          </ac:inkMkLst>
        </pc:inkChg>
        <pc:inkChg chg="add mod">
          <ac:chgData name="Aniket Chhabra" userId="598e0514-bef3-4e71-b6aa-f2edd6441cff" providerId="ADAL" clId="{43E39AE6-34EE-7C4D-B602-232FA08B7158}" dt="2022-10-20T14:37:09.798" v="296"/>
          <ac:inkMkLst>
            <pc:docMk/>
            <pc:sldMk cId="2691590533" sldId="286"/>
            <ac:inkMk id="164" creationId="{712A02AE-6C85-0A3A-8C1E-072A79C44534}"/>
          </ac:inkMkLst>
        </pc:inkChg>
        <pc:inkChg chg="add mod">
          <ac:chgData name="Aniket Chhabra" userId="598e0514-bef3-4e71-b6aa-f2edd6441cff" providerId="ADAL" clId="{43E39AE6-34EE-7C4D-B602-232FA08B7158}" dt="2022-10-20T14:37:09.798" v="296"/>
          <ac:inkMkLst>
            <pc:docMk/>
            <pc:sldMk cId="2691590533" sldId="286"/>
            <ac:inkMk id="165" creationId="{255FF09E-22C2-10F6-D55E-B71F0921D6FE}"/>
          </ac:inkMkLst>
        </pc:inkChg>
        <pc:inkChg chg="add mod">
          <ac:chgData name="Aniket Chhabra" userId="598e0514-bef3-4e71-b6aa-f2edd6441cff" providerId="ADAL" clId="{43E39AE6-34EE-7C4D-B602-232FA08B7158}" dt="2022-10-20T14:37:13.764" v="303"/>
          <ac:inkMkLst>
            <pc:docMk/>
            <pc:sldMk cId="2691590533" sldId="286"/>
            <ac:inkMk id="166" creationId="{BC0C8EC5-F4F2-73FD-351E-13789B2032F8}"/>
          </ac:inkMkLst>
        </pc:inkChg>
        <pc:inkChg chg="add mod">
          <ac:chgData name="Aniket Chhabra" userId="598e0514-bef3-4e71-b6aa-f2edd6441cff" providerId="ADAL" clId="{43E39AE6-34EE-7C4D-B602-232FA08B7158}" dt="2022-10-20T14:37:13.764" v="303"/>
          <ac:inkMkLst>
            <pc:docMk/>
            <pc:sldMk cId="2691590533" sldId="286"/>
            <ac:inkMk id="167" creationId="{55A3C4EB-5651-70B3-AD2B-2A7FFCAF4B1B}"/>
          </ac:inkMkLst>
        </pc:inkChg>
        <pc:inkChg chg="add mod">
          <ac:chgData name="Aniket Chhabra" userId="598e0514-bef3-4e71-b6aa-f2edd6441cff" providerId="ADAL" clId="{43E39AE6-34EE-7C4D-B602-232FA08B7158}" dt="2022-10-20T14:37:13.764" v="303"/>
          <ac:inkMkLst>
            <pc:docMk/>
            <pc:sldMk cId="2691590533" sldId="286"/>
            <ac:inkMk id="168" creationId="{4523B022-2001-E5CC-1CDC-15B02BF34554}"/>
          </ac:inkMkLst>
        </pc:inkChg>
        <pc:inkChg chg="add mod">
          <ac:chgData name="Aniket Chhabra" userId="598e0514-bef3-4e71-b6aa-f2edd6441cff" providerId="ADAL" clId="{43E39AE6-34EE-7C4D-B602-232FA08B7158}" dt="2022-10-20T14:37:13.764" v="303"/>
          <ac:inkMkLst>
            <pc:docMk/>
            <pc:sldMk cId="2691590533" sldId="286"/>
            <ac:inkMk id="169" creationId="{B9B6ADCD-925E-2C92-6E6B-81A82479FF65}"/>
          </ac:inkMkLst>
        </pc:inkChg>
        <pc:inkChg chg="add mod">
          <ac:chgData name="Aniket Chhabra" userId="598e0514-bef3-4e71-b6aa-f2edd6441cff" providerId="ADAL" clId="{43E39AE6-34EE-7C4D-B602-232FA08B7158}" dt="2022-10-20T14:37:13.764" v="303"/>
          <ac:inkMkLst>
            <pc:docMk/>
            <pc:sldMk cId="2691590533" sldId="286"/>
            <ac:inkMk id="170" creationId="{99D4C6F6-F575-AA5B-873E-ACFF009B9751}"/>
          </ac:inkMkLst>
        </pc:inkChg>
        <pc:inkChg chg="add mod">
          <ac:chgData name="Aniket Chhabra" userId="598e0514-bef3-4e71-b6aa-f2edd6441cff" providerId="ADAL" clId="{43E39AE6-34EE-7C4D-B602-232FA08B7158}" dt="2022-10-20T14:37:13.764" v="303"/>
          <ac:inkMkLst>
            <pc:docMk/>
            <pc:sldMk cId="2691590533" sldId="286"/>
            <ac:inkMk id="171" creationId="{75019ED3-CEB3-49EF-30B7-090408F3F7E7}"/>
          </ac:inkMkLst>
        </pc:inkChg>
        <pc:inkChg chg="add mod">
          <ac:chgData name="Aniket Chhabra" userId="598e0514-bef3-4e71-b6aa-f2edd6441cff" providerId="ADAL" clId="{43E39AE6-34EE-7C4D-B602-232FA08B7158}" dt="2022-10-20T14:37:13.764" v="303"/>
          <ac:inkMkLst>
            <pc:docMk/>
            <pc:sldMk cId="2691590533" sldId="286"/>
            <ac:inkMk id="172" creationId="{05D0A4AC-5D09-4A4D-DE52-9488CA9DAC33}"/>
          </ac:inkMkLst>
        </pc:inkChg>
        <pc:inkChg chg="add mod">
          <ac:chgData name="Aniket Chhabra" userId="598e0514-bef3-4e71-b6aa-f2edd6441cff" providerId="ADAL" clId="{43E39AE6-34EE-7C4D-B602-232FA08B7158}" dt="2022-10-20T14:37:13.764" v="303"/>
          <ac:inkMkLst>
            <pc:docMk/>
            <pc:sldMk cId="2691590533" sldId="286"/>
            <ac:inkMk id="173" creationId="{1EC8B9FA-9B64-D957-B1EC-F989FAB422E4}"/>
          </ac:inkMkLst>
        </pc:inkChg>
        <pc:inkChg chg="add mod">
          <ac:chgData name="Aniket Chhabra" userId="598e0514-bef3-4e71-b6aa-f2edd6441cff" providerId="ADAL" clId="{43E39AE6-34EE-7C4D-B602-232FA08B7158}" dt="2022-10-20T14:37:13.764" v="303"/>
          <ac:inkMkLst>
            <pc:docMk/>
            <pc:sldMk cId="2691590533" sldId="286"/>
            <ac:inkMk id="174" creationId="{F96A5FD1-A1B5-A8EB-2981-3A7F55E7826F}"/>
          </ac:inkMkLst>
        </pc:inkChg>
        <pc:inkChg chg="add mod">
          <ac:chgData name="Aniket Chhabra" userId="598e0514-bef3-4e71-b6aa-f2edd6441cff" providerId="ADAL" clId="{43E39AE6-34EE-7C4D-B602-232FA08B7158}" dt="2022-10-20T14:37:13.764" v="303"/>
          <ac:inkMkLst>
            <pc:docMk/>
            <pc:sldMk cId="2691590533" sldId="286"/>
            <ac:inkMk id="177" creationId="{7291FD14-E0A5-F836-0CFD-73E1DAA4CD9E}"/>
          </ac:inkMkLst>
        </pc:inkChg>
        <pc:inkChg chg="add mod">
          <ac:chgData name="Aniket Chhabra" userId="598e0514-bef3-4e71-b6aa-f2edd6441cff" providerId="ADAL" clId="{43E39AE6-34EE-7C4D-B602-232FA08B7158}" dt="2022-10-20T14:37:13.764" v="303"/>
          <ac:inkMkLst>
            <pc:docMk/>
            <pc:sldMk cId="2691590533" sldId="286"/>
            <ac:inkMk id="179" creationId="{BC62705F-D554-3D02-E441-262E5A645B64}"/>
          </ac:inkMkLst>
        </pc:inkChg>
        <pc:inkChg chg="add mod">
          <ac:chgData name="Aniket Chhabra" userId="598e0514-bef3-4e71-b6aa-f2edd6441cff" providerId="ADAL" clId="{43E39AE6-34EE-7C4D-B602-232FA08B7158}" dt="2022-10-20T14:37:13.764" v="303"/>
          <ac:inkMkLst>
            <pc:docMk/>
            <pc:sldMk cId="2691590533" sldId="286"/>
            <ac:inkMk id="181" creationId="{21CD0C85-789D-214F-7900-8A52CF67491C}"/>
          </ac:inkMkLst>
        </pc:inkChg>
        <pc:inkChg chg="add mod">
          <ac:chgData name="Aniket Chhabra" userId="598e0514-bef3-4e71-b6aa-f2edd6441cff" providerId="ADAL" clId="{43E39AE6-34EE-7C4D-B602-232FA08B7158}" dt="2022-10-20T14:37:13.764" v="303"/>
          <ac:inkMkLst>
            <pc:docMk/>
            <pc:sldMk cId="2691590533" sldId="286"/>
            <ac:inkMk id="182" creationId="{6191DA3A-1EE4-E1F6-69D4-3FA30B55BFA6}"/>
          </ac:inkMkLst>
        </pc:inkChg>
        <pc:inkChg chg="add del mod">
          <ac:chgData name="Aniket Chhabra" userId="598e0514-bef3-4e71-b6aa-f2edd6441cff" providerId="ADAL" clId="{43E39AE6-34EE-7C4D-B602-232FA08B7158}" dt="2022-10-20T14:39:12.277" v="321"/>
          <ac:inkMkLst>
            <pc:docMk/>
            <pc:sldMk cId="2691590533" sldId="286"/>
            <ac:inkMk id="184" creationId="{F6D03CF2-04C3-8711-30FC-53A2F672640E}"/>
          </ac:inkMkLst>
        </pc:inkChg>
        <pc:inkChg chg="add del mod">
          <ac:chgData name="Aniket Chhabra" userId="598e0514-bef3-4e71-b6aa-f2edd6441cff" providerId="ADAL" clId="{43E39AE6-34EE-7C4D-B602-232FA08B7158}" dt="2022-10-20T14:39:12.276" v="318"/>
          <ac:inkMkLst>
            <pc:docMk/>
            <pc:sldMk cId="2691590533" sldId="286"/>
            <ac:inkMk id="185" creationId="{3B356670-C5D5-CBD0-B393-183BA5579C8F}"/>
          </ac:inkMkLst>
        </pc:inkChg>
      </pc:sldChg>
      <pc:sldChg chg="addSp modSp mod">
        <pc:chgData name="Aniket Chhabra" userId="598e0514-bef3-4e71-b6aa-f2edd6441cff" providerId="ADAL" clId="{43E39AE6-34EE-7C4D-B602-232FA08B7158}" dt="2022-10-20T14:42:26.950" v="351"/>
        <pc:sldMkLst>
          <pc:docMk/>
          <pc:sldMk cId="3090271849" sldId="287"/>
        </pc:sldMkLst>
        <pc:grpChg chg="mod">
          <ac:chgData name="Aniket Chhabra" userId="598e0514-bef3-4e71-b6aa-f2edd6441cff" providerId="ADAL" clId="{43E39AE6-34EE-7C4D-B602-232FA08B7158}" dt="2022-10-20T14:41:59.579" v="336"/>
          <ac:grpSpMkLst>
            <pc:docMk/>
            <pc:sldMk cId="3090271849" sldId="287"/>
            <ac:grpSpMk id="11" creationId="{08E0B7B1-2AAB-A93A-A02E-B4479299CB3D}"/>
          </ac:grpSpMkLst>
        </pc:grpChg>
        <pc:grpChg chg="mod">
          <ac:chgData name="Aniket Chhabra" userId="598e0514-bef3-4e71-b6aa-f2edd6441cff" providerId="ADAL" clId="{43E39AE6-34EE-7C4D-B602-232FA08B7158}" dt="2022-10-20T14:42:02.863" v="341"/>
          <ac:grpSpMkLst>
            <pc:docMk/>
            <pc:sldMk cId="3090271849" sldId="287"/>
            <ac:grpSpMk id="17" creationId="{05CF43A4-82F7-0A69-E0F4-30F14B17A2B2}"/>
          </ac:grpSpMkLst>
        </pc:grpChg>
        <pc:grpChg chg="mod">
          <ac:chgData name="Aniket Chhabra" userId="598e0514-bef3-4e71-b6aa-f2edd6441cff" providerId="ADAL" clId="{43E39AE6-34EE-7C4D-B602-232FA08B7158}" dt="2022-10-20T14:42:02.863" v="341"/>
          <ac:grpSpMkLst>
            <pc:docMk/>
            <pc:sldMk cId="3090271849" sldId="287"/>
            <ac:grpSpMk id="20" creationId="{578A63FF-7F38-45C9-08BE-7A07EE4FA623}"/>
          </ac:grpSpMkLst>
        </pc:grpChg>
        <pc:grpChg chg="mod">
          <ac:chgData name="Aniket Chhabra" userId="598e0514-bef3-4e71-b6aa-f2edd6441cff" providerId="ADAL" clId="{43E39AE6-34EE-7C4D-B602-232FA08B7158}" dt="2022-10-20T14:42:26.950" v="351"/>
          <ac:grpSpMkLst>
            <pc:docMk/>
            <pc:sldMk cId="3090271849" sldId="287"/>
            <ac:grpSpMk id="30" creationId="{0D118614-48A6-ACA1-BF2E-7CFB3DC443A3}"/>
          </ac:grpSpMkLst>
        </pc:grpChg>
        <pc:inkChg chg="add">
          <ac:chgData name="Aniket Chhabra" userId="598e0514-bef3-4e71-b6aa-f2edd6441cff" providerId="ADAL" clId="{43E39AE6-34EE-7C4D-B602-232FA08B7158}" dt="2022-10-20T14:41:54.986" v="331" actId="9405"/>
          <ac:inkMkLst>
            <pc:docMk/>
            <pc:sldMk cId="3090271849" sldId="287"/>
            <ac:inkMk id="5" creationId="{2ECFC2CA-D205-09AB-4862-927F1FF1FCCA}"/>
          </ac:inkMkLst>
        </pc:inkChg>
        <pc:inkChg chg="add">
          <ac:chgData name="Aniket Chhabra" userId="598e0514-bef3-4e71-b6aa-f2edd6441cff" providerId="ADAL" clId="{43E39AE6-34EE-7C4D-B602-232FA08B7158}" dt="2022-10-20T14:41:55.889" v="332" actId="9405"/>
          <ac:inkMkLst>
            <pc:docMk/>
            <pc:sldMk cId="3090271849" sldId="287"/>
            <ac:inkMk id="7" creationId="{B7D8CEAD-E9EC-0234-CC6F-C41085C302A3}"/>
          </ac:inkMkLst>
        </pc:inkChg>
        <pc:inkChg chg="add">
          <ac:chgData name="Aniket Chhabra" userId="598e0514-bef3-4e71-b6aa-f2edd6441cff" providerId="ADAL" clId="{43E39AE6-34EE-7C4D-B602-232FA08B7158}" dt="2022-10-20T14:41:56.123" v="333" actId="9405"/>
          <ac:inkMkLst>
            <pc:docMk/>
            <pc:sldMk cId="3090271849" sldId="287"/>
            <ac:inkMk id="8" creationId="{BAB169C9-6DE9-C9B5-9087-835AB62CBAD0}"/>
          </ac:inkMkLst>
        </pc:inkChg>
        <pc:inkChg chg="add mod">
          <ac:chgData name="Aniket Chhabra" userId="598e0514-bef3-4e71-b6aa-f2edd6441cff" providerId="ADAL" clId="{43E39AE6-34EE-7C4D-B602-232FA08B7158}" dt="2022-10-20T14:41:59.579" v="336"/>
          <ac:inkMkLst>
            <pc:docMk/>
            <pc:sldMk cId="3090271849" sldId="287"/>
            <ac:inkMk id="9" creationId="{6071AAD2-B024-E414-D296-E332C0135C2F}"/>
          </ac:inkMkLst>
        </pc:inkChg>
        <pc:inkChg chg="add mod">
          <ac:chgData name="Aniket Chhabra" userId="598e0514-bef3-4e71-b6aa-f2edd6441cff" providerId="ADAL" clId="{43E39AE6-34EE-7C4D-B602-232FA08B7158}" dt="2022-10-20T14:41:59.579" v="336"/>
          <ac:inkMkLst>
            <pc:docMk/>
            <pc:sldMk cId="3090271849" sldId="287"/>
            <ac:inkMk id="10" creationId="{3B38907B-31AA-3582-4BAE-FE53ACFECBF3}"/>
          </ac:inkMkLst>
        </pc:inkChg>
        <pc:inkChg chg="add mod">
          <ac:chgData name="Aniket Chhabra" userId="598e0514-bef3-4e71-b6aa-f2edd6441cff" providerId="ADAL" clId="{43E39AE6-34EE-7C4D-B602-232FA08B7158}" dt="2022-10-20T14:42:02.863" v="341"/>
          <ac:inkMkLst>
            <pc:docMk/>
            <pc:sldMk cId="3090271849" sldId="287"/>
            <ac:inkMk id="12" creationId="{0CDD8F52-1EBD-AFB7-CA6F-B008E4DEC3A1}"/>
          </ac:inkMkLst>
        </pc:inkChg>
        <pc:inkChg chg="add mod">
          <ac:chgData name="Aniket Chhabra" userId="598e0514-bef3-4e71-b6aa-f2edd6441cff" providerId="ADAL" clId="{43E39AE6-34EE-7C4D-B602-232FA08B7158}" dt="2022-10-20T14:42:02.863" v="341"/>
          <ac:inkMkLst>
            <pc:docMk/>
            <pc:sldMk cId="3090271849" sldId="287"/>
            <ac:inkMk id="13" creationId="{1B4E47BD-FE09-B9C3-5F49-70BC16FECC5F}"/>
          </ac:inkMkLst>
        </pc:inkChg>
        <pc:inkChg chg="add mod">
          <ac:chgData name="Aniket Chhabra" userId="598e0514-bef3-4e71-b6aa-f2edd6441cff" providerId="ADAL" clId="{43E39AE6-34EE-7C4D-B602-232FA08B7158}" dt="2022-10-20T14:42:02.863" v="341"/>
          <ac:inkMkLst>
            <pc:docMk/>
            <pc:sldMk cId="3090271849" sldId="287"/>
            <ac:inkMk id="14" creationId="{9C5870FB-B2F5-F37C-EE6A-B8ED2E7AFD09}"/>
          </ac:inkMkLst>
        </pc:inkChg>
        <pc:inkChg chg="add mod">
          <ac:chgData name="Aniket Chhabra" userId="598e0514-bef3-4e71-b6aa-f2edd6441cff" providerId="ADAL" clId="{43E39AE6-34EE-7C4D-B602-232FA08B7158}" dt="2022-10-20T14:42:02.863" v="341"/>
          <ac:inkMkLst>
            <pc:docMk/>
            <pc:sldMk cId="3090271849" sldId="287"/>
            <ac:inkMk id="16" creationId="{E4D0EA86-0206-AEC7-D434-202C24EE34CD}"/>
          </ac:inkMkLst>
        </pc:inkChg>
        <pc:inkChg chg="add">
          <ac:chgData name="Aniket Chhabra" userId="598e0514-bef3-4e71-b6aa-f2edd6441cff" providerId="ADAL" clId="{43E39AE6-34EE-7C4D-B602-232FA08B7158}" dt="2022-10-20T14:42:07.591" v="342" actId="9405"/>
          <ac:inkMkLst>
            <pc:docMk/>
            <pc:sldMk cId="3090271849" sldId="287"/>
            <ac:inkMk id="21" creationId="{CC020DBC-08A4-02A3-B560-B549719736FD}"/>
          </ac:inkMkLst>
        </pc:inkChg>
        <pc:inkChg chg="add mod">
          <ac:chgData name="Aniket Chhabra" userId="598e0514-bef3-4e71-b6aa-f2edd6441cff" providerId="ADAL" clId="{43E39AE6-34EE-7C4D-B602-232FA08B7158}" dt="2022-10-20T14:42:26.950" v="351"/>
          <ac:inkMkLst>
            <pc:docMk/>
            <pc:sldMk cId="3090271849" sldId="287"/>
            <ac:inkMk id="22" creationId="{7B54E845-263F-392D-DF13-AFFD9936F525}"/>
          </ac:inkMkLst>
        </pc:inkChg>
        <pc:inkChg chg="add mod">
          <ac:chgData name="Aniket Chhabra" userId="598e0514-bef3-4e71-b6aa-f2edd6441cff" providerId="ADAL" clId="{43E39AE6-34EE-7C4D-B602-232FA08B7158}" dt="2022-10-20T14:42:26.950" v="351"/>
          <ac:inkMkLst>
            <pc:docMk/>
            <pc:sldMk cId="3090271849" sldId="287"/>
            <ac:inkMk id="23" creationId="{9EE2AB89-EA43-DBF7-ADE0-6ED2831EFB2E}"/>
          </ac:inkMkLst>
        </pc:inkChg>
        <pc:inkChg chg="add mod">
          <ac:chgData name="Aniket Chhabra" userId="598e0514-bef3-4e71-b6aa-f2edd6441cff" providerId="ADAL" clId="{43E39AE6-34EE-7C4D-B602-232FA08B7158}" dt="2022-10-20T14:42:26.950" v="351"/>
          <ac:inkMkLst>
            <pc:docMk/>
            <pc:sldMk cId="3090271849" sldId="287"/>
            <ac:inkMk id="24" creationId="{DF93C811-1629-1E0F-5B78-3F692318B028}"/>
          </ac:inkMkLst>
        </pc:inkChg>
        <pc:inkChg chg="add mod">
          <ac:chgData name="Aniket Chhabra" userId="598e0514-bef3-4e71-b6aa-f2edd6441cff" providerId="ADAL" clId="{43E39AE6-34EE-7C4D-B602-232FA08B7158}" dt="2022-10-20T14:42:26.950" v="351"/>
          <ac:inkMkLst>
            <pc:docMk/>
            <pc:sldMk cId="3090271849" sldId="287"/>
            <ac:inkMk id="25" creationId="{D96D85A6-A70B-1BF4-A9E2-6F30C21E8403}"/>
          </ac:inkMkLst>
        </pc:inkChg>
        <pc:inkChg chg="add mod">
          <ac:chgData name="Aniket Chhabra" userId="598e0514-bef3-4e71-b6aa-f2edd6441cff" providerId="ADAL" clId="{43E39AE6-34EE-7C4D-B602-232FA08B7158}" dt="2022-10-20T14:42:26.950" v="351"/>
          <ac:inkMkLst>
            <pc:docMk/>
            <pc:sldMk cId="3090271849" sldId="287"/>
            <ac:inkMk id="26" creationId="{573C71FF-FDA5-1C11-404A-D870317354B4}"/>
          </ac:inkMkLst>
        </pc:inkChg>
        <pc:inkChg chg="add mod">
          <ac:chgData name="Aniket Chhabra" userId="598e0514-bef3-4e71-b6aa-f2edd6441cff" providerId="ADAL" clId="{43E39AE6-34EE-7C4D-B602-232FA08B7158}" dt="2022-10-20T14:42:26.950" v="351"/>
          <ac:inkMkLst>
            <pc:docMk/>
            <pc:sldMk cId="3090271849" sldId="287"/>
            <ac:inkMk id="27" creationId="{8C527A7F-F131-F2EC-C0E7-B5F6D5FE9BD5}"/>
          </ac:inkMkLst>
        </pc:inkChg>
        <pc:inkChg chg="add mod">
          <ac:chgData name="Aniket Chhabra" userId="598e0514-bef3-4e71-b6aa-f2edd6441cff" providerId="ADAL" clId="{43E39AE6-34EE-7C4D-B602-232FA08B7158}" dt="2022-10-20T14:42:26.950" v="351"/>
          <ac:inkMkLst>
            <pc:docMk/>
            <pc:sldMk cId="3090271849" sldId="287"/>
            <ac:inkMk id="28" creationId="{C6671E02-739C-386B-8B7B-B05784596302}"/>
          </ac:inkMkLst>
        </pc:inkChg>
        <pc:inkChg chg="add mod">
          <ac:chgData name="Aniket Chhabra" userId="598e0514-bef3-4e71-b6aa-f2edd6441cff" providerId="ADAL" clId="{43E39AE6-34EE-7C4D-B602-232FA08B7158}" dt="2022-10-20T14:42:26.950" v="351"/>
          <ac:inkMkLst>
            <pc:docMk/>
            <pc:sldMk cId="3090271849" sldId="287"/>
            <ac:inkMk id="29" creationId="{0CA4C9A4-7115-8E7E-5FA1-1994809B5842}"/>
          </ac:inkMkLst>
        </pc:inkChg>
      </pc:sldChg>
    </pc:docChg>
  </pc:docChgLst>
  <pc:docChgLst>
    <pc:chgData name="Aniket Chhabra" userId="598e0514-bef3-4e71-b6aa-f2edd6441cff" providerId="ADAL" clId="{D31C1DA5-1604-4CC4-8B1A-C1F148C6EC87}"/>
    <pc:docChg chg="undo custSel modSld">
      <pc:chgData name="Aniket Chhabra" userId="598e0514-bef3-4e71-b6aa-f2edd6441cff" providerId="ADAL" clId="{D31C1DA5-1604-4CC4-8B1A-C1F148C6EC87}" dt="2021-03-13T06:11:15.017" v="60" actId="1035"/>
      <pc:docMkLst>
        <pc:docMk/>
      </pc:docMkLst>
      <pc:sldChg chg="modSp mod">
        <pc:chgData name="Aniket Chhabra" userId="598e0514-bef3-4e71-b6aa-f2edd6441cff" providerId="ADAL" clId="{D31C1DA5-1604-4CC4-8B1A-C1F148C6EC87}" dt="2021-03-13T04:00:34.622" v="34" actId="1037"/>
        <pc:sldMkLst>
          <pc:docMk/>
          <pc:sldMk cId="2330712525" sldId="261"/>
        </pc:sldMkLst>
        <pc:picChg chg="mod">
          <ac:chgData name="Aniket Chhabra" userId="598e0514-bef3-4e71-b6aa-f2edd6441cff" providerId="ADAL" clId="{D31C1DA5-1604-4CC4-8B1A-C1F148C6EC87}" dt="2021-03-13T04:00:34.622" v="34" actId="1037"/>
          <ac:picMkLst>
            <pc:docMk/>
            <pc:sldMk cId="2330712525" sldId="261"/>
            <ac:picMk id="24" creationId="{7641BF5E-592E-4B15-B282-89ECA1AE3476}"/>
          </ac:picMkLst>
        </pc:picChg>
      </pc:sldChg>
      <pc:sldChg chg="modSp mod">
        <pc:chgData name="Aniket Chhabra" userId="598e0514-bef3-4e71-b6aa-f2edd6441cff" providerId="ADAL" clId="{D31C1DA5-1604-4CC4-8B1A-C1F148C6EC87}" dt="2021-03-13T04:04:29.965" v="45" actId="33524"/>
        <pc:sldMkLst>
          <pc:docMk/>
          <pc:sldMk cId="3191205605" sldId="263"/>
        </pc:sldMkLst>
        <pc:spChg chg="mod">
          <ac:chgData name="Aniket Chhabra" userId="598e0514-bef3-4e71-b6aa-f2edd6441cff" providerId="ADAL" clId="{D31C1DA5-1604-4CC4-8B1A-C1F148C6EC87}" dt="2021-03-13T04:04:29.965" v="45" actId="33524"/>
          <ac:spMkLst>
            <pc:docMk/>
            <pc:sldMk cId="3191205605" sldId="263"/>
            <ac:spMk id="32" creationId="{4A2B59D6-A829-4C4F-9034-39DB9C885063}"/>
          </ac:spMkLst>
        </pc:spChg>
        <pc:spChg chg="mod">
          <ac:chgData name="Aniket Chhabra" userId="598e0514-bef3-4e71-b6aa-f2edd6441cff" providerId="ADAL" clId="{D31C1DA5-1604-4CC4-8B1A-C1F148C6EC87}" dt="2021-03-13T04:04:22.981" v="44" actId="20577"/>
          <ac:spMkLst>
            <pc:docMk/>
            <pc:sldMk cId="3191205605" sldId="263"/>
            <ac:spMk id="37" creationId="{43D54D57-143E-4D1E-BA4C-5B5B853D7821}"/>
          </ac:spMkLst>
        </pc:spChg>
        <pc:picChg chg="mod">
          <ac:chgData name="Aniket Chhabra" userId="598e0514-bef3-4e71-b6aa-f2edd6441cff" providerId="ADAL" clId="{D31C1DA5-1604-4CC4-8B1A-C1F148C6EC87}" dt="2021-03-13T04:03:12.603" v="42" actId="1076"/>
          <ac:picMkLst>
            <pc:docMk/>
            <pc:sldMk cId="3191205605" sldId="263"/>
            <ac:picMk id="27" creationId="{29528F10-91FB-4F62-993A-478095138E5B}"/>
          </ac:picMkLst>
        </pc:picChg>
      </pc:sldChg>
      <pc:sldChg chg="addSp delSp modSp mod">
        <pc:chgData name="Aniket Chhabra" userId="598e0514-bef3-4e71-b6aa-f2edd6441cff" providerId="ADAL" clId="{D31C1DA5-1604-4CC4-8B1A-C1F148C6EC87}" dt="2021-03-13T05:12:02.529" v="57"/>
        <pc:sldMkLst>
          <pc:docMk/>
          <pc:sldMk cId="3946291041" sldId="272"/>
        </pc:sldMkLst>
        <pc:grpChg chg="del mod">
          <ac:chgData name="Aniket Chhabra" userId="598e0514-bef3-4e71-b6aa-f2edd6441cff" providerId="ADAL" clId="{D31C1DA5-1604-4CC4-8B1A-C1F148C6EC87}" dt="2021-03-13T05:11:59.344" v="55"/>
          <ac:grpSpMkLst>
            <pc:docMk/>
            <pc:sldMk cId="3946291041" sldId="272"/>
            <ac:grpSpMk id="9" creationId="{3F8AA94D-EE6D-464F-87ED-659E307C997C}"/>
          </ac:grpSpMkLst>
        </pc:grpChg>
        <pc:grpChg chg="del mod">
          <ac:chgData name="Aniket Chhabra" userId="598e0514-bef3-4e71-b6aa-f2edd6441cff" providerId="ADAL" clId="{D31C1DA5-1604-4CC4-8B1A-C1F148C6EC87}" dt="2021-03-13T05:11:59.344" v="55"/>
          <ac:grpSpMkLst>
            <pc:docMk/>
            <pc:sldMk cId="3946291041" sldId="272"/>
            <ac:grpSpMk id="16" creationId="{79AE567F-6315-45EC-B503-4370D886F557}"/>
          </ac:grpSpMkLst>
        </pc:grpChg>
        <pc:grpChg chg="del mod">
          <ac:chgData name="Aniket Chhabra" userId="598e0514-bef3-4e71-b6aa-f2edd6441cff" providerId="ADAL" clId="{D31C1DA5-1604-4CC4-8B1A-C1F148C6EC87}" dt="2021-03-13T05:12:02.529" v="57"/>
          <ac:grpSpMkLst>
            <pc:docMk/>
            <pc:sldMk cId="3946291041" sldId="272"/>
            <ac:grpSpMk id="17" creationId="{CD30CBFC-134D-4291-88DE-0CC12DBC5FB1}"/>
          </ac:grpSpMkLst>
        </pc:grpChg>
        <pc:grpChg chg="mod">
          <ac:chgData name="Aniket Chhabra" userId="598e0514-bef3-4e71-b6aa-f2edd6441cff" providerId="ADAL" clId="{D31C1DA5-1604-4CC4-8B1A-C1F148C6EC87}" dt="2021-03-13T05:12:02.529" v="57"/>
          <ac:grpSpMkLst>
            <pc:docMk/>
            <pc:sldMk cId="3946291041" sldId="272"/>
            <ac:grpSpMk id="20" creationId="{DFE7DCD5-8506-4B37-9488-A8C8420696E8}"/>
          </ac:grpSpMkLst>
        </pc:grpChg>
        <pc:inkChg chg="add del">
          <ac:chgData name="Aniket Chhabra" userId="598e0514-bef3-4e71-b6aa-f2edd6441cff" providerId="ADAL" clId="{D31C1DA5-1604-4CC4-8B1A-C1F148C6EC87}" dt="2021-03-13T05:11:38.522" v="47" actId="9405"/>
          <ac:inkMkLst>
            <pc:docMk/>
            <pc:sldMk cId="3946291041" sldId="272"/>
            <ac:inkMk id="3" creationId="{0366C4CA-D258-40A0-A7B3-D356969C4943}"/>
          </ac:inkMkLst>
        </pc:inkChg>
        <pc:inkChg chg="add">
          <ac:chgData name="Aniket Chhabra" userId="598e0514-bef3-4e71-b6aa-f2edd6441cff" providerId="ADAL" clId="{D31C1DA5-1604-4CC4-8B1A-C1F148C6EC87}" dt="2021-03-13T05:11:41.552" v="48" actId="9405"/>
          <ac:inkMkLst>
            <pc:docMk/>
            <pc:sldMk cId="3946291041" sldId="272"/>
            <ac:inkMk id="4" creationId="{D843202B-6AB4-4952-8AF7-CE361E19C0A5}"/>
          </ac:inkMkLst>
        </pc:inkChg>
        <pc:inkChg chg="add">
          <ac:chgData name="Aniket Chhabra" userId="598e0514-bef3-4e71-b6aa-f2edd6441cff" providerId="ADAL" clId="{D31C1DA5-1604-4CC4-8B1A-C1F148C6EC87}" dt="2021-03-13T05:11:44.953" v="49" actId="9405"/>
          <ac:inkMkLst>
            <pc:docMk/>
            <pc:sldMk cId="3946291041" sldId="272"/>
            <ac:inkMk id="5" creationId="{B1EF3810-6E25-4459-9340-6689E661BF9D}"/>
          </ac:inkMkLst>
        </pc:inkChg>
        <pc:inkChg chg="add mod">
          <ac:chgData name="Aniket Chhabra" userId="598e0514-bef3-4e71-b6aa-f2edd6441cff" providerId="ADAL" clId="{D31C1DA5-1604-4CC4-8B1A-C1F148C6EC87}" dt="2021-03-13T05:12:02.529" v="57"/>
          <ac:inkMkLst>
            <pc:docMk/>
            <pc:sldMk cId="3946291041" sldId="272"/>
            <ac:inkMk id="6" creationId="{0DA82313-A594-4459-B36C-3E71838836DD}"/>
          </ac:inkMkLst>
        </pc:inkChg>
        <pc:inkChg chg="add mod">
          <ac:chgData name="Aniket Chhabra" userId="598e0514-bef3-4e71-b6aa-f2edd6441cff" providerId="ADAL" clId="{D31C1DA5-1604-4CC4-8B1A-C1F148C6EC87}" dt="2021-03-13T05:12:02.529" v="57"/>
          <ac:inkMkLst>
            <pc:docMk/>
            <pc:sldMk cId="3946291041" sldId="272"/>
            <ac:inkMk id="7" creationId="{BEB018A9-AA21-42AE-8605-6A6130628021}"/>
          </ac:inkMkLst>
        </pc:inkChg>
        <pc:inkChg chg="add mod">
          <ac:chgData name="Aniket Chhabra" userId="598e0514-bef3-4e71-b6aa-f2edd6441cff" providerId="ADAL" clId="{D31C1DA5-1604-4CC4-8B1A-C1F148C6EC87}" dt="2021-03-13T05:12:02.529" v="57"/>
          <ac:inkMkLst>
            <pc:docMk/>
            <pc:sldMk cId="3946291041" sldId="272"/>
            <ac:inkMk id="14" creationId="{7F89730B-FB20-4806-A418-0A57330CF3FB}"/>
          </ac:inkMkLst>
        </pc:inkChg>
        <pc:inkChg chg="add mod">
          <ac:chgData name="Aniket Chhabra" userId="598e0514-bef3-4e71-b6aa-f2edd6441cff" providerId="ADAL" clId="{D31C1DA5-1604-4CC4-8B1A-C1F148C6EC87}" dt="2021-03-13T05:11:59.344" v="55"/>
          <ac:inkMkLst>
            <pc:docMk/>
            <pc:sldMk cId="3946291041" sldId="272"/>
            <ac:inkMk id="15" creationId="{B6C1DEFE-2D70-4FD7-849A-50FD85A46A1D}"/>
          </ac:inkMkLst>
        </pc:inkChg>
        <pc:inkChg chg="add mod">
          <ac:chgData name="Aniket Chhabra" userId="598e0514-bef3-4e71-b6aa-f2edd6441cff" providerId="ADAL" clId="{D31C1DA5-1604-4CC4-8B1A-C1F148C6EC87}" dt="2021-03-13T05:12:02.529" v="57"/>
          <ac:inkMkLst>
            <pc:docMk/>
            <pc:sldMk cId="3946291041" sldId="272"/>
            <ac:inkMk id="18" creationId="{E407C661-01F2-4541-AD3F-A01D4D6A85B9}"/>
          </ac:inkMkLst>
        </pc:inkChg>
      </pc:sldChg>
      <pc:sldChg chg="modSp">
        <pc:chgData name="Aniket Chhabra" userId="598e0514-bef3-4e71-b6aa-f2edd6441cff" providerId="ADAL" clId="{D31C1DA5-1604-4CC4-8B1A-C1F148C6EC87}" dt="2021-03-13T02:54:12.189" v="7" actId="1035"/>
        <pc:sldMkLst>
          <pc:docMk/>
          <pc:sldMk cId="2721962650" sldId="273"/>
        </pc:sldMkLst>
        <pc:picChg chg="mod">
          <ac:chgData name="Aniket Chhabra" userId="598e0514-bef3-4e71-b6aa-f2edd6441cff" providerId="ADAL" clId="{D31C1DA5-1604-4CC4-8B1A-C1F148C6EC87}" dt="2021-03-13T02:54:12.189" v="7" actId="1035"/>
          <ac:picMkLst>
            <pc:docMk/>
            <pc:sldMk cId="2721962650" sldId="273"/>
            <ac:picMk id="27" creationId="{D18818E7-2D90-427A-98AC-4AE5FF6153D8}"/>
          </ac:picMkLst>
        </pc:picChg>
      </pc:sldChg>
      <pc:sldChg chg="addSp delSp modSp mod">
        <pc:chgData name="Aniket Chhabra" userId="598e0514-bef3-4e71-b6aa-f2edd6441cff" providerId="ADAL" clId="{D31C1DA5-1604-4CC4-8B1A-C1F148C6EC87}" dt="2021-03-13T03:34:35.517" v="32" actId="9405"/>
        <pc:sldMkLst>
          <pc:docMk/>
          <pc:sldMk cId="4003175818" sldId="275"/>
        </pc:sldMkLst>
        <pc:grpChg chg="mod">
          <ac:chgData name="Aniket Chhabra" userId="598e0514-bef3-4e71-b6aa-f2edd6441cff" providerId="ADAL" clId="{D31C1DA5-1604-4CC4-8B1A-C1F148C6EC87}" dt="2021-03-13T03:34:23.748" v="28"/>
          <ac:grpSpMkLst>
            <pc:docMk/>
            <pc:sldMk cId="4003175818" sldId="275"/>
            <ac:grpSpMk id="17" creationId="{04E7C032-7E4A-40AA-805E-A3658BE1848A}"/>
          </ac:grpSpMkLst>
        </pc:grpChg>
        <pc:inkChg chg="add">
          <ac:chgData name="Aniket Chhabra" userId="598e0514-bef3-4e71-b6aa-f2edd6441cff" providerId="ADAL" clId="{D31C1DA5-1604-4CC4-8B1A-C1F148C6EC87}" dt="2021-03-13T03:33:44.644" v="8" actId="9405"/>
          <ac:inkMkLst>
            <pc:docMk/>
            <pc:sldMk cId="4003175818" sldId="275"/>
            <ac:inkMk id="3" creationId="{DAD121A2-1F9C-418F-88A6-C11122FA618A}"/>
          </ac:inkMkLst>
        </pc:inkChg>
        <pc:inkChg chg="add del">
          <ac:chgData name="Aniket Chhabra" userId="598e0514-bef3-4e71-b6aa-f2edd6441cff" providerId="ADAL" clId="{D31C1DA5-1604-4CC4-8B1A-C1F148C6EC87}" dt="2021-03-13T03:34:05.936" v="20" actId="9405"/>
          <ac:inkMkLst>
            <pc:docMk/>
            <pc:sldMk cId="4003175818" sldId="275"/>
            <ac:inkMk id="4" creationId="{1B2EBCD8-B2BC-415B-8F1A-8B06494B4BC1}"/>
          </ac:inkMkLst>
        </pc:inkChg>
        <pc:inkChg chg="add del">
          <ac:chgData name="Aniket Chhabra" userId="598e0514-bef3-4e71-b6aa-f2edd6441cff" providerId="ADAL" clId="{D31C1DA5-1604-4CC4-8B1A-C1F148C6EC87}" dt="2021-03-13T03:34:05.490" v="19" actId="9405"/>
          <ac:inkMkLst>
            <pc:docMk/>
            <pc:sldMk cId="4003175818" sldId="275"/>
            <ac:inkMk id="5" creationId="{22274157-3EF1-4FE9-8D89-59DE0FE8E7C4}"/>
          </ac:inkMkLst>
        </pc:inkChg>
        <pc:inkChg chg="add del">
          <ac:chgData name="Aniket Chhabra" userId="598e0514-bef3-4e71-b6aa-f2edd6441cff" providerId="ADAL" clId="{D31C1DA5-1604-4CC4-8B1A-C1F148C6EC87}" dt="2021-03-13T03:33:58.501" v="12" actId="9405"/>
          <ac:inkMkLst>
            <pc:docMk/>
            <pc:sldMk cId="4003175818" sldId="275"/>
            <ac:inkMk id="6" creationId="{17DDFD54-8EC6-48FB-998A-A71FD24B59A9}"/>
          </ac:inkMkLst>
        </pc:inkChg>
        <pc:inkChg chg="add del">
          <ac:chgData name="Aniket Chhabra" userId="598e0514-bef3-4e71-b6aa-f2edd6441cff" providerId="ADAL" clId="{D31C1DA5-1604-4CC4-8B1A-C1F148C6EC87}" dt="2021-03-13T03:34:05.153" v="18" actId="9405"/>
          <ac:inkMkLst>
            <pc:docMk/>
            <pc:sldMk cId="4003175818" sldId="275"/>
            <ac:inkMk id="7" creationId="{01C53557-A769-4240-AF73-18BDB3ACDF80}"/>
          </ac:inkMkLst>
        </pc:inkChg>
        <pc:inkChg chg="add del">
          <ac:chgData name="Aniket Chhabra" userId="598e0514-bef3-4e71-b6aa-f2edd6441cff" providerId="ADAL" clId="{D31C1DA5-1604-4CC4-8B1A-C1F148C6EC87}" dt="2021-03-13T03:34:04.680" v="17" actId="9405"/>
          <ac:inkMkLst>
            <pc:docMk/>
            <pc:sldMk cId="4003175818" sldId="275"/>
            <ac:inkMk id="8" creationId="{768A34B4-F925-447E-A85A-EDF00B97E7CA}"/>
          </ac:inkMkLst>
        </pc:inkChg>
        <pc:inkChg chg="add del">
          <ac:chgData name="Aniket Chhabra" userId="598e0514-bef3-4e71-b6aa-f2edd6441cff" providerId="ADAL" clId="{D31C1DA5-1604-4CC4-8B1A-C1F148C6EC87}" dt="2021-03-13T03:34:04.270" v="16" actId="9405"/>
          <ac:inkMkLst>
            <pc:docMk/>
            <pc:sldMk cId="4003175818" sldId="275"/>
            <ac:inkMk id="9" creationId="{1F478B85-21A8-4F40-9352-EC1A18EEE88A}"/>
          </ac:inkMkLst>
        </pc:inkChg>
        <pc:inkChg chg="add">
          <ac:chgData name="Aniket Chhabra" userId="598e0514-bef3-4e71-b6aa-f2edd6441cff" providerId="ADAL" clId="{D31C1DA5-1604-4CC4-8B1A-C1F148C6EC87}" dt="2021-03-13T03:34:12.106" v="21" actId="9405"/>
          <ac:inkMkLst>
            <pc:docMk/>
            <pc:sldMk cId="4003175818" sldId="275"/>
            <ac:inkMk id="10" creationId="{92842947-196F-44CA-B291-7768610BB5A9}"/>
          </ac:inkMkLst>
        </pc:inkChg>
        <pc:inkChg chg="add">
          <ac:chgData name="Aniket Chhabra" userId="598e0514-bef3-4e71-b6aa-f2edd6441cff" providerId="ADAL" clId="{D31C1DA5-1604-4CC4-8B1A-C1F148C6EC87}" dt="2021-03-13T03:34:13.426" v="22" actId="9405"/>
          <ac:inkMkLst>
            <pc:docMk/>
            <pc:sldMk cId="4003175818" sldId="275"/>
            <ac:inkMk id="11" creationId="{0376421B-D3EB-44EA-AB5E-14FC48E0113A}"/>
          </ac:inkMkLst>
        </pc:inkChg>
        <pc:inkChg chg="add del">
          <ac:chgData name="Aniket Chhabra" userId="598e0514-bef3-4e71-b6aa-f2edd6441cff" providerId="ADAL" clId="{D31C1DA5-1604-4CC4-8B1A-C1F148C6EC87}" dt="2021-03-13T03:34:16.457" v="24" actId="9405"/>
          <ac:inkMkLst>
            <pc:docMk/>
            <pc:sldMk cId="4003175818" sldId="275"/>
            <ac:inkMk id="12" creationId="{681DFAA3-CDA4-4CB3-8CCD-3BECE6042AB6}"/>
          </ac:inkMkLst>
        </pc:inkChg>
        <pc:inkChg chg="add">
          <ac:chgData name="Aniket Chhabra" userId="598e0514-bef3-4e71-b6aa-f2edd6441cff" providerId="ADAL" clId="{D31C1DA5-1604-4CC4-8B1A-C1F148C6EC87}" dt="2021-03-13T03:34:20.771" v="25" actId="9405"/>
          <ac:inkMkLst>
            <pc:docMk/>
            <pc:sldMk cId="4003175818" sldId="275"/>
            <ac:inkMk id="13" creationId="{9DDB6638-629A-4E4C-93CD-3EF6D16F6073}"/>
          </ac:inkMkLst>
        </pc:inkChg>
        <pc:inkChg chg="add mod">
          <ac:chgData name="Aniket Chhabra" userId="598e0514-bef3-4e71-b6aa-f2edd6441cff" providerId="ADAL" clId="{D31C1DA5-1604-4CC4-8B1A-C1F148C6EC87}" dt="2021-03-13T03:34:23.748" v="28"/>
          <ac:inkMkLst>
            <pc:docMk/>
            <pc:sldMk cId="4003175818" sldId="275"/>
            <ac:inkMk id="15" creationId="{10C866D1-F901-4679-A0C6-9D2FC57A76DC}"/>
          </ac:inkMkLst>
        </pc:inkChg>
        <pc:inkChg chg="add mod">
          <ac:chgData name="Aniket Chhabra" userId="598e0514-bef3-4e71-b6aa-f2edd6441cff" providerId="ADAL" clId="{D31C1DA5-1604-4CC4-8B1A-C1F148C6EC87}" dt="2021-03-13T03:34:23.748" v="28"/>
          <ac:inkMkLst>
            <pc:docMk/>
            <pc:sldMk cId="4003175818" sldId="275"/>
            <ac:inkMk id="16" creationId="{16B25B7A-BEC7-425E-8A7B-8F19F9BBBA05}"/>
          </ac:inkMkLst>
        </pc:inkChg>
        <pc:inkChg chg="add">
          <ac:chgData name="Aniket Chhabra" userId="598e0514-bef3-4e71-b6aa-f2edd6441cff" providerId="ADAL" clId="{D31C1DA5-1604-4CC4-8B1A-C1F148C6EC87}" dt="2021-03-13T03:34:31.604" v="29" actId="9405"/>
          <ac:inkMkLst>
            <pc:docMk/>
            <pc:sldMk cId="4003175818" sldId="275"/>
            <ac:inkMk id="18" creationId="{BD12E2E8-28C1-4EDD-BF9E-3C57A8E3BF40}"/>
          </ac:inkMkLst>
        </pc:inkChg>
        <pc:inkChg chg="add">
          <ac:chgData name="Aniket Chhabra" userId="598e0514-bef3-4e71-b6aa-f2edd6441cff" providerId="ADAL" clId="{D31C1DA5-1604-4CC4-8B1A-C1F148C6EC87}" dt="2021-03-13T03:34:33.387" v="30" actId="9405"/>
          <ac:inkMkLst>
            <pc:docMk/>
            <pc:sldMk cId="4003175818" sldId="275"/>
            <ac:inkMk id="19" creationId="{8509BCD6-FB25-41D9-819C-164AA7A2D02B}"/>
          </ac:inkMkLst>
        </pc:inkChg>
        <pc:inkChg chg="add del">
          <ac:chgData name="Aniket Chhabra" userId="598e0514-bef3-4e71-b6aa-f2edd6441cff" providerId="ADAL" clId="{D31C1DA5-1604-4CC4-8B1A-C1F148C6EC87}" dt="2021-03-13T03:34:35.517" v="32" actId="9405"/>
          <ac:inkMkLst>
            <pc:docMk/>
            <pc:sldMk cId="4003175818" sldId="275"/>
            <ac:inkMk id="20" creationId="{E19C7351-6131-46BB-AF8C-E15E8519924F}"/>
          </ac:inkMkLst>
        </pc:inkChg>
      </pc:sldChg>
      <pc:sldChg chg="modSp">
        <pc:chgData name="Aniket Chhabra" userId="598e0514-bef3-4e71-b6aa-f2edd6441cff" providerId="ADAL" clId="{D31C1DA5-1604-4CC4-8B1A-C1F148C6EC87}" dt="2021-03-13T06:11:15.017" v="60" actId="1035"/>
        <pc:sldMkLst>
          <pc:docMk/>
          <pc:sldMk cId="727025018" sldId="277"/>
        </pc:sldMkLst>
        <pc:picChg chg="mod">
          <ac:chgData name="Aniket Chhabra" userId="598e0514-bef3-4e71-b6aa-f2edd6441cff" providerId="ADAL" clId="{D31C1DA5-1604-4CC4-8B1A-C1F148C6EC87}" dt="2021-03-13T06:11:15.017" v="60" actId="1035"/>
          <ac:picMkLst>
            <pc:docMk/>
            <pc:sldMk cId="727025018" sldId="277"/>
            <ac:picMk id="4" creationId="{EA06CFB7-547E-4721-9C34-FBCD25B94B3B}"/>
          </ac:picMkLst>
        </pc:picChg>
      </pc:sldChg>
    </pc:docChg>
  </pc:docChgLst>
  <pc:docChgLst>
    <pc:chgData name="Aniket Chhabra" userId="598e0514-bef3-4e71-b6aa-f2edd6441cff" providerId="ADAL" clId="{A7CBF834-8346-4C1E-9628-5C7A1CBD8A83}"/>
    <pc:docChg chg="undo custSel addSld delSld modSld sldOrd modSection">
      <pc:chgData name="Aniket Chhabra" userId="598e0514-bef3-4e71-b6aa-f2edd6441cff" providerId="ADAL" clId="{A7CBF834-8346-4C1E-9628-5C7A1CBD8A83}" dt="2022-04-09T02:51:28.571" v="3612" actId="47"/>
      <pc:docMkLst>
        <pc:docMk/>
      </pc:docMkLst>
      <pc:sldChg chg="addSp">
        <pc:chgData name="Aniket Chhabra" userId="598e0514-bef3-4e71-b6aa-f2edd6441cff" providerId="ADAL" clId="{A7CBF834-8346-4C1E-9628-5C7A1CBD8A83}" dt="2022-01-16T05:21:38.553" v="3603"/>
        <pc:sldMkLst>
          <pc:docMk/>
          <pc:sldMk cId="302558819" sldId="281"/>
        </pc:sldMkLst>
        <pc:inkChg chg="add">
          <ac:chgData name="Aniket Chhabra" userId="598e0514-bef3-4e71-b6aa-f2edd6441cff" providerId="ADAL" clId="{A7CBF834-8346-4C1E-9628-5C7A1CBD8A83}" dt="2021-12-19T04:52:31.167" v="3582"/>
          <ac:inkMkLst>
            <pc:docMk/>
            <pc:sldMk cId="302558819" sldId="281"/>
            <ac:inkMk id="3" creationId="{57EC5420-67E8-4384-A702-2E9E6CC6B85B}"/>
          </ac:inkMkLst>
        </pc:inkChg>
        <pc:inkChg chg="add">
          <ac:chgData name="Aniket Chhabra" userId="598e0514-bef3-4e71-b6aa-f2edd6441cff" providerId="ADAL" clId="{A7CBF834-8346-4C1E-9628-5C7A1CBD8A83}" dt="2022-01-16T05:21:38.553" v="3603"/>
          <ac:inkMkLst>
            <pc:docMk/>
            <pc:sldMk cId="302558819" sldId="281"/>
            <ac:inkMk id="4" creationId="{28D345D5-1264-40E3-B0ED-CD3EDEBC5793}"/>
          </ac:inkMkLst>
        </pc:inkChg>
      </pc:sldChg>
      <pc:sldChg chg="addSp">
        <pc:chgData name="Aniket Chhabra" userId="598e0514-bef3-4e71-b6aa-f2edd6441cff" providerId="ADAL" clId="{A7CBF834-8346-4C1E-9628-5C7A1CBD8A83}" dt="2021-12-19T05:32:13.387" v="3583"/>
        <pc:sldMkLst>
          <pc:docMk/>
          <pc:sldMk cId="1702735194" sldId="282"/>
        </pc:sldMkLst>
        <pc:inkChg chg="add">
          <ac:chgData name="Aniket Chhabra" userId="598e0514-bef3-4e71-b6aa-f2edd6441cff" providerId="ADAL" clId="{A7CBF834-8346-4C1E-9628-5C7A1CBD8A83}" dt="2021-12-19T05:32:13.387" v="3583"/>
          <ac:inkMkLst>
            <pc:docMk/>
            <pc:sldMk cId="1702735194" sldId="282"/>
            <ac:inkMk id="3" creationId="{E7BAD9E4-60A9-4448-8144-13EF0E39CCDA}"/>
          </ac:inkMkLst>
        </pc:inkChg>
      </pc:sldChg>
      <pc:sldChg chg="addSp modSp">
        <pc:chgData name="Aniket Chhabra" userId="598e0514-bef3-4e71-b6aa-f2edd6441cff" providerId="ADAL" clId="{A7CBF834-8346-4C1E-9628-5C7A1CBD8A83}" dt="2022-01-09T07:49:36.915" v="3601"/>
        <pc:sldMkLst>
          <pc:docMk/>
          <pc:sldMk cId="1370836176" sldId="285"/>
        </pc:sldMkLst>
        <pc:inkChg chg="add mod">
          <ac:chgData name="Aniket Chhabra" userId="598e0514-bef3-4e71-b6aa-f2edd6441cff" providerId="ADAL" clId="{A7CBF834-8346-4C1E-9628-5C7A1CBD8A83}" dt="2022-01-09T07:49:36.915" v="3601"/>
          <ac:inkMkLst>
            <pc:docMk/>
            <pc:sldMk cId="1370836176" sldId="285"/>
            <ac:inkMk id="3" creationId="{A38B737F-4F53-43D3-9789-7B2C3BEFAE37}"/>
          </ac:inkMkLst>
        </pc:inkChg>
      </pc:sldChg>
      <pc:sldChg chg="addSp modSp">
        <pc:chgData name="Aniket Chhabra" userId="598e0514-bef3-4e71-b6aa-f2edd6441cff" providerId="ADAL" clId="{A7CBF834-8346-4C1E-9628-5C7A1CBD8A83}" dt="2022-01-30T05:18:30.462" v="3609"/>
        <pc:sldMkLst>
          <pc:docMk/>
          <pc:sldMk cId="3090271849" sldId="287"/>
        </pc:sldMkLst>
        <pc:inkChg chg="add mod">
          <ac:chgData name="Aniket Chhabra" userId="598e0514-bef3-4e71-b6aa-f2edd6441cff" providerId="ADAL" clId="{A7CBF834-8346-4C1E-9628-5C7A1CBD8A83}" dt="2022-01-30T05:18:30.462" v="3609"/>
          <ac:inkMkLst>
            <pc:docMk/>
            <pc:sldMk cId="3090271849" sldId="287"/>
            <ac:inkMk id="3" creationId="{FB099F15-5859-41F4-919E-85B46CC4566A}"/>
          </ac:inkMkLst>
        </pc:inkChg>
        <pc:inkChg chg="add mod">
          <ac:chgData name="Aniket Chhabra" userId="598e0514-bef3-4e71-b6aa-f2edd6441cff" providerId="ADAL" clId="{A7CBF834-8346-4C1E-9628-5C7A1CBD8A83}" dt="2022-01-30T05:18:30.460" v="3607"/>
          <ac:inkMkLst>
            <pc:docMk/>
            <pc:sldMk cId="3090271849" sldId="287"/>
            <ac:inkMk id="5" creationId="{39C4B4CB-475D-4577-8D4C-1E631B792AB1}"/>
          </ac:inkMkLst>
        </pc:inkChg>
        <pc:inkChg chg="add">
          <ac:chgData name="Aniket Chhabra" userId="598e0514-bef3-4e71-b6aa-f2edd6441cff" providerId="ADAL" clId="{A7CBF834-8346-4C1E-9628-5C7A1CBD8A83}" dt="2022-01-16T05:21:38.553" v="3603"/>
          <ac:inkMkLst>
            <pc:docMk/>
            <pc:sldMk cId="3090271849" sldId="287"/>
            <ac:inkMk id="7" creationId="{555A77E7-6DC1-49C3-AA49-9CD9EBF7A5EB}"/>
          </ac:inkMkLst>
        </pc:inkChg>
        <pc:inkChg chg="add mod">
          <ac:chgData name="Aniket Chhabra" userId="598e0514-bef3-4e71-b6aa-f2edd6441cff" providerId="ADAL" clId="{A7CBF834-8346-4C1E-9628-5C7A1CBD8A83}" dt="2022-01-30T05:18:30.457" v="3606"/>
          <ac:inkMkLst>
            <pc:docMk/>
            <pc:sldMk cId="3090271849" sldId="287"/>
            <ac:inkMk id="8" creationId="{57FEE3E4-8698-465E-A216-EFBC35F62B64}"/>
          </ac:inkMkLst>
        </pc:inkChg>
        <pc:inkChg chg="add mod">
          <ac:chgData name="Aniket Chhabra" userId="598e0514-bef3-4e71-b6aa-f2edd6441cff" providerId="ADAL" clId="{A7CBF834-8346-4C1E-9628-5C7A1CBD8A83}" dt="2022-01-30T05:18:30.461" v="3608"/>
          <ac:inkMkLst>
            <pc:docMk/>
            <pc:sldMk cId="3090271849" sldId="287"/>
            <ac:inkMk id="9" creationId="{BFCE0D6D-0FE0-492F-B186-0A467E584764}"/>
          </ac:inkMkLst>
        </pc:inkChg>
      </pc:sldChg>
      <pc:sldChg chg="del">
        <pc:chgData name="Aniket Chhabra" userId="598e0514-bef3-4e71-b6aa-f2edd6441cff" providerId="ADAL" clId="{A7CBF834-8346-4C1E-9628-5C7A1CBD8A83}" dt="2021-12-19T02:14:39.019" v="3539" actId="2696"/>
        <pc:sldMkLst>
          <pc:docMk/>
          <pc:sldMk cId="1222013260" sldId="291"/>
        </pc:sldMkLst>
      </pc:sldChg>
      <pc:sldChg chg="add">
        <pc:chgData name="Aniket Chhabra" userId="598e0514-bef3-4e71-b6aa-f2edd6441cff" providerId="ADAL" clId="{A7CBF834-8346-4C1E-9628-5C7A1CBD8A83}" dt="2021-12-19T02:14:44.496" v="3540"/>
        <pc:sldMkLst>
          <pc:docMk/>
          <pc:sldMk cId="4233247021" sldId="291"/>
        </pc:sldMkLst>
      </pc:sldChg>
      <pc:sldChg chg="addSp modSp mod ord">
        <pc:chgData name="Aniket Chhabra" userId="598e0514-bef3-4e71-b6aa-f2edd6441cff" providerId="ADAL" clId="{A7CBF834-8346-4C1E-9628-5C7A1CBD8A83}" dt="2022-01-16T05:21:38.553" v="3603"/>
        <pc:sldMkLst>
          <pc:docMk/>
          <pc:sldMk cId="3979036142" sldId="296"/>
        </pc:sldMkLst>
        <pc:spChg chg="add mod">
          <ac:chgData name="Aniket Chhabra" userId="598e0514-bef3-4e71-b6aa-f2edd6441cff" providerId="ADAL" clId="{A7CBF834-8346-4C1E-9628-5C7A1CBD8A83}" dt="2021-12-19T13:52:25.028" v="3588" actId="164"/>
          <ac:spMkLst>
            <pc:docMk/>
            <pc:sldMk cId="3979036142" sldId="296"/>
            <ac:spMk id="3" creationId="{04743113-6161-49DF-A1F3-FC524CF5C6F2}"/>
          </ac:spMkLst>
        </pc:spChg>
        <pc:grpChg chg="add mod">
          <ac:chgData name="Aniket Chhabra" userId="598e0514-bef3-4e71-b6aa-f2edd6441cff" providerId="ADAL" clId="{A7CBF834-8346-4C1E-9628-5C7A1CBD8A83}" dt="2021-12-19T13:52:25.028" v="3588" actId="164"/>
          <ac:grpSpMkLst>
            <pc:docMk/>
            <pc:sldMk cId="3979036142" sldId="296"/>
            <ac:grpSpMk id="5" creationId="{4AF16A04-4245-4B4A-9B13-E3FA385C1AEF}"/>
          </ac:grpSpMkLst>
        </pc:grpChg>
        <pc:picChg chg="mod">
          <ac:chgData name="Aniket Chhabra" userId="598e0514-bef3-4e71-b6aa-f2edd6441cff" providerId="ADAL" clId="{A7CBF834-8346-4C1E-9628-5C7A1CBD8A83}" dt="2021-12-19T13:52:25.028" v="3588" actId="164"/>
          <ac:picMkLst>
            <pc:docMk/>
            <pc:sldMk cId="3979036142" sldId="296"/>
            <ac:picMk id="8" creationId="{102A22C9-DD19-486B-BA2F-16F18D098BF7}"/>
          </ac:picMkLst>
        </pc:picChg>
        <pc:inkChg chg="add">
          <ac:chgData name="Aniket Chhabra" userId="598e0514-bef3-4e71-b6aa-f2edd6441cff" providerId="ADAL" clId="{A7CBF834-8346-4C1E-9628-5C7A1CBD8A83}" dt="2021-12-19T04:52:31.167" v="3582"/>
          <ac:inkMkLst>
            <pc:docMk/>
            <pc:sldMk cId="3979036142" sldId="296"/>
            <ac:inkMk id="2" creationId="{ADD3008A-429B-457F-B360-90445128F13D}"/>
          </ac:inkMkLst>
        </pc:inkChg>
        <pc:inkChg chg="add">
          <ac:chgData name="Aniket Chhabra" userId="598e0514-bef3-4e71-b6aa-f2edd6441cff" providerId="ADAL" clId="{A7CBF834-8346-4C1E-9628-5C7A1CBD8A83}" dt="2022-01-16T05:21:38.553" v="3603"/>
          <ac:inkMkLst>
            <pc:docMk/>
            <pc:sldMk cId="3979036142" sldId="296"/>
            <ac:inkMk id="6" creationId="{D662D8C6-9101-48CC-80F4-B70B568C2429}"/>
          </ac:inkMkLst>
        </pc:inkChg>
      </pc:sldChg>
      <pc:sldChg chg="addSp delSp modSp mod">
        <pc:chgData name="Aniket Chhabra" userId="598e0514-bef3-4e71-b6aa-f2edd6441cff" providerId="ADAL" clId="{A7CBF834-8346-4C1E-9628-5C7A1CBD8A83}" dt="2022-01-16T05:21:38.553" v="3603"/>
        <pc:sldMkLst>
          <pc:docMk/>
          <pc:sldMk cId="2888229444" sldId="297"/>
        </pc:sldMkLst>
        <pc:spChg chg="add del mod">
          <ac:chgData name="Aniket Chhabra" userId="598e0514-bef3-4e71-b6aa-f2edd6441cff" providerId="ADAL" clId="{A7CBF834-8346-4C1E-9628-5C7A1CBD8A83}" dt="2022-01-09T07:46:46.921" v="3597" actId="478"/>
          <ac:spMkLst>
            <pc:docMk/>
            <pc:sldMk cId="2888229444" sldId="297"/>
            <ac:spMk id="6" creationId="{2888FCF2-0528-4FC9-8DF3-C90EB79D1E9B}"/>
          </ac:spMkLst>
        </pc:spChg>
        <pc:inkChg chg="add mod">
          <ac:chgData name="Aniket Chhabra" userId="598e0514-bef3-4e71-b6aa-f2edd6441cff" providerId="ADAL" clId="{A7CBF834-8346-4C1E-9628-5C7A1CBD8A83}" dt="2022-01-09T07:46:41.641" v="3595"/>
          <ac:inkMkLst>
            <pc:docMk/>
            <pc:sldMk cId="2888229444" sldId="297"/>
            <ac:inkMk id="4" creationId="{A9B2A246-8798-42D8-95A0-B4EFB800EE64}"/>
          </ac:inkMkLst>
        </pc:inkChg>
        <pc:inkChg chg="add">
          <ac:chgData name="Aniket Chhabra" userId="598e0514-bef3-4e71-b6aa-f2edd6441cff" providerId="ADAL" clId="{A7CBF834-8346-4C1E-9628-5C7A1CBD8A83}" dt="2022-01-09T07:46:19.673" v="3591" actId="9405"/>
          <ac:inkMkLst>
            <pc:docMk/>
            <pc:sldMk cId="2888229444" sldId="297"/>
            <ac:inkMk id="5" creationId="{4138F492-0E3C-4093-A84F-07B56FE2379E}"/>
          </ac:inkMkLst>
        </pc:inkChg>
        <pc:inkChg chg="add">
          <ac:chgData name="Aniket Chhabra" userId="598e0514-bef3-4e71-b6aa-f2edd6441cff" providerId="ADAL" clId="{A7CBF834-8346-4C1E-9628-5C7A1CBD8A83}" dt="2022-01-16T05:21:38.553" v="3603"/>
          <ac:inkMkLst>
            <pc:docMk/>
            <pc:sldMk cId="2888229444" sldId="297"/>
            <ac:inkMk id="8" creationId="{D2AF157B-4EED-453A-A6C4-AC7C1D1D76FF}"/>
          </ac:inkMkLst>
        </pc:inkChg>
      </pc:sldChg>
      <pc:sldChg chg="addSp delSp modSp new add mod">
        <pc:chgData name="Aniket Chhabra" userId="598e0514-bef3-4e71-b6aa-f2edd6441cff" providerId="ADAL" clId="{A7CBF834-8346-4C1E-9628-5C7A1CBD8A83}" dt="2021-10-01T04:40:08.576" v="460"/>
        <pc:sldMkLst>
          <pc:docMk/>
          <pc:sldMk cId="976965389" sldId="300"/>
        </pc:sldMkLst>
        <pc:spChg chg="del">
          <ac:chgData name="Aniket Chhabra" userId="598e0514-bef3-4e71-b6aa-f2edd6441cff" providerId="ADAL" clId="{A7CBF834-8346-4C1E-9628-5C7A1CBD8A83}" dt="2021-10-01T04:39:39.511" v="2" actId="478"/>
          <ac:spMkLst>
            <pc:docMk/>
            <pc:sldMk cId="976965389" sldId="300"/>
            <ac:spMk id="2" creationId="{05D0A4DC-5849-43EF-871E-B379D13FBADE}"/>
          </ac:spMkLst>
        </pc:spChg>
        <pc:spChg chg="del">
          <ac:chgData name="Aniket Chhabra" userId="598e0514-bef3-4e71-b6aa-f2edd6441cff" providerId="ADAL" clId="{A7CBF834-8346-4C1E-9628-5C7A1CBD8A83}" dt="2021-10-01T04:39:39.511" v="2" actId="478"/>
          <ac:spMkLst>
            <pc:docMk/>
            <pc:sldMk cId="976965389" sldId="300"/>
            <ac:spMk id="3" creationId="{5FBFEB86-0FCC-410D-93E2-ED013660DDBE}"/>
          </ac:spMkLst>
        </pc:spChg>
        <pc:spChg chg="add mod">
          <ac:chgData name="Aniket Chhabra" userId="598e0514-bef3-4e71-b6aa-f2edd6441cff" providerId="ADAL" clId="{A7CBF834-8346-4C1E-9628-5C7A1CBD8A83}" dt="2021-10-01T04:40:08.514" v="419" actId="948"/>
          <ac:spMkLst>
            <pc:docMk/>
            <pc:sldMk cId="976965389" sldId="300"/>
            <ac:spMk id="5" creationId="{EFF2C521-6050-4E7E-9FF1-AA7CBDA15760}"/>
          </ac:spMkLst>
        </pc:spChg>
        <pc:spChg chg="add del mod modVis">
          <ac:chgData name="Aniket Chhabra" userId="598e0514-bef3-4e71-b6aa-f2edd6441cff" providerId="ADAL" clId="{A7CBF834-8346-4C1E-9628-5C7A1CBD8A83}" dt="2021-10-01T04:39:51.939" v="72"/>
          <ac:spMkLst>
            <pc:docMk/>
            <pc:sldMk cId="976965389" sldId="300"/>
            <ac:spMk id="6" creationId="{1A1DD42D-0B6D-4DE0-90E8-48B8C4107B1A}"/>
          </ac:spMkLst>
        </pc:spChg>
        <pc:spChg chg="add del mod modVis">
          <ac:chgData name="Aniket Chhabra" userId="598e0514-bef3-4e71-b6aa-f2edd6441cff" providerId="ADAL" clId="{A7CBF834-8346-4C1E-9628-5C7A1CBD8A83}" dt="2021-10-01T04:39:53.750" v="130"/>
          <ac:spMkLst>
            <pc:docMk/>
            <pc:sldMk cId="976965389" sldId="300"/>
            <ac:spMk id="7" creationId="{E95BDB6D-7827-46A0-81E3-B042AE44F3A8}"/>
          </ac:spMkLst>
        </pc:spChg>
        <pc:spChg chg="add del mod modVis">
          <ac:chgData name="Aniket Chhabra" userId="598e0514-bef3-4e71-b6aa-f2edd6441cff" providerId="ADAL" clId="{A7CBF834-8346-4C1E-9628-5C7A1CBD8A83}" dt="2021-10-01T04:39:58.598" v="186"/>
          <ac:spMkLst>
            <pc:docMk/>
            <pc:sldMk cId="976965389" sldId="300"/>
            <ac:spMk id="8" creationId="{E7A6FC93-D105-43C2-B90D-7728EF0B8F92}"/>
          </ac:spMkLst>
        </pc:spChg>
        <pc:spChg chg="add del mod modVis">
          <ac:chgData name="Aniket Chhabra" userId="598e0514-bef3-4e71-b6aa-f2edd6441cff" providerId="ADAL" clId="{A7CBF834-8346-4C1E-9628-5C7A1CBD8A83}" dt="2021-10-01T04:40:00.007" v="236"/>
          <ac:spMkLst>
            <pc:docMk/>
            <pc:sldMk cId="976965389" sldId="300"/>
            <ac:spMk id="9" creationId="{7F9EC447-E6B6-4518-996F-08C2A5A602E7}"/>
          </ac:spMkLst>
        </pc:spChg>
        <pc:spChg chg="add del mod modVis">
          <ac:chgData name="Aniket Chhabra" userId="598e0514-bef3-4e71-b6aa-f2edd6441cff" providerId="ADAL" clId="{A7CBF834-8346-4C1E-9628-5C7A1CBD8A83}" dt="2021-10-01T04:40:01.998" v="285"/>
          <ac:spMkLst>
            <pc:docMk/>
            <pc:sldMk cId="976965389" sldId="300"/>
            <ac:spMk id="10" creationId="{BDC0FE1F-737E-464E-8600-B8DFE32FA853}"/>
          </ac:spMkLst>
        </pc:spChg>
        <pc:spChg chg="add del mod modVis">
          <ac:chgData name="Aniket Chhabra" userId="598e0514-bef3-4e71-b6aa-f2edd6441cff" providerId="ADAL" clId="{A7CBF834-8346-4C1E-9628-5C7A1CBD8A83}" dt="2021-10-01T04:40:02.724" v="329"/>
          <ac:spMkLst>
            <pc:docMk/>
            <pc:sldMk cId="976965389" sldId="300"/>
            <ac:spMk id="11" creationId="{26E8F21E-518C-494B-8581-116371BA5133}"/>
          </ac:spMkLst>
        </pc:spChg>
        <pc:spChg chg="add del mod modVis">
          <ac:chgData name="Aniket Chhabra" userId="598e0514-bef3-4e71-b6aa-f2edd6441cff" providerId="ADAL" clId="{A7CBF834-8346-4C1E-9628-5C7A1CBD8A83}" dt="2021-10-01T04:40:04.650" v="372"/>
          <ac:spMkLst>
            <pc:docMk/>
            <pc:sldMk cId="976965389" sldId="300"/>
            <ac:spMk id="12" creationId="{F9514BAD-7DCA-4CD0-B903-53A8C8851C21}"/>
          </ac:spMkLst>
        </pc:spChg>
        <pc:spChg chg="add del mod modVis">
          <ac:chgData name="Aniket Chhabra" userId="598e0514-bef3-4e71-b6aa-f2edd6441cff" providerId="ADAL" clId="{A7CBF834-8346-4C1E-9628-5C7A1CBD8A83}" dt="2021-10-01T04:40:06.823" v="415"/>
          <ac:spMkLst>
            <pc:docMk/>
            <pc:sldMk cId="976965389" sldId="300"/>
            <ac:spMk id="13" creationId="{C2E8E6EB-6ACA-45B0-8FF3-A50FDB6506B7}"/>
          </ac:spMkLst>
        </pc:spChg>
        <pc:spChg chg="add del mod modVis">
          <ac:chgData name="Aniket Chhabra" userId="598e0514-bef3-4e71-b6aa-f2edd6441cff" providerId="ADAL" clId="{A7CBF834-8346-4C1E-9628-5C7A1CBD8A83}" dt="2021-10-01T04:40:08.572" v="458"/>
          <ac:spMkLst>
            <pc:docMk/>
            <pc:sldMk cId="976965389" sldId="300"/>
            <ac:spMk id="14" creationId="{5919DC77-A337-488D-A6A7-51B936090B2F}"/>
          </ac:spMkLst>
        </pc:spChg>
        <pc:graphicFrameChg chg="add mod modVis">
          <ac:chgData name="Aniket Chhabra" userId="598e0514-bef3-4e71-b6aa-f2edd6441cff" providerId="ADAL" clId="{A7CBF834-8346-4C1E-9628-5C7A1CBD8A83}" dt="2021-10-01T04:40:08.576" v="460"/>
          <ac:graphicFrameMkLst>
            <pc:docMk/>
            <pc:sldMk cId="976965389" sldId="300"/>
            <ac:graphicFrameMk id="4" creationId="{23A96EB0-7865-4C8D-AC52-FBD9A2A0F6E0}"/>
          </ac:graphicFrameMkLst>
        </pc:graphicFrameChg>
      </pc:sldChg>
      <pc:sldChg chg="addSp delSp modSp new add mod">
        <pc:chgData name="Aniket Chhabra" userId="598e0514-bef3-4e71-b6aa-f2edd6441cff" providerId="ADAL" clId="{A7CBF834-8346-4C1E-9628-5C7A1CBD8A83}" dt="2022-01-16T05:21:38.553" v="3603"/>
        <pc:sldMkLst>
          <pc:docMk/>
          <pc:sldMk cId="3478359748" sldId="301"/>
        </pc:sldMkLst>
        <pc:spChg chg="del">
          <ac:chgData name="Aniket Chhabra" userId="598e0514-bef3-4e71-b6aa-f2edd6441cff" providerId="ADAL" clId="{A7CBF834-8346-4C1E-9628-5C7A1CBD8A83}" dt="2021-10-01T04:40:13.725" v="463" actId="478"/>
          <ac:spMkLst>
            <pc:docMk/>
            <pc:sldMk cId="3478359748" sldId="301"/>
            <ac:spMk id="2" creationId="{77BCAB4D-0971-468B-8CC6-4332E91D7A65}"/>
          </ac:spMkLst>
        </pc:spChg>
        <pc:spChg chg="del">
          <ac:chgData name="Aniket Chhabra" userId="598e0514-bef3-4e71-b6aa-f2edd6441cff" providerId="ADAL" clId="{A7CBF834-8346-4C1E-9628-5C7A1CBD8A83}" dt="2021-10-01T04:40:13.725" v="463" actId="478"/>
          <ac:spMkLst>
            <pc:docMk/>
            <pc:sldMk cId="3478359748" sldId="301"/>
            <ac:spMk id="3" creationId="{CB0AB731-E02E-4FBA-AA03-C5A584A48CCA}"/>
          </ac:spMkLst>
        </pc:spChg>
        <pc:spChg chg="add mod">
          <ac:chgData name="Aniket Chhabra" userId="598e0514-bef3-4e71-b6aa-f2edd6441cff" providerId="ADAL" clId="{A7CBF834-8346-4C1E-9628-5C7A1CBD8A83}" dt="2021-10-01T04:42:27.264" v="1199" actId="948"/>
          <ac:spMkLst>
            <pc:docMk/>
            <pc:sldMk cId="3478359748" sldId="301"/>
            <ac:spMk id="5" creationId="{E41C1523-6375-452D-A4A9-4AF9F8AE12D4}"/>
          </ac:spMkLst>
        </pc:spChg>
        <pc:spChg chg="add del mod modVis">
          <ac:chgData name="Aniket Chhabra" userId="598e0514-bef3-4e71-b6aa-f2edd6441cff" providerId="ADAL" clId="{A7CBF834-8346-4C1E-9628-5C7A1CBD8A83}" dt="2021-10-01T04:42:06.137" v="533"/>
          <ac:spMkLst>
            <pc:docMk/>
            <pc:sldMk cId="3478359748" sldId="301"/>
            <ac:spMk id="6" creationId="{4C43ABB6-793B-4009-B989-26F5B54F5526}"/>
          </ac:spMkLst>
        </pc:spChg>
        <pc:spChg chg="add del mod modVis">
          <ac:chgData name="Aniket Chhabra" userId="598e0514-bef3-4e71-b6aa-f2edd6441cff" providerId="ADAL" clId="{A7CBF834-8346-4C1E-9628-5C7A1CBD8A83}" dt="2021-10-01T04:42:06.960" v="591"/>
          <ac:spMkLst>
            <pc:docMk/>
            <pc:sldMk cId="3478359748" sldId="301"/>
            <ac:spMk id="7" creationId="{64A1E1C1-A86F-47B1-A80A-EAC6E413DBD1}"/>
          </ac:spMkLst>
        </pc:spChg>
        <pc:spChg chg="add del mod modVis">
          <ac:chgData name="Aniket Chhabra" userId="598e0514-bef3-4e71-b6aa-f2edd6441cff" providerId="ADAL" clId="{A7CBF834-8346-4C1E-9628-5C7A1CBD8A83}" dt="2021-10-01T04:42:07.705" v="649"/>
          <ac:spMkLst>
            <pc:docMk/>
            <pc:sldMk cId="3478359748" sldId="301"/>
            <ac:spMk id="8" creationId="{771BEFBD-2F14-4DED-954A-C05A0140D920}"/>
          </ac:spMkLst>
        </pc:spChg>
        <pc:spChg chg="add del mod modVis">
          <ac:chgData name="Aniket Chhabra" userId="598e0514-bef3-4e71-b6aa-f2edd6441cff" providerId="ADAL" clId="{A7CBF834-8346-4C1E-9628-5C7A1CBD8A83}" dt="2021-10-01T04:42:09.113" v="709"/>
          <ac:spMkLst>
            <pc:docMk/>
            <pc:sldMk cId="3478359748" sldId="301"/>
            <ac:spMk id="9" creationId="{E1D449C5-4CF9-4F0C-A112-DBE2DBFC2955}"/>
          </ac:spMkLst>
        </pc:spChg>
        <pc:spChg chg="add del mod modVis">
          <ac:chgData name="Aniket Chhabra" userId="598e0514-bef3-4e71-b6aa-f2edd6441cff" providerId="ADAL" clId="{A7CBF834-8346-4C1E-9628-5C7A1CBD8A83}" dt="2021-10-01T04:42:10.082" v="768"/>
          <ac:spMkLst>
            <pc:docMk/>
            <pc:sldMk cId="3478359748" sldId="301"/>
            <ac:spMk id="10" creationId="{5DAB012B-35C6-4784-92F5-868CB7CE164B}"/>
          </ac:spMkLst>
        </pc:spChg>
        <pc:spChg chg="add del mod modVis">
          <ac:chgData name="Aniket Chhabra" userId="598e0514-bef3-4e71-b6aa-f2edd6441cff" providerId="ADAL" clId="{A7CBF834-8346-4C1E-9628-5C7A1CBD8A83}" dt="2021-10-01T04:42:12.352" v="811"/>
          <ac:spMkLst>
            <pc:docMk/>
            <pc:sldMk cId="3478359748" sldId="301"/>
            <ac:spMk id="11" creationId="{87A508DC-B6F7-4C8C-92FD-459CA7882096}"/>
          </ac:spMkLst>
        </pc:spChg>
        <pc:spChg chg="add del mod modVis">
          <ac:chgData name="Aniket Chhabra" userId="598e0514-bef3-4e71-b6aa-f2edd6441cff" providerId="ADAL" clId="{A7CBF834-8346-4C1E-9628-5C7A1CBD8A83}" dt="2021-10-01T04:42:13.187" v="855"/>
          <ac:spMkLst>
            <pc:docMk/>
            <pc:sldMk cId="3478359748" sldId="301"/>
            <ac:spMk id="12" creationId="{B7BDD72F-29DB-49B0-A1D4-877CAAEA163D}"/>
          </ac:spMkLst>
        </pc:spChg>
        <pc:spChg chg="add del mod modVis">
          <ac:chgData name="Aniket Chhabra" userId="598e0514-bef3-4e71-b6aa-f2edd6441cff" providerId="ADAL" clId="{A7CBF834-8346-4C1E-9628-5C7A1CBD8A83}" dt="2021-10-01T04:42:13.781" v="898"/>
          <ac:spMkLst>
            <pc:docMk/>
            <pc:sldMk cId="3478359748" sldId="301"/>
            <ac:spMk id="13" creationId="{9147F433-D653-47C1-A6BC-5C64D8EE56D4}"/>
          </ac:spMkLst>
        </pc:spChg>
        <pc:spChg chg="add del mod modVis">
          <ac:chgData name="Aniket Chhabra" userId="598e0514-bef3-4e71-b6aa-f2edd6441cff" providerId="ADAL" clId="{A7CBF834-8346-4C1E-9628-5C7A1CBD8A83}" dt="2021-10-01T04:42:14.707" v="943"/>
          <ac:spMkLst>
            <pc:docMk/>
            <pc:sldMk cId="3478359748" sldId="301"/>
            <ac:spMk id="14" creationId="{05B25AE0-A642-4C92-91A1-8A06E4E6A25B}"/>
          </ac:spMkLst>
        </pc:spChg>
        <pc:spChg chg="add del mod modVis">
          <ac:chgData name="Aniket Chhabra" userId="598e0514-bef3-4e71-b6aa-f2edd6441cff" providerId="ADAL" clId="{A7CBF834-8346-4C1E-9628-5C7A1CBD8A83}" dt="2021-10-01T04:42:15.683" v="1003"/>
          <ac:spMkLst>
            <pc:docMk/>
            <pc:sldMk cId="3478359748" sldId="301"/>
            <ac:spMk id="15" creationId="{2319D62B-836D-496A-9191-27FD5508D230}"/>
          </ac:spMkLst>
        </pc:spChg>
        <pc:spChg chg="add del mod modVis">
          <ac:chgData name="Aniket Chhabra" userId="598e0514-bef3-4e71-b6aa-f2edd6441cff" providerId="ADAL" clId="{A7CBF834-8346-4C1E-9628-5C7A1CBD8A83}" dt="2021-10-01T04:42:19.885" v="1061"/>
          <ac:spMkLst>
            <pc:docMk/>
            <pc:sldMk cId="3478359748" sldId="301"/>
            <ac:spMk id="16" creationId="{1CCAAF63-AD31-4AE2-9DFC-A8F4BCD87142}"/>
          </ac:spMkLst>
        </pc:spChg>
        <pc:spChg chg="add del mod modVis">
          <ac:chgData name="Aniket Chhabra" userId="598e0514-bef3-4e71-b6aa-f2edd6441cff" providerId="ADAL" clId="{A7CBF834-8346-4C1E-9628-5C7A1CBD8A83}" dt="2021-10-01T04:42:21.244" v="1121"/>
          <ac:spMkLst>
            <pc:docMk/>
            <pc:sldMk cId="3478359748" sldId="301"/>
            <ac:spMk id="17" creationId="{5186F4D4-0CBF-4C53-88B8-EFC1EB29C2D0}"/>
          </ac:spMkLst>
        </pc:spChg>
        <pc:spChg chg="add del mod modVis">
          <ac:chgData name="Aniket Chhabra" userId="598e0514-bef3-4e71-b6aa-f2edd6441cff" providerId="ADAL" clId="{A7CBF834-8346-4C1E-9628-5C7A1CBD8A83}" dt="2021-10-01T04:42:23.421" v="1179"/>
          <ac:spMkLst>
            <pc:docMk/>
            <pc:sldMk cId="3478359748" sldId="301"/>
            <ac:spMk id="18" creationId="{0C9CC5DC-14AD-4DAD-8288-251275F9D1C1}"/>
          </ac:spMkLst>
        </pc:spChg>
        <pc:spChg chg="add del mod modVis">
          <ac:chgData name="Aniket Chhabra" userId="598e0514-bef3-4e71-b6aa-f2edd6441cff" providerId="ADAL" clId="{A7CBF834-8346-4C1E-9628-5C7A1CBD8A83}" dt="2021-10-01T04:42:27.332" v="1253"/>
          <ac:spMkLst>
            <pc:docMk/>
            <pc:sldMk cId="3478359748" sldId="301"/>
            <ac:spMk id="19" creationId="{F7832D92-F830-4669-B832-82D8FF4B9D91}"/>
          </ac:spMkLst>
        </pc:spChg>
        <pc:grpChg chg="del mod">
          <ac:chgData name="Aniket Chhabra" userId="598e0514-bef3-4e71-b6aa-f2edd6441cff" providerId="ADAL" clId="{A7CBF834-8346-4C1E-9628-5C7A1CBD8A83}" dt="2021-10-01T04:45:40.214" v="1292"/>
          <ac:grpSpMkLst>
            <pc:docMk/>
            <pc:sldMk cId="3478359748" sldId="301"/>
            <ac:grpSpMk id="33" creationId="{D64FE1CB-37C9-4662-82E1-F1BFB70F9AEB}"/>
          </ac:grpSpMkLst>
        </pc:grpChg>
        <pc:grpChg chg="mod">
          <ac:chgData name="Aniket Chhabra" userId="598e0514-bef3-4e71-b6aa-f2edd6441cff" providerId="ADAL" clId="{A7CBF834-8346-4C1E-9628-5C7A1CBD8A83}" dt="2021-10-01T04:45:40.214" v="1292"/>
          <ac:grpSpMkLst>
            <pc:docMk/>
            <pc:sldMk cId="3478359748" sldId="301"/>
            <ac:grpSpMk id="42" creationId="{C24577BB-571E-4ED0-89A4-C91A80E9C3C6}"/>
          </ac:grpSpMkLst>
        </pc:grpChg>
        <pc:grpChg chg="mod">
          <ac:chgData name="Aniket Chhabra" userId="598e0514-bef3-4e71-b6aa-f2edd6441cff" providerId="ADAL" clId="{A7CBF834-8346-4C1E-9628-5C7A1CBD8A83}" dt="2021-10-01T04:46:02.790" v="1307"/>
          <ac:grpSpMkLst>
            <pc:docMk/>
            <pc:sldMk cId="3478359748" sldId="301"/>
            <ac:grpSpMk id="52" creationId="{03FB38E7-3898-4AE7-ACAB-294F1C59F0CD}"/>
          </ac:grpSpMkLst>
        </pc:grpChg>
        <pc:grpChg chg="mod">
          <ac:chgData name="Aniket Chhabra" userId="598e0514-bef3-4e71-b6aa-f2edd6441cff" providerId="ADAL" clId="{A7CBF834-8346-4C1E-9628-5C7A1CBD8A83}" dt="2021-10-01T04:46:08.075" v="1311"/>
          <ac:grpSpMkLst>
            <pc:docMk/>
            <pc:sldMk cId="3478359748" sldId="301"/>
            <ac:grpSpMk id="56" creationId="{1816417A-7ABA-4F37-9E01-F9A3099B69F7}"/>
          </ac:grpSpMkLst>
        </pc:grpChg>
        <pc:grpChg chg="del mod">
          <ac:chgData name="Aniket Chhabra" userId="598e0514-bef3-4e71-b6aa-f2edd6441cff" providerId="ADAL" clId="{A7CBF834-8346-4C1E-9628-5C7A1CBD8A83}" dt="2021-10-01T04:46:20.335" v="1327"/>
          <ac:grpSpMkLst>
            <pc:docMk/>
            <pc:sldMk cId="3478359748" sldId="301"/>
            <ac:grpSpMk id="67" creationId="{E3F843FD-DBF6-490A-8CB9-93B3625135E9}"/>
          </ac:grpSpMkLst>
        </pc:grpChg>
        <pc:grpChg chg="mod">
          <ac:chgData name="Aniket Chhabra" userId="598e0514-bef3-4e71-b6aa-f2edd6441cff" providerId="ADAL" clId="{A7CBF834-8346-4C1E-9628-5C7A1CBD8A83}" dt="2021-10-01T04:48:29.355" v="1467"/>
          <ac:grpSpMkLst>
            <pc:docMk/>
            <pc:sldMk cId="3478359748" sldId="301"/>
            <ac:grpSpMk id="72" creationId="{6130A88D-754F-42AE-9F41-5093C090DD72}"/>
          </ac:grpSpMkLst>
        </pc:grpChg>
        <pc:grpChg chg="mod">
          <ac:chgData name="Aniket Chhabra" userId="598e0514-bef3-4e71-b6aa-f2edd6441cff" providerId="ADAL" clId="{A7CBF834-8346-4C1E-9628-5C7A1CBD8A83}" dt="2021-10-01T04:46:23.265" v="1330"/>
          <ac:grpSpMkLst>
            <pc:docMk/>
            <pc:sldMk cId="3478359748" sldId="301"/>
            <ac:grpSpMk id="75" creationId="{C6E411D8-8B9E-4097-B04D-C24D3D188BCE}"/>
          </ac:grpSpMkLst>
        </pc:grpChg>
        <pc:grpChg chg="mod">
          <ac:chgData name="Aniket Chhabra" userId="598e0514-bef3-4e71-b6aa-f2edd6441cff" providerId="ADAL" clId="{A7CBF834-8346-4C1E-9628-5C7A1CBD8A83}" dt="2021-10-01T04:46:31.716" v="1346"/>
          <ac:grpSpMkLst>
            <pc:docMk/>
            <pc:sldMk cId="3478359748" sldId="301"/>
            <ac:grpSpMk id="87" creationId="{57FCF10E-C4DF-48A6-8A81-51C447E9A614}"/>
          </ac:grpSpMkLst>
        </pc:grpChg>
        <pc:grpChg chg="del mod">
          <ac:chgData name="Aniket Chhabra" userId="598e0514-bef3-4e71-b6aa-f2edd6441cff" providerId="ADAL" clId="{A7CBF834-8346-4C1E-9628-5C7A1CBD8A83}" dt="2021-10-01T04:46:41.154" v="1364"/>
          <ac:grpSpMkLst>
            <pc:docMk/>
            <pc:sldMk cId="3478359748" sldId="301"/>
            <ac:grpSpMk id="94" creationId="{917242CA-9560-48F0-9F4C-2881C319DDD4}"/>
          </ac:grpSpMkLst>
        </pc:grpChg>
        <pc:grpChg chg="del mod">
          <ac:chgData name="Aniket Chhabra" userId="598e0514-bef3-4e71-b6aa-f2edd6441cff" providerId="ADAL" clId="{A7CBF834-8346-4C1E-9628-5C7A1CBD8A83}" dt="2021-10-01T04:46:53.525" v="1384"/>
          <ac:grpSpMkLst>
            <pc:docMk/>
            <pc:sldMk cId="3478359748" sldId="301"/>
            <ac:grpSpMk id="104" creationId="{CE633FB7-0DC3-4480-A1BF-E2913C3C1EA3}"/>
          </ac:grpSpMkLst>
        </pc:grpChg>
        <pc:grpChg chg="del mod">
          <ac:chgData name="Aniket Chhabra" userId="598e0514-bef3-4e71-b6aa-f2edd6441cff" providerId="ADAL" clId="{A7CBF834-8346-4C1E-9628-5C7A1CBD8A83}" dt="2021-10-01T04:46:53.527" v="1388"/>
          <ac:grpSpMkLst>
            <pc:docMk/>
            <pc:sldMk cId="3478359748" sldId="301"/>
            <ac:grpSpMk id="110" creationId="{FCC98765-FE19-44BE-9AB3-FEBD7DA61E79}"/>
          </ac:grpSpMkLst>
        </pc:grpChg>
        <pc:grpChg chg="del mod">
          <ac:chgData name="Aniket Chhabra" userId="598e0514-bef3-4e71-b6aa-f2edd6441cff" providerId="ADAL" clId="{A7CBF834-8346-4C1E-9628-5C7A1CBD8A83}" dt="2021-10-01T04:47:04.525" v="1411"/>
          <ac:grpSpMkLst>
            <pc:docMk/>
            <pc:sldMk cId="3478359748" sldId="301"/>
            <ac:grpSpMk id="127" creationId="{F465ECB5-695E-4ABB-B8C0-46A69D1C8215}"/>
          </ac:grpSpMkLst>
        </pc:grpChg>
        <pc:grpChg chg="mod">
          <ac:chgData name="Aniket Chhabra" userId="598e0514-bef3-4e71-b6aa-f2edd6441cff" providerId="ADAL" clId="{A7CBF834-8346-4C1E-9628-5C7A1CBD8A83}" dt="2021-10-01T04:47:02.267" v="1406"/>
          <ac:grpSpMkLst>
            <pc:docMk/>
            <pc:sldMk cId="3478359748" sldId="301"/>
            <ac:grpSpMk id="128" creationId="{A5B25D6D-4F1B-42E0-BB91-21573EFF7F5F}"/>
          </ac:grpSpMkLst>
        </pc:grpChg>
        <pc:grpChg chg="del mod">
          <ac:chgData name="Aniket Chhabra" userId="598e0514-bef3-4e71-b6aa-f2edd6441cff" providerId="ADAL" clId="{A7CBF834-8346-4C1E-9628-5C7A1CBD8A83}" dt="2021-10-01T04:47:09.254" v="1419"/>
          <ac:grpSpMkLst>
            <pc:docMk/>
            <pc:sldMk cId="3478359748" sldId="301"/>
            <ac:grpSpMk id="133" creationId="{5482CD63-46C8-4AD0-86CE-04BB98FDBA71}"/>
          </ac:grpSpMkLst>
        </pc:grpChg>
        <pc:grpChg chg="mod">
          <ac:chgData name="Aniket Chhabra" userId="598e0514-bef3-4e71-b6aa-f2edd6441cff" providerId="ADAL" clId="{A7CBF834-8346-4C1E-9628-5C7A1CBD8A83}" dt="2021-10-01T04:47:17.653" v="1442"/>
          <ac:grpSpMkLst>
            <pc:docMk/>
            <pc:sldMk cId="3478359748" sldId="301"/>
            <ac:grpSpMk id="141" creationId="{46CBEA68-CC02-4714-978B-908E5B75D45A}"/>
          </ac:grpSpMkLst>
        </pc:grpChg>
        <pc:grpChg chg="del mod">
          <ac:chgData name="Aniket Chhabra" userId="598e0514-bef3-4e71-b6aa-f2edd6441cff" providerId="ADAL" clId="{A7CBF834-8346-4C1E-9628-5C7A1CBD8A83}" dt="2021-10-01T04:47:17.652" v="1441"/>
          <ac:grpSpMkLst>
            <pc:docMk/>
            <pc:sldMk cId="3478359748" sldId="301"/>
            <ac:grpSpMk id="150" creationId="{04661A47-EC68-4F89-9489-C05CC513916D}"/>
          </ac:grpSpMkLst>
        </pc:grpChg>
        <pc:grpChg chg="mod">
          <ac:chgData name="Aniket Chhabra" userId="598e0514-bef3-4e71-b6aa-f2edd6441cff" providerId="ADAL" clId="{A7CBF834-8346-4C1E-9628-5C7A1CBD8A83}" dt="2021-10-01T04:47:28.556" v="1455"/>
          <ac:grpSpMkLst>
            <pc:docMk/>
            <pc:sldMk cId="3478359748" sldId="301"/>
            <ac:grpSpMk id="162" creationId="{1C115302-C6CA-4A50-9E4C-C9476A43D377}"/>
          </ac:grpSpMkLst>
        </pc:grpChg>
        <pc:grpChg chg="mod">
          <ac:chgData name="Aniket Chhabra" userId="598e0514-bef3-4e71-b6aa-f2edd6441cff" providerId="ADAL" clId="{A7CBF834-8346-4C1E-9628-5C7A1CBD8A83}" dt="2021-10-01T04:47:28.556" v="1455"/>
          <ac:grpSpMkLst>
            <pc:docMk/>
            <pc:sldMk cId="3478359748" sldId="301"/>
            <ac:grpSpMk id="163" creationId="{DD9A35BE-1A2A-4CF5-8210-06A27268E5EE}"/>
          </ac:grpSpMkLst>
        </pc:grpChg>
        <pc:grpChg chg="mod">
          <ac:chgData name="Aniket Chhabra" userId="598e0514-bef3-4e71-b6aa-f2edd6441cff" providerId="ADAL" clId="{A7CBF834-8346-4C1E-9628-5C7A1CBD8A83}" dt="2021-10-01T04:48:35.119" v="1479"/>
          <ac:grpSpMkLst>
            <pc:docMk/>
            <pc:sldMk cId="3478359748" sldId="301"/>
            <ac:grpSpMk id="176" creationId="{74CBFC51-CAF9-4221-99ED-DEC50BA8F476}"/>
          </ac:grpSpMkLst>
        </pc:grpChg>
        <pc:grpChg chg="mod">
          <ac:chgData name="Aniket Chhabra" userId="598e0514-bef3-4e71-b6aa-f2edd6441cff" providerId="ADAL" clId="{A7CBF834-8346-4C1E-9628-5C7A1CBD8A83}" dt="2021-10-01T04:48:37.673" v="1485"/>
          <ac:grpSpMkLst>
            <pc:docMk/>
            <pc:sldMk cId="3478359748" sldId="301"/>
            <ac:grpSpMk id="182" creationId="{B5F6D7FA-03E7-4904-84A0-E5C0827A026B}"/>
          </ac:grpSpMkLst>
        </pc:grpChg>
        <pc:grpChg chg="del mod">
          <ac:chgData name="Aniket Chhabra" userId="598e0514-bef3-4e71-b6aa-f2edd6441cff" providerId="ADAL" clId="{A7CBF834-8346-4C1E-9628-5C7A1CBD8A83}" dt="2021-10-01T04:48:42.838" v="1492"/>
          <ac:grpSpMkLst>
            <pc:docMk/>
            <pc:sldMk cId="3478359748" sldId="301"/>
            <ac:grpSpMk id="187" creationId="{EADC95DB-FBC8-4D19-AB7C-68BEB102C960}"/>
          </ac:grpSpMkLst>
        </pc:grpChg>
        <pc:grpChg chg="del mod">
          <ac:chgData name="Aniket Chhabra" userId="598e0514-bef3-4e71-b6aa-f2edd6441cff" providerId="ADAL" clId="{A7CBF834-8346-4C1E-9628-5C7A1CBD8A83}" dt="2021-10-01T04:48:43.562" v="1496"/>
          <ac:grpSpMkLst>
            <pc:docMk/>
            <pc:sldMk cId="3478359748" sldId="301"/>
            <ac:grpSpMk id="189" creationId="{2CDC6CC4-6424-4668-B0DB-FB2555182814}"/>
          </ac:grpSpMkLst>
        </pc:grpChg>
        <pc:grpChg chg="mod">
          <ac:chgData name="Aniket Chhabra" userId="598e0514-bef3-4e71-b6aa-f2edd6441cff" providerId="ADAL" clId="{A7CBF834-8346-4C1E-9628-5C7A1CBD8A83}" dt="2021-10-01T04:48:50.798" v="1510"/>
          <ac:grpSpMkLst>
            <pc:docMk/>
            <pc:sldMk cId="3478359748" sldId="301"/>
            <ac:grpSpMk id="198" creationId="{13EC934C-05F3-4A21-831C-3A38D123EAFB}"/>
          </ac:grpSpMkLst>
        </pc:grpChg>
        <pc:grpChg chg="del mod">
          <ac:chgData name="Aniket Chhabra" userId="598e0514-bef3-4e71-b6aa-f2edd6441cff" providerId="ADAL" clId="{A7CBF834-8346-4C1E-9628-5C7A1CBD8A83}" dt="2021-10-01T04:50:05.002" v="1537"/>
          <ac:grpSpMkLst>
            <pc:docMk/>
            <pc:sldMk cId="3478359748" sldId="301"/>
            <ac:grpSpMk id="209" creationId="{1E14BEC8-E1CA-4E66-AA98-1542C3A83D48}"/>
          </ac:grpSpMkLst>
        </pc:grpChg>
        <pc:grpChg chg="del mod">
          <ac:chgData name="Aniket Chhabra" userId="598e0514-bef3-4e71-b6aa-f2edd6441cff" providerId="ADAL" clId="{A7CBF834-8346-4C1E-9628-5C7A1CBD8A83}" dt="2021-10-01T04:50:05.002" v="1537"/>
          <ac:grpSpMkLst>
            <pc:docMk/>
            <pc:sldMk cId="3478359748" sldId="301"/>
            <ac:grpSpMk id="218" creationId="{A6D6C8E6-DD09-483B-AD0D-52C5FD9A3191}"/>
          </ac:grpSpMkLst>
        </pc:grpChg>
        <pc:grpChg chg="del mod">
          <ac:chgData name="Aniket Chhabra" userId="598e0514-bef3-4e71-b6aa-f2edd6441cff" providerId="ADAL" clId="{A7CBF834-8346-4C1E-9628-5C7A1CBD8A83}" dt="2021-10-01T04:50:05.002" v="1537"/>
          <ac:grpSpMkLst>
            <pc:docMk/>
            <pc:sldMk cId="3478359748" sldId="301"/>
            <ac:grpSpMk id="219" creationId="{E6981F3D-8CAC-45A9-8D70-003AA74BFB66}"/>
          </ac:grpSpMkLst>
        </pc:grpChg>
        <pc:grpChg chg="del mod">
          <ac:chgData name="Aniket Chhabra" userId="598e0514-bef3-4e71-b6aa-f2edd6441cff" providerId="ADAL" clId="{A7CBF834-8346-4C1E-9628-5C7A1CBD8A83}" dt="2021-10-01T04:50:07.308" v="1539"/>
          <ac:grpSpMkLst>
            <pc:docMk/>
            <pc:sldMk cId="3478359748" sldId="301"/>
            <ac:grpSpMk id="222" creationId="{6546CA9E-C851-45FB-8A19-85CD7192BA48}"/>
          </ac:grpSpMkLst>
        </pc:grpChg>
        <pc:grpChg chg="mod">
          <ac:chgData name="Aniket Chhabra" userId="598e0514-bef3-4e71-b6aa-f2edd6441cff" providerId="ADAL" clId="{A7CBF834-8346-4C1E-9628-5C7A1CBD8A83}" dt="2021-10-01T04:50:07.308" v="1539"/>
          <ac:grpSpMkLst>
            <pc:docMk/>
            <pc:sldMk cId="3478359748" sldId="301"/>
            <ac:grpSpMk id="224" creationId="{675662A2-35C9-4F49-ABA5-8FCCE594CD5E}"/>
          </ac:grpSpMkLst>
        </pc:grpChg>
        <pc:grpChg chg="mod">
          <ac:chgData name="Aniket Chhabra" userId="598e0514-bef3-4e71-b6aa-f2edd6441cff" providerId="ADAL" clId="{A7CBF834-8346-4C1E-9628-5C7A1CBD8A83}" dt="2021-10-01T04:51:30.687" v="2117"/>
          <ac:grpSpMkLst>
            <pc:docMk/>
            <pc:sldMk cId="3478359748" sldId="301"/>
            <ac:grpSpMk id="235" creationId="{73B796F5-AC95-4081-9770-85FE4C9A99C3}"/>
          </ac:grpSpMkLst>
        </pc:grpChg>
        <pc:grpChg chg="mod">
          <ac:chgData name="Aniket Chhabra" userId="598e0514-bef3-4e71-b6aa-f2edd6441cff" providerId="ADAL" clId="{A7CBF834-8346-4C1E-9628-5C7A1CBD8A83}" dt="2021-10-01T04:51:34.235" v="2123"/>
          <ac:grpSpMkLst>
            <pc:docMk/>
            <pc:sldMk cId="3478359748" sldId="301"/>
            <ac:grpSpMk id="241" creationId="{C47C32EF-29AE-418D-8A3B-FECD9195DCBD}"/>
          </ac:grpSpMkLst>
        </pc:grpChg>
        <pc:graphicFrameChg chg="add mod modVis">
          <ac:chgData name="Aniket Chhabra" userId="598e0514-bef3-4e71-b6aa-f2edd6441cff" providerId="ADAL" clId="{A7CBF834-8346-4C1E-9628-5C7A1CBD8A83}" dt="2021-10-01T04:42:27.335" v="1255"/>
          <ac:graphicFrameMkLst>
            <pc:docMk/>
            <pc:sldMk cId="3478359748" sldId="301"/>
            <ac:graphicFrameMk id="4" creationId="{C02F261C-26A3-49B8-AFBD-7338A40023FF}"/>
          </ac:graphicFrameMkLst>
        </pc:graphicFrameChg>
        <pc:picChg chg="add del">
          <ac:chgData name="Aniket Chhabra" userId="598e0514-bef3-4e71-b6aa-f2edd6441cff" providerId="ADAL" clId="{A7CBF834-8346-4C1E-9628-5C7A1CBD8A83}" dt="2021-10-01T04:44:01.407" v="1267" actId="478"/>
          <ac:picMkLst>
            <pc:docMk/>
            <pc:sldMk cId="3478359748" sldId="301"/>
            <ac:picMk id="21" creationId="{991B1B33-C7E3-42EE-8BE9-78FB0B2CA4C1}"/>
          </ac:picMkLst>
        </pc:picChg>
        <pc:picChg chg="add del mod">
          <ac:chgData name="Aniket Chhabra" userId="598e0514-bef3-4e71-b6aa-f2edd6441cff" providerId="ADAL" clId="{A7CBF834-8346-4C1E-9628-5C7A1CBD8A83}" dt="2021-10-01T04:43:39.627" v="1265" actId="22"/>
          <ac:picMkLst>
            <pc:docMk/>
            <pc:sldMk cId="3478359748" sldId="301"/>
            <ac:picMk id="23" creationId="{C35AC72C-32F2-40F8-A786-82058962FEDE}"/>
          </ac:picMkLst>
        </pc:picChg>
        <pc:picChg chg="add mod">
          <ac:chgData name="Aniket Chhabra" userId="598e0514-bef3-4e71-b6aa-f2edd6441cff" providerId="ADAL" clId="{A7CBF834-8346-4C1E-9628-5C7A1CBD8A83}" dt="2021-10-01T04:44:12.657" v="1274" actId="14100"/>
          <ac:picMkLst>
            <pc:docMk/>
            <pc:sldMk cId="3478359748" sldId="301"/>
            <ac:picMk id="25" creationId="{22840717-F336-45F8-A29E-3F17EC42E3C9}"/>
          </ac:picMkLst>
        </pc:picChg>
        <pc:inkChg chg="add">
          <ac:chgData name="Aniket Chhabra" userId="598e0514-bef3-4e71-b6aa-f2edd6441cff" providerId="ADAL" clId="{A7CBF834-8346-4C1E-9628-5C7A1CBD8A83}" dt="2021-12-19T05:32:13.387" v="3583"/>
          <ac:inkMkLst>
            <pc:docMk/>
            <pc:sldMk cId="3478359748" sldId="301"/>
            <ac:inkMk id="2" creationId="{DF21E9CB-F10A-4563-8DF0-6C1922E5312F}"/>
          </ac:inkMkLst>
        </pc:inkChg>
        <pc:inkChg chg="add">
          <ac:chgData name="Aniket Chhabra" userId="598e0514-bef3-4e71-b6aa-f2edd6441cff" providerId="ADAL" clId="{A7CBF834-8346-4C1E-9628-5C7A1CBD8A83}" dt="2022-01-16T05:21:38.553" v="3603"/>
          <ac:inkMkLst>
            <pc:docMk/>
            <pc:sldMk cId="3478359748" sldId="301"/>
            <ac:inkMk id="3" creationId="{6D7868A6-9AAF-48D1-8D05-2715F5379FD3}"/>
          </ac:inkMkLst>
        </pc:inkChg>
        <pc:inkChg chg="add mod">
          <ac:chgData name="Aniket Chhabra" userId="598e0514-bef3-4e71-b6aa-f2edd6441cff" providerId="ADAL" clId="{A7CBF834-8346-4C1E-9628-5C7A1CBD8A83}" dt="2021-10-01T04:45:40.214" v="1292"/>
          <ac:inkMkLst>
            <pc:docMk/>
            <pc:sldMk cId="3478359748" sldId="301"/>
            <ac:inkMk id="26" creationId="{A8D8CBFB-89BB-4416-917F-042111C7D5A5}"/>
          </ac:inkMkLst>
        </pc:inkChg>
        <pc:inkChg chg="add mod">
          <ac:chgData name="Aniket Chhabra" userId="598e0514-bef3-4e71-b6aa-f2edd6441cff" providerId="ADAL" clId="{A7CBF834-8346-4C1E-9628-5C7A1CBD8A83}" dt="2021-10-01T04:45:40.214" v="1292"/>
          <ac:inkMkLst>
            <pc:docMk/>
            <pc:sldMk cId="3478359748" sldId="301"/>
            <ac:inkMk id="27" creationId="{5F4136D8-9B3D-4962-ACF6-E04198A859BD}"/>
          </ac:inkMkLst>
        </pc:inkChg>
        <pc:inkChg chg="add mod">
          <ac:chgData name="Aniket Chhabra" userId="598e0514-bef3-4e71-b6aa-f2edd6441cff" providerId="ADAL" clId="{A7CBF834-8346-4C1E-9628-5C7A1CBD8A83}" dt="2021-10-01T04:45:40.214" v="1292"/>
          <ac:inkMkLst>
            <pc:docMk/>
            <pc:sldMk cId="3478359748" sldId="301"/>
            <ac:inkMk id="28" creationId="{15DDCA01-182B-40C3-9EB2-B97430AE5E57}"/>
          </ac:inkMkLst>
        </pc:inkChg>
        <pc:inkChg chg="add mod">
          <ac:chgData name="Aniket Chhabra" userId="598e0514-bef3-4e71-b6aa-f2edd6441cff" providerId="ADAL" clId="{A7CBF834-8346-4C1E-9628-5C7A1CBD8A83}" dt="2021-10-01T04:45:40.214" v="1292"/>
          <ac:inkMkLst>
            <pc:docMk/>
            <pc:sldMk cId="3478359748" sldId="301"/>
            <ac:inkMk id="29" creationId="{4D23B276-56DB-4856-9069-E011A1310CD8}"/>
          </ac:inkMkLst>
        </pc:inkChg>
        <pc:inkChg chg="add mod">
          <ac:chgData name="Aniket Chhabra" userId="598e0514-bef3-4e71-b6aa-f2edd6441cff" providerId="ADAL" clId="{A7CBF834-8346-4C1E-9628-5C7A1CBD8A83}" dt="2021-10-01T04:45:40.214" v="1292"/>
          <ac:inkMkLst>
            <pc:docMk/>
            <pc:sldMk cId="3478359748" sldId="301"/>
            <ac:inkMk id="30" creationId="{D1AA4188-8160-40DD-BFE5-AB7920014DB9}"/>
          </ac:inkMkLst>
        </pc:inkChg>
        <pc:inkChg chg="add mod">
          <ac:chgData name="Aniket Chhabra" userId="598e0514-bef3-4e71-b6aa-f2edd6441cff" providerId="ADAL" clId="{A7CBF834-8346-4C1E-9628-5C7A1CBD8A83}" dt="2021-10-01T04:45:40.214" v="1292"/>
          <ac:inkMkLst>
            <pc:docMk/>
            <pc:sldMk cId="3478359748" sldId="301"/>
            <ac:inkMk id="31" creationId="{CBD1A27D-EF40-4573-82BD-CFFB0B7575FF}"/>
          </ac:inkMkLst>
        </pc:inkChg>
        <pc:inkChg chg="add del">
          <ac:chgData name="Aniket Chhabra" userId="598e0514-bef3-4e71-b6aa-f2edd6441cff" providerId="ADAL" clId="{A7CBF834-8346-4C1E-9628-5C7A1CBD8A83}" dt="2021-10-01T04:45:35.865" v="1282"/>
          <ac:inkMkLst>
            <pc:docMk/>
            <pc:sldMk cId="3478359748" sldId="301"/>
            <ac:inkMk id="32" creationId="{A58BF856-CB23-4892-BAA8-9BE4B2A2B879}"/>
          </ac:inkMkLst>
        </pc:inkChg>
        <pc:inkChg chg="add mod">
          <ac:chgData name="Aniket Chhabra" userId="598e0514-bef3-4e71-b6aa-f2edd6441cff" providerId="ADAL" clId="{A7CBF834-8346-4C1E-9628-5C7A1CBD8A83}" dt="2021-10-01T04:45:40.214" v="1292"/>
          <ac:inkMkLst>
            <pc:docMk/>
            <pc:sldMk cId="3478359748" sldId="301"/>
            <ac:inkMk id="34" creationId="{86DD9678-6ACD-4B26-A829-DC6D032161CA}"/>
          </ac:inkMkLst>
        </pc:inkChg>
        <pc:inkChg chg="add mod">
          <ac:chgData name="Aniket Chhabra" userId="598e0514-bef3-4e71-b6aa-f2edd6441cff" providerId="ADAL" clId="{A7CBF834-8346-4C1E-9628-5C7A1CBD8A83}" dt="2021-10-01T04:45:40.214" v="1292"/>
          <ac:inkMkLst>
            <pc:docMk/>
            <pc:sldMk cId="3478359748" sldId="301"/>
            <ac:inkMk id="35" creationId="{FFB8DA61-F097-4F6A-B4BE-9C5640EA7DB7}"/>
          </ac:inkMkLst>
        </pc:inkChg>
        <pc:inkChg chg="add mod">
          <ac:chgData name="Aniket Chhabra" userId="598e0514-bef3-4e71-b6aa-f2edd6441cff" providerId="ADAL" clId="{A7CBF834-8346-4C1E-9628-5C7A1CBD8A83}" dt="2021-10-01T04:45:40.214" v="1292"/>
          <ac:inkMkLst>
            <pc:docMk/>
            <pc:sldMk cId="3478359748" sldId="301"/>
            <ac:inkMk id="36" creationId="{C456AE84-65D7-48F9-A499-7636563DFC6F}"/>
          </ac:inkMkLst>
        </pc:inkChg>
        <pc:inkChg chg="add mod">
          <ac:chgData name="Aniket Chhabra" userId="598e0514-bef3-4e71-b6aa-f2edd6441cff" providerId="ADAL" clId="{A7CBF834-8346-4C1E-9628-5C7A1CBD8A83}" dt="2021-10-01T04:45:40.214" v="1292"/>
          <ac:inkMkLst>
            <pc:docMk/>
            <pc:sldMk cId="3478359748" sldId="301"/>
            <ac:inkMk id="37" creationId="{47C782F9-F0B7-4C27-9DE2-FC4FBDE89616}"/>
          </ac:inkMkLst>
        </pc:inkChg>
        <pc:inkChg chg="add mod">
          <ac:chgData name="Aniket Chhabra" userId="598e0514-bef3-4e71-b6aa-f2edd6441cff" providerId="ADAL" clId="{A7CBF834-8346-4C1E-9628-5C7A1CBD8A83}" dt="2021-10-01T04:45:40.214" v="1292"/>
          <ac:inkMkLst>
            <pc:docMk/>
            <pc:sldMk cId="3478359748" sldId="301"/>
            <ac:inkMk id="38" creationId="{47C4F321-2F2F-46B2-ABE2-A437417CC709}"/>
          </ac:inkMkLst>
        </pc:inkChg>
        <pc:inkChg chg="add mod">
          <ac:chgData name="Aniket Chhabra" userId="598e0514-bef3-4e71-b6aa-f2edd6441cff" providerId="ADAL" clId="{A7CBF834-8346-4C1E-9628-5C7A1CBD8A83}" dt="2021-10-01T04:45:40.214" v="1292"/>
          <ac:inkMkLst>
            <pc:docMk/>
            <pc:sldMk cId="3478359748" sldId="301"/>
            <ac:inkMk id="39" creationId="{64C3290D-0C3F-42B5-9C3E-05CD5449FB23}"/>
          </ac:inkMkLst>
        </pc:inkChg>
        <pc:inkChg chg="add mod">
          <ac:chgData name="Aniket Chhabra" userId="598e0514-bef3-4e71-b6aa-f2edd6441cff" providerId="ADAL" clId="{A7CBF834-8346-4C1E-9628-5C7A1CBD8A83}" dt="2021-10-01T04:45:40.214" v="1292"/>
          <ac:inkMkLst>
            <pc:docMk/>
            <pc:sldMk cId="3478359748" sldId="301"/>
            <ac:inkMk id="40" creationId="{3A89FFEB-4654-43C0-98E6-0B62227E4A1E}"/>
          </ac:inkMkLst>
        </pc:inkChg>
        <pc:inkChg chg="add mod">
          <ac:chgData name="Aniket Chhabra" userId="598e0514-bef3-4e71-b6aa-f2edd6441cff" providerId="ADAL" clId="{A7CBF834-8346-4C1E-9628-5C7A1CBD8A83}" dt="2021-10-01T04:45:40.214" v="1292"/>
          <ac:inkMkLst>
            <pc:docMk/>
            <pc:sldMk cId="3478359748" sldId="301"/>
            <ac:inkMk id="41" creationId="{B63E716B-1C22-4A19-8AD8-982B580A9A03}"/>
          </ac:inkMkLst>
        </pc:inkChg>
        <pc:inkChg chg="add del">
          <ac:chgData name="Aniket Chhabra" userId="598e0514-bef3-4e71-b6aa-f2edd6441cff" providerId="ADAL" clId="{A7CBF834-8346-4C1E-9628-5C7A1CBD8A83}" dt="2021-10-01T04:45:50.233" v="1294"/>
          <ac:inkMkLst>
            <pc:docMk/>
            <pc:sldMk cId="3478359748" sldId="301"/>
            <ac:inkMk id="43" creationId="{C69D534D-A14A-4D32-9C96-23EFE529B05F}"/>
          </ac:inkMkLst>
        </pc:inkChg>
        <pc:inkChg chg="add">
          <ac:chgData name="Aniket Chhabra" userId="598e0514-bef3-4e71-b6aa-f2edd6441cff" providerId="ADAL" clId="{A7CBF834-8346-4C1E-9628-5C7A1CBD8A83}" dt="2021-10-01T04:45:51.516" v="1295" actId="9405"/>
          <ac:inkMkLst>
            <pc:docMk/>
            <pc:sldMk cId="3478359748" sldId="301"/>
            <ac:inkMk id="44" creationId="{8B90CBBB-41EE-478F-93E1-1FB81EB9E14A}"/>
          </ac:inkMkLst>
        </pc:inkChg>
        <pc:inkChg chg="add del">
          <ac:chgData name="Aniket Chhabra" userId="598e0514-bef3-4e71-b6aa-f2edd6441cff" providerId="ADAL" clId="{A7CBF834-8346-4C1E-9628-5C7A1CBD8A83}" dt="2021-10-01T04:45:57.742" v="1303"/>
          <ac:inkMkLst>
            <pc:docMk/>
            <pc:sldMk cId="3478359748" sldId="301"/>
            <ac:inkMk id="45" creationId="{7623279E-0B6F-42E6-9D21-49B8734C8076}"/>
          </ac:inkMkLst>
        </pc:inkChg>
        <pc:inkChg chg="add del">
          <ac:chgData name="Aniket Chhabra" userId="598e0514-bef3-4e71-b6aa-f2edd6441cff" providerId="ADAL" clId="{A7CBF834-8346-4C1E-9628-5C7A1CBD8A83}" dt="2021-10-01T04:45:57.741" v="1301"/>
          <ac:inkMkLst>
            <pc:docMk/>
            <pc:sldMk cId="3478359748" sldId="301"/>
            <ac:inkMk id="46" creationId="{8AAC6EB3-DCB0-4751-9400-896912C0F1F3}"/>
          </ac:inkMkLst>
        </pc:inkChg>
        <pc:inkChg chg="add del">
          <ac:chgData name="Aniket Chhabra" userId="598e0514-bef3-4e71-b6aa-f2edd6441cff" providerId="ADAL" clId="{A7CBF834-8346-4C1E-9628-5C7A1CBD8A83}" dt="2021-10-01T04:45:57.740" v="1300"/>
          <ac:inkMkLst>
            <pc:docMk/>
            <pc:sldMk cId="3478359748" sldId="301"/>
            <ac:inkMk id="47" creationId="{6A405C7E-8F7E-49F0-A5E9-621E23EAB8C8}"/>
          </ac:inkMkLst>
        </pc:inkChg>
        <pc:inkChg chg="add del">
          <ac:chgData name="Aniket Chhabra" userId="598e0514-bef3-4e71-b6aa-f2edd6441cff" providerId="ADAL" clId="{A7CBF834-8346-4C1E-9628-5C7A1CBD8A83}" dt="2021-10-01T04:45:57.741" v="1302"/>
          <ac:inkMkLst>
            <pc:docMk/>
            <pc:sldMk cId="3478359748" sldId="301"/>
            <ac:inkMk id="48" creationId="{2EC81840-C83E-4531-BB1D-634F6D74E9C5}"/>
          </ac:inkMkLst>
        </pc:inkChg>
        <pc:inkChg chg="add">
          <ac:chgData name="Aniket Chhabra" userId="598e0514-bef3-4e71-b6aa-f2edd6441cff" providerId="ADAL" clId="{A7CBF834-8346-4C1E-9628-5C7A1CBD8A83}" dt="2021-10-01T04:45:59.198" v="1304" actId="9405"/>
          <ac:inkMkLst>
            <pc:docMk/>
            <pc:sldMk cId="3478359748" sldId="301"/>
            <ac:inkMk id="49" creationId="{70931968-1D2D-42A6-A25A-280E42455AC0}"/>
          </ac:inkMkLst>
        </pc:inkChg>
        <pc:inkChg chg="add mod">
          <ac:chgData name="Aniket Chhabra" userId="598e0514-bef3-4e71-b6aa-f2edd6441cff" providerId="ADAL" clId="{A7CBF834-8346-4C1E-9628-5C7A1CBD8A83}" dt="2021-10-01T04:46:02.790" v="1307"/>
          <ac:inkMkLst>
            <pc:docMk/>
            <pc:sldMk cId="3478359748" sldId="301"/>
            <ac:inkMk id="50" creationId="{DB508AA2-D1D0-4EF0-8BE3-8937C8B71C56}"/>
          </ac:inkMkLst>
        </pc:inkChg>
        <pc:inkChg chg="add mod">
          <ac:chgData name="Aniket Chhabra" userId="598e0514-bef3-4e71-b6aa-f2edd6441cff" providerId="ADAL" clId="{A7CBF834-8346-4C1E-9628-5C7A1CBD8A83}" dt="2021-10-01T04:46:02.790" v="1307"/>
          <ac:inkMkLst>
            <pc:docMk/>
            <pc:sldMk cId="3478359748" sldId="301"/>
            <ac:inkMk id="51" creationId="{F3D44F98-EA14-45D3-BB3D-7D56080D091D}"/>
          </ac:inkMkLst>
        </pc:inkChg>
        <pc:inkChg chg="add mod">
          <ac:chgData name="Aniket Chhabra" userId="598e0514-bef3-4e71-b6aa-f2edd6441cff" providerId="ADAL" clId="{A7CBF834-8346-4C1E-9628-5C7A1CBD8A83}" dt="2021-10-01T04:46:08.075" v="1311"/>
          <ac:inkMkLst>
            <pc:docMk/>
            <pc:sldMk cId="3478359748" sldId="301"/>
            <ac:inkMk id="53" creationId="{1A3C9DF4-5186-4274-96E2-CBE15125E899}"/>
          </ac:inkMkLst>
        </pc:inkChg>
        <pc:inkChg chg="add mod">
          <ac:chgData name="Aniket Chhabra" userId="598e0514-bef3-4e71-b6aa-f2edd6441cff" providerId="ADAL" clId="{A7CBF834-8346-4C1E-9628-5C7A1CBD8A83}" dt="2021-10-01T04:46:08.075" v="1311"/>
          <ac:inkMkLst>
            <pc:docMk/>
            <pc:sldMk cId="3478359748" sldId="301"/>
            <ac:inkMk id="54" creationId="{BA4CDA9D-3154-4BE1-9210-4BF4B582A04C}"/>
          </ac:inkMkLst>
        </pc:inkChg>
        <pc:inkChg chg="add mod">
          <ac:chgData name="Aniket Chhabra" userId="598e0514-bef3-4e71-b6aa-f2edd6441cff" providerId="ADAL" clId="{A7CBF834-8346-4C1E-9628-5C7A1CBD8A83}" dt="2021-10-01T04:46:08.075" v="1311"/>
          <ac:inkMkLst>
            <pc:docMk/>
            <pc:sldMk cId="3478359748" sldId="301"/>
            <ac:inkMk id="55" creationId="{C3C7E313-CABC-4602-8541-762FB74513F0}"/>
          </ac:inkMkLst>
        </pc:inkChg>
        <pc:inkChg chg="add mod">
          <ac:chgData name="Aniket Chhabra" userId="598e0514-bef3-4e71-b6aa-f2edd6441cff" providerId="ADAL" clId="{A7CBF834-8346-4C1E-9628-5C7A1CBD8A83}" dt="2021-10-01T04:48:29.355" v="1467"/>
          <ac:inkMkLst>
            <pc:docMk/>
            <pc:sldMk cId="3478359748" sldId="301"/>
            <ac:inkMk id="57" creationId="{987F8B31-DA99-44CA-914A-6FACA03BA9E3}"/>
          </ac:inkMkLst>
        </pc:inkChg>
        <pc:inkChg chg="add mod">
          <ac:chgData name="Aniket Chhabra" userId="598e0514-bef3-4e71-b6aa-f2edd6441cff" providerId="ADAL" clId="{A7CBF834-8346-4C1E-9628-5C7A1CBD8A83}" dt="2021-10-01T04:48:29.355" v="1467"/>
          <ac:inkMkLst>
            <pc:docMk/>
            <pc:sldMk cId="3478359748" sldId="301"/>
            <ac:inkMk id="58" creationId="{986B000A-154A-4031-B872-0A6C0A765507}"/>
          </ac:inkMkLst>
        </pc:inkChg>
        <pc:inkChg chg="add mod">
          <ac:chgData name="Aniket Chhabra" userId="598e0514-bef3-4e71-b6aa-f2edd6441cff" providerId="ADAL" clId="{A7CBF834-8346-4C1E-9628-5C7A1CBD8A83}" dt="2021-10-01T04:48:29.355" v="1467"/>
          <ac:inkMkLst>
            <pc:docMk/>
            <pc:sldMk cId="3478359748" sldId="301"/>
            <ac:inkMk id="59" creationId="{161A5091-08A4-4F40-B37E-5064F920300A}"/>
          </ac:inkMkLst>
        </pc:inkChg>
        <pc:inkChg chg="add mod">
          <ac:chgData name="Aniket Chhabra" userId="598e0514-bef3-4e71-b6aa-f2edd6441cff" providerId="ADAL" clId="{A7CBF834-8346-4C1E-9628-5C7A1CBD8A83}" dt="2021-10-01T04:48:29.355" v="1467"/>
          <ac:inkMkLst>
            <pc:docMk/>
            <pc:sldMk cId="3478359748" sldId="301"/>
            <ac:inkMk id="60" creationId="{44631699-2B5B-441F-8F43-975642E6DEC7}"/>
          </ac:inkMkLst>
        </pc:inkChg>
        <pc:inkChg chg="add mod">
          <ac:chgData name="Aniket Chhabra" userId="598e0514-bef3-4e71-b6aa-f2edd6441cff" providerId="ADAL" clId="{A7CBF834-8346-4C1E-9628-5C7A1CBD8A83}" dt="2021-10-01T04:48:29.355" v="1467"/>
          <ac:inkMkLst>
            <pc:docMk/>
            <pc:sldMk cId="3478359748" sldId="301"/>
            <ac:inkMk id="61" creationId="{815FD59B-0D1F-4DAA-8E3A-879BB5849CC4}"/>
          </ac:inkMkLst>
        </pc:inkChg>
        <pc:inkChg chg="add mod">
          <ac:chgData name="Aniket Chhabra" userId="598e0514-bef3-4e71-b6aa-f2edd6441cff" providerId="ADAL" clId="{A7CBF834-8346-4C1E-9628-5C7A1CBD8A83}" dt="2021-10-01T04:48:29.355" v="1467"/>
          <ac:inkMkLst>
            <pc:docMk/>
            <pc:sldMk cId="3478359748" sldId="301"/>
            <ac:inkMk id="62" creationId="{4F8DFC30-5EEA-477F-A0B9-AA84F9E80CDB}"/>
          </ac:inkMkLst>
        </pc:inkChg>
        <pc:inkChg chg="add mod">
          <ac:chgData name="Aniket Chhabra" userId="598e0514-bef3-4e71-b6aa-f2edd6441cff" providerId="ADAL" clId="{A7CBF834-8346-4C1E-9628-5C7A1CBD8A83}" dt="2021-10-01T04:48:29.355" v="1467"/>
          <ac:inkMkLst>
            <pc:docMk/>
            <pc:sldMk cId="3478359748" sldId="301"/>
            <ac:inkMk id="63" creationId="{E4F8EA43-0C85-445F-A623-C999952CC71D}"/>
          </ac:inkMkLst>
        </pc:inkChg>
        <pc:inkChg chg="add mod">
          <ac:chgData name="Aniket Chhabra" userId="598e0514-bef3-4e71-b6aa-f2edd6441cff" providerId="ADAL" clId="{A7CBF834-8346-4C1E-9628-5C7A1CBD8A83}" dt="2021-10-01T04:48:29.355" v="1467"/>
          <ac:inkMkLst>
            <pc:docMk/>
            <pc:sldMk cId="3478359748" sldId="301"/>
            <ac:inkMk id="64" creationId="{01C436F6-C359-422E-A987-05D79FD11604}"/>
          </ac:inkMkLst>
        </pc:inkChg>
        <pc:inkChg chg="add mod">
          <ac:chgData name="Aniket Chhabra" userId="598e0514-bef3-4e71-b6aa-f2edd6441cff" providerId="ADAL" clId="{A7CBF834-8346-4C1E-9628-5C7A1CBD8A83}" dt="2021-10-01T04:48:29.355" v="1467"/>
          <ac:inkMkLst>
            <pc:docMk/>
            <pc:sldMk cId="3478359748" sldId="301"/>
            <ac:inkMk id="65" creationId="{02A8F8B3-FE2B-42F5-84D4-20920C98B514}"/>
          </ac:inkMkLst>
        </pc:inkChg>
        <pc:inkChg chg="add mod">
          <ac:chgData name="Aniket Chhabra" userId="598e0514-bef3-4e71-b6aa-f2edd6441cff" providerId="ADAL" clId="{A7CBF834-8346-4C1E-9628-5C7A1CBD8A83}" dt="2021-10-01T04:48:29.355" v="1467"/>
          <ac:inkMkLst>
            <pc:docMk/>
            <pc:sldMk cId="3478359748" sldId="301"/>
            <ac:inkMk id="66" creationId="{2D82FED6-0903-457F-8410-A92979EEE139}"/>
          </ac:inkMkLst>
        </pc:inkChg>
        <pc:inkChg chg="add del mod">
          <ac:chgData name="Aniket Chhabra" userId="598e0514-bef3-4e71-b6aa-f2edd6441cff" providerId="ADAL" clId="{A7CBF834-8346-4C1E-9628-5C7A1CBD8A83}" dt="2021-10-01T04:48:29.352" v="1464"/>
          <ac:inkMkLst>
            <pc:docMk/>
            <pc:sldMk cId="3478359748" sldId="301"/>
            <ac:inkMk id="68" creationId="{BF63B904-EE3D-4A3D-A088-61AEFD1F81B9}"/>
          </ac:inkMkLst>
        </pc:inkChg>
        <pc:inkChg chg="add del mod">
          <ac:chgData name="Aniket Chhabra" userId="598e0514-bef3-4e71-b6aa-f2edd6441cff" providerId="ADAL" clId="{A7CBF834-8346-4C1E-9628-5C7A1CBD8A83}" dt="2021-10-01T04:48:29.354" v="1466"/>
          <ac:inkMkLst>
            <pc:docMk/>
            <pc:sldMk cId="3478359748" sldId="301"/>
            <ac:inkMk id="69" creationId="{AFA7263F-A1CB-4F27-8087-A4F295355ADB}"/>
          </ac:inkMkLst>
        </pc:inkChg>
        <pc:inkChg chg="add del mod">
          <ac:chgData name="Aniket Chhabra" userId="598e0514-bef3-4e71-b6aa-f2edd6441cff" providerId="ADAL" clId="{A7CBF834-8346-4C1E-9628-5C7A1CBD8A83}" dt="2021-10-01T04:48:29.355" v="1467"/>
          <ac:inkMkLst>
            <pc:docMk/>
            <pc:sldMk cId="3478359748" sldId="301"/>
            <ac:inkMk id="70" creationId="{3193DDDB-2AED-4E29-B9CA-0EA6EC8EC652}"/>
          </ac:inkMkLst>
        </pc:inkChg>
        <pc:inkChg chg="add del mod">
          <ac:chgData name="Aniket Chhabra" userId="598e0514-bef3-4e71-b6aa-f2edd6441cff" providerId="ADAL" clId="{A7CBF834-8346-4C1E-9628-5C7A1CBD8A83}" dt="2021-10-01T04:48:29.353" v="1465"/>
          <ac:inkMkLst>
            <pc:docMk/>
            <pc:sldMk cId="3478359748" sldId="301"/>
            <ac:inkMk id="71" creationId="{728A74AD-8657-4151-93DB-9016691D84F7}"/>
          </ac:inkMkLst>
        </pc:inkChg>
        <pc:inkChg chg="add mod">
          <ac:chgData name="Aniket Chhabra" userId="598e0514-bef3-4e71-b6aa-f2edd6441cff" providerId="ADAL" clId="{A7CBF834-8346-4C1E-9628-5C7A1CBD8A83}" dt="2021-10-01T04:46:23.265" v="1330"/>
          <ac:inkMkLst>
            <pc:docMk/>
            <pc:sldMk cId="3478359748" sldId="301"/>
            <ac:inkMk id="73" creationId="{13FAE3D3-C06E-468D-91BE-831717B74BE7}"/>
          </ac:inkMkLst>
        </pc:inkChg>
        <pc:inkChg chg="add mod">
          <ac:chgData name="Aniket Chhabra" userId="598e0514-bef3-4e71-b6aa-f2edd6441cff" providerId="ADAL" clId="{A7CBF834-8346-4C1E-9628-5C7A1CBD8A83}" dt="2021-10-01T04:46:23.265" v="1330"/>
          <ac:inkMkLst>
            <pc:docMk/>
            <pc:sldMk cId="3478359748" sldId="301"/>
            <ac:inkMk id="74" creationId="{D03DD84B-75D8-4D55-8A1D-F269492C7179}"/>
          </ac:inkMkLst>
        </pc:inkChg>
        <pc:inkChg chg="add del">
          <ac:chgData name="Aniket Chhabra" userId="598e0514-bef3-4e71-b6aa-f2edd6441cff" providerId="ADAL" clId="{A7CBF834-8346-4C1E-9628-5C7A1CBD8A83}" dt="2021-10-01T04:46:27.830" v="1337"/>
          <ac:inkMkLst>
            <pc:docMk/>
            <pc:sldMk cId="3478359748" sldId="301"/>
            <ac:inkMk id="76" creationId="{B702E3AC-20F1-418E-8615-3AD95C370706}"/>
          </ac:inkMkLst>
        </pc:inkChg>
        <pc:inkChg chg="add del">
          <ac:chgData name="Aniket Chhabra" userId="598e0514-bef3-4e71-b6aa-f2edd6441cff" providerId="ADAL" clId="{A7CBF834-8346-4C1E-9628-5C7A1CBD8A83}" dt="2021-10-01T04:46:27.828" v="1335"/>
          <ac:inkMkLst>
            <pc:docMk/>
            <pc:sldMk cId="3478359748" sldId="301"/>
            <ac:inkMk id="77" creationId="{4F5D7BFF-8A98-4987-A8BE-1B3DA0AB0744}"/>
          </ac:inkMkLst>
        </pc:inkChg>
        <pc:inkChg chg="add del">
          <ac:chgData name="Aniket Chhabra" userId="598e0514-bef3-4e71-b6aa-f2edd6441cff" providerId="ADAL" clId="{A7CBF834-8346-4C1E-9628-5C7A1CBD8A83}" dt="2021-10-01T04:46:27.830" v="1338"/>
          <ac:inkMkLst>
            <pc:docMk/>
            <pc:sldMk cId="3478359748" sldId="301"/>
            <ac:inkMk id="78" creationId="{4FC19685-51D8-40B5-B9CD-76B14A4AD86D}"/>
          </ac:inkMkLst>
        </pc:inkChg>
        <pc:inkChg chg="add del">
          <ac:chgData name="Aniket Chhabra" userId="598e0514-bef3-4e71-b6aa-f2edd6441cff" providerId="ADAL" clId="{A7CBF834-8346-4C1E-9628-5C7A1CBD8A83}" dt="2021-10-01T04:46:27.829" v="1336"/>
          <ac:inkMkLst>
            <pc:docMk/>
            <pc:sldMk cId="3478359748" sldId="301"/>
            <ac:inkMk id="79" creationId="{48BFEF1B-E027-4E6C-AF87-11115631FE01}"/>
          </ac:inkMkLst>
        </pc:inkChg>
        <pc:inkChg chg="add mod">
          <ac:chgData name="Aniket Chhabra" userId="598e0514-bef3-4e71-b6aa-f2edd6441cff" providerId="ADAL" clId="{A7CBF834-8346-4C1E-9628-5C7A1CBD8A83}" dt="2021-10-01T04:46:31.716" v="1346"/>
          <ac:inkMkLst>
            <pc:docMk/>
            <pc:sldMk cId="3478359748" sldId="301"/>
            <ac:inkMk id="80" creationId="{BC0C3A49-682D-4C4F-A0B0-520E6FD01C1C}"/>
          </ac:inkMkLst>
        </pc:inkChg>
        <pc:inkChg chg="add mod">
          <ac:chgData name="Aniket Chhabra" userId="598e0514-bef3-4e71-b6aa-f2edd6441cff" providerId="ADAL" clId="{A7CBF834-8346-4C1E-9628-5C7A1CBD8A83}" dt="2021-10-01T04:46:31.716" v="1346"/>
          <ac:inkMkLst>
            <pc:docMk/>
            <pc:sldMk cId="3478359748" sldId="301"/>
            <ac:inkMk id="81" creationId="{E3CAD07B-2E88-47F3-9F79-8E370FBCB9F4}"/>
          </ac:inkMkLst>
        </pc:inkChg>
        <pc:inkChg chg="add mod">
          <ac:chgData name="Aniket Chhabra" userId="598e0514-bef3-4e71-b6aa-f2edd6441cff" providerId="ADAL" clId="{A7CBF834-8346-4C1E-9628-5C7A1CBD8A83}" dt="2021-10-01T04:46:31.716" v="1346"/>
          <ac:inkMkLst>
            <pc:docMk/>
            <pc:sldMk cId="3478359748" sldId="301"/>
            <ac:inkMk id="82" creationId="{3C0FE35D-98CF-4A26-8417-256CFBD49B1F}"/>
          </ac:inkMkLst>
        </pc:inkChg>
        <pc:inkChg chg="add mod">
          <ac:chgData name="Aniket Chhabra" userId="598e0514-bef3-4e71-b6aa-f2edd6441cff" providerId="ADAL" clId="{A7CBF834-8346-4C1E-9628-5C7A1CBD8A83}" dt="2021-10-01T04:46:31.716" v="1346"/>
          <ac:inkMkLst>
            <pc:docMk/>
            <pc:sldMk cId="3478359748" sldId="301"/>
            <ac:inkMk id="83" creationId="{95F756AF-00CC-4DFE-86CD-F857C0BBD93A}"/>
          </ac:inkMkLst>
        </pc:inkChg>
        <pc:inkChg chg="add mod">
          <ac:chgData name="Aniket Chhabra" userId="598e0514-bef3-4e71-b6aa-f2edd6441cff" providerId="ADAL" clId="{A7CBF834-8346-4C1E-9628-5C7A1CBD8A83}" dt="2021-10-01T04:46:31.716" v="1346"/>
          <ac:inkMkLst>
            <pc:docMk/>
            <pc:sldMk cId="3478359748" sldId="301"/>
            <ac:inkMk id="84" creationId="{B7B0CF67-3AC3-4CE0-BE84-1402CB73DB7B}"/>
          </ac:inkMkLst>
        </pc:inkChg>
        <pc:inkChg chg="add mod">
          <ac:chgData name="Aniket Chhabra" userId="598e0514-bef3-4e71-b6aa-f2edd6441cff" providerId="ADAL" clId="{A7CBF834-8346-4C1E-9628-5C7A1CBD8A83}" dt="2021-10-01T04:46:31.716" v="1346"/>
          <ac:inkMkLst>
            <pc:docMk/>
            <pc:sldMk cId="3478359748" sldId="301"/>
            <ac:inkMk id="85" creationId="{8FAA1BFA-3CE4-4352-B93B-88A59B88239A}"/>
          </ac:inkMkLst>
        </pc:inkChg>
        <pc:inkChg chg="add mod">
          <ac:chgData name="Aniket Chhabra" userId="598e0514-bef3-4e71-b6aa-f2edd6441cff" providerId="ADAL" clId="{A7CBF834-8346-4C1E-9628-5C7A1CBD8A83}" dt="2021-10-01T04:46:31.716" v="1346"/>
          <ac:inkMkLst>
            <pc:docMk/>
            <pc:sldMk cId="3478359748" sldId="301"/>
            <ac:inkMk id="86" creationId="{DE078FFB-FABD-4E8D-AA13-CCBF8D91B67F}"/>
          </ac:inkMkLst>
        </pc:inkChg>
        <pc:inkChg chg="add del mod">
          <ac:chgData name="Aniket Chhabra" userId="598e0514-bef3-4e71-b6aa-f2edd6441cff" providerId="ADAL" clId="{A7CBF834-8346-4C1E-9628-5C7A1CBD8A83}" dt="2021-10-01T04:46:53.526" v="1387"/>
          <ac:inkMkLst>
            <pc:docMk/>
            <pc:sldMk cId="3478359748" sldId="301"/>
            <ac:inkMk id="88" creationId="{89DF4B06-04BD-429E-B4C1-EEC40769C3AF}"/>
          </ac:inkMkLst>
        </pc:inkChg>
        <pc:inkChg chg="add del mod">
          <ac:chgData name="Aniket Chhabra" userId="598e0514-bef3-4e71-b6aa-f2edd6441cff" providerId="ADAL" clId="{A7CBF834-8346-4C1E-9628-5C7A1CBD8A83}" dt="2021-10-01T04:46:53.523" v="1382"/>
          <ac:inkMkLst>
            <pc:docMk/>
            <pc:sldMk cId="3478359748" sldId="301"/>
            <ac:inkMk id="89" creationId="{32742B7F-2642-468E-999A-CEDB7FE8ED2B}"/>
          </ac:inkMkLst>
        </pc:inkChg>
        <pc:inkChg chg="add del mod">
          <ac:chgData name="Aniket Chhabra" userId="598e0514-bef3-4e71-b6aa-f2edd6441cff" providerId="ADAL" clId="{A7CBF834-8346-4C1E-9628-5C7A1CBD8A83}" dt="2021-10-01T04:46:53.525" v="1384"/>
          <ac:inkMkLst>
            <pc:docMk/>
            <pc:sldMk cId="3478359748" sldId="301"/>
            <ac:inkMk id="90" creationId="{9A85242D-D137-45CB-BCC2-B99A29063E3C}"/>
          </ac:inkMkLst>
        </pc:inkChg>
        <pc:inkChg chg="add del mod">
          <ac:chgData name="Aniket Chhabra" userId="598e0514-bef3-4e71-b6aa-f2edd6441cff" providerId="ADAL" clId="{A7CBF834-8346-4C1E-9628-5C7A1CBD8A83}" dt="2021-10-01T04:46:44.812" v="1371"/>
          <ac:inkMkLst>
            <pc:docMk/>
            <pc:sldMk cId="3478359748" sldId="301"/>
            <ac:inkMk id="91" creationId="{C7AA0029-0013-4173-9B26-E311C61181DC}"/>
          </ac:inkMkLst>
        </pc:inkChg>
        <pc:inkChg chg="add del mod">
          <ac:chgData name="Aniket Chhabra" userId="598e0514-bef3-4e71-b6aa-f2edd6441cff" providerId="ADAL" clId="{A7CBF834-8346-4C1E-9628-5C7A1CBD8A83}" dt="2021-10-01T04:46:44.810" v="1369"/>
          <ac:inkMkLst>
            <pc:docMk/>
            <pc:sldMk cId="3478359748" sldId="301"/>
            <ac:inkMk id="92" creationId="{EA8AAFCA-2E47-47EB-A905-2B5FD86EFF69}"/>
          </ac:inkMkLst>
        </pc:inkChg>
        <pc:inkChg chg="add del mod">
          <ac:chgData name="Aniket Chhabra" userId="598e0514-bef3-4e71-b6aa-f2edd6441cff" providerId="ADAL" clId="{A7CBF834-8346-4C1E-9628-5C7A1CBD8A83}" dt="2021-10-01T04:46:35.244" v="1354"/>
          <ac:inkMkLst>
            <pc:docMk/>
            <pc:sldMk cId="3478359748" sldId="301"/>
            <ac:inkMk id="93" creationId="{376B4356-E597-4BFE-9A3E-6EEB739890A2}"/>
          </ac:inkMkLst>
        </pc:inkChg>
        <pc:inkChg chg="add del mod">
          <ac:chgData name="Aniket Chhabra" userId="598e0514-bef3-4e71-b6aa-f2edd6441cff" providerId="ADAL" clId="{A7CBF834-8346-4C1E-9628-5C7A1CBD8A83}" dt="2021-10-01T04:46:44.811" v="1370"/>
          <ac:inkMkLst>
            <pc:docMk/>
            <pc:sldMk cId="3478359748" sldId="301"/>
            <ac:inkMk id="95" creationId="{B8AD43EC-37BF-45BF-A0E6-B4D0039D74E2}"/>
          </ac:inkMkLst>
        </pc:inkChg>
        <pc:inkChg chg="add del mod">
          <ac:chgData name="Aniket Chhabra" userId="598e0514-bef3-4e71-b6aa-f2edd6441cff" providerId="ADAL" clId="{A7CBF834-8346-4C1E-9628-5C7A1CBD8A83}" dt="2021-10-01T04:46:44.815" v="1374"/>
          <ac:inkMkLst>
            <pc:docMk/>
            <pc:sldMk cId="3478359748" sldId="301"/>
            <ac:inkMk id="96" creationId="{5503E713-002B-42B1-949C-C1D7363039A2}"/>
          </ac:inkMkLst>
        </pc:inkChg>
        <pc:inkChg chg="add del mod">
          <ac:chgData name="Aniket Chhabra" userId="598e0514-bef3-4e71-b6aa-f2edd6441cff" providerId="ADAL" clId="{A7CBF834-8346-4C1E-9628-5C7A1CBD8A83}" dt="2021-10-01T04:46:44.808" v="1366"/>
          <ac:inkMkLst>
            <pc:docMk/>
            <pc:sldMk cId="3478359748" sldId="301"/>
            <ac:inkMk id="97" creationId="{EBE8F499-19D0-4BF5-8BE3-4F946F792BB7}"/>
          </ac:inkMkLst>
        </pc:inkChg>
        <pc:inkChg chg="add del mod">
          <ac:chgData name="Aniket Chhabra" userId="598e0514-bef3-4e71-b6aa-f2edd6441cff" providerId="ADAL" clId="{A7CBF834-8346-4C1E-9628-5C7A1CBD8A83}" dt="2021-10-01T04:46:44.810" v="1368"/>
          <ac:inkMkLst>
            <pc:docMk/>
            <pc:sldMk cId="3478359748" sldId="301"/>
            <ac:inkMk id="98" creationId="{FFDEE6E3-71C5-4B97-BCF7-EBEDD0676273}"/>
          </ac:inkMkLst>
        </pc:inkChg>
        <pc:inkChg chg="add del mod">
          <ac:chgData name="Aniket Chhabra" userId="598e0514-bef3-4e71-b6aa-f2edd6441cff" providerId="ADAL" clId="{A7CBF834-8346-4C1E-9628-5C7A1CBD8A83}" dt="2021-10-01T04:46:44.816" v="1375"/>
          <ac:inkMkLst>
            <pc:docMk/>
            <pc:sldMk cId="3478359748" sldId="301"/>
            <ac:inkMk id="99" creationId="{CEAA3485-13EA-46A4-901A-9AD63C257046}"/>
          </ac:inkMkLst>
        </pc:inkChg>
        <pc:inkChg chg="add del mod">
          <ac:chgData name="Aniket Chhabra" userId="598e0514-bef3-4e71-b6aa-f2edd6441cff" providerId="ADAL" clId="{A7CBF834-8346-4C1E-9628-5C7A1CBD8A83}" dt="2021-10-01T04:46:44.809" v="1367"/>
          <ac:inkMkLst>
            <pc:docMk/>
            <pc:sldMk cId="3478359748" sldId="301"/>
            <ac:inkMk id="100" creationId="{6930BA4C-398B-454B-914B-E2F1D5CB44F6}"/>
          </ac:inkMkLst>
        </pc:inkChg>
        <pc:inkChg chg="add del mod">
          <ac:chgData name="Aniket Chhabra" userId="598e0514-bef3-4e71-b6aa-f2edd6441cff" providerId="ADAL" clId="{A7CBF834-8346-4C1E-9628-5C7A1CBD8A83}" dt="2021-10-01T04:46:44.807" v="1365"/>
          <ac:inkMkLst>
            <pc:docMk/>
            <pc:sldMk cId="3478359748" sldId="301"/>
            <ac:inkMk id="101" creationId="{0A5C4D8C-5127-4FEF-A27E-028E42A2BDEA}"/>
          </ac:inkMkLst>
        </pc:inkChg>
        <pc:inkChg chg="add del mod">
          <ac:chgData name="Aniket Chhabra" userId="598e0514-bef3-4e71-b6aa-f2edd6441cff" providerId="ADAL" clId="{A7CBF834-8346-4C1E-9628-5C7A1CBD8A83}" dt="2021-10-01T04:46:44.814" v="1373"/>
          <ac:inkMkLst>
            <pc:docMk/>
            <pc:sldMk cId="3478359748" sldId="301"/>
            <ac:inkMk id="102" creationId="{3B4F6EB1-96DD-4922-9054-DABB71F77323}"/>
          </ac:inkMkLst>
        </pc:inkChg>
        <pc:inkChg chg="add del mod">
          <ac:chgData name="Aniket Chhabra" userId="598e0514-bef3-4e71-b6aa-f2edd6441cff" providerId="ADAL" clId="{A7CBF834-8346-4C1E-9628-5C7A1CBD8A83}" dt="2021-10-01T04:46:44.813" v="1372"/>
          <ac:inkMkLst>
            <pc:docMk/>
            <pc:sldMk cId="3478359748" sldId="301"/>
            <ac:inkMk id="103" creationId="{729BD82F-C574-438F-9B1E-D46CA8104AEB}"/>
          </ac:inkMkLst>
        </pc:inkChg>
        <pc:inkChg chg="add del mod">
          <ac:chgData name="Aniket Chhabra" userId="598e0514-bef3-4e71-b6aa-f2edd6441cff" providerId="ADAL" clId="{A7CBF834-8346-4C1E-9628-5C7A1CBD8A83}" dt="2021-10-01T04:46:53.527" v="1388"/>
          <ac:inkMkLst>
            <pc:docMk/>
            <pc:sldMk cId="3478359748" sldId="301"/>
            <ac:inkMk id="105" creationId="{24EC5DC9-307C-431D-8BAB-C406A9768B81}"/>
          </ac:inkMkLst>
        </pc:inkChg>
        <pc:inkChg chg="add del mod">
          <ac:chgData name="Aniket Chhabra" userId="598e0514-bef3-4e71-b6aa-f2edd6441cff" providerId="ADAL" clId="{A7CBF834-8346-4C1E-9628-5C7A1CBD8A83}" dt="2021-10-01T04:46:53.526" v="1386"/>
          <ac:inkMkLst>
            <pc:docMk/>
            <pc:sldMk cId="3478359748" sldId="301"/>
            <ac:inkMk id="106" creationId="{06887418-74A3-49EB-9A15-3FE0B8978858}"/>
          </ac:inkMkLst>
        </pc:inkChg>
        <pc:inkChg chg="add del mod">
          <ac:chgData name="Aniket Chhabra" userId="598e0514-bef3-4e71-b6aa-f2edd6441cff" providerId="ADAL" clId="{A7CBF834-8346-4C1E-9628-5C7A1CBD8A83}" dt="2021-10-01T04:46:53.527" v="1389"/>
          <ac:inkMkLst>
            <pc:docMk/>
            <pc:sldMk cId="3478359748" sldId="301"/>
            <ac:inkMk id="107" creationId="{F347B04A-BCA4-4273-A95B-26D698FF0736}"/>
          </ac:inkMkLst>
        </pc:inkChg>
        <pc:inkChg chg="add del mod">
          <ac:chgData name="Aniket Chhabra" userId="598e0514-bef3-4e71-b6aa-f2edd6441cff" providerId="ADAL" clId="{A7CBF834-8346-4C1E-9628-5C7A1CBD8A83}" dt="2021-10-01T04:46:53.524" v="1383"/>
          <ac:inkMkLst>
            <pc:docMk/>
            <pc:sldMk cId="3478359748" sldId="301"/>
            <ac:inkMk id="108" creationId="{17FDA093-D106-41CD-B180-8528F4906F48}"/>
          </ac:inkMkLst>
        </pc:inkChg>
        <pc:inkChg chg="add del mod">
          <ac:chgData name="Aniket Chhabra" userId="598e0514-bef3-4e71-b6aa-f2edd6441cff" providerId="ADAL" clId="{A7CBF834-8346-4C1E-9628-5C7A1CBD8A83}" dt="2021-10-01T04:46:53.525" v="1385"/>
          <ac:inkMkLst>
            <pc:docMk/>
            <pc:sldMk cId="3478359748" sldId="301"/>
            <ac:inkMk id="109" creationId="{8436F5FA-A926-48BA-AB64-A3C5D8E417B1}"/>
          </ac:inkMkLst>
        </pc:inkChg>
        <pc:inkChg chg="add mod">
          <ac:chgData name="Aniket Chhabra" userId="598e0514-bef3-4e71-b6aa-f2edd6441cff" providerId="ADAL" clId="{A7CBF834-8346-4C1E-9628-5C7A1CBD8A83}" dt="2021-10-01T04:47:02.267" v="1406"/>
          <ac:inkMkLst>
            <pc:docMk/>
            <pc:sldMk cId="3478359748" sldId="301"/>
            <ac:inkMk id="111" creationId="{2686E36D-362A-434C-8279-5743DDFBC05D}"/>
          </ac:inkMkLst>
        </pc:inkChg>
        <pc:inkChg chg="add mod">
          <ac:chgData name="Aniket Chhabra" userId="598e0514-bef3-4e71-b6aa-f2edd6441cff" providerId="ADAL" clId="{A7CBF834-8346-4C1E-9628-5C7A1CBD8A83}" dt="2021-10-01T04:47:02.267" v="1406"/>
          <ac:inkMkLst>
            <pc:docMk/>
            <pc:sldMk cId="3478359748" sldId="301"/>
            <ac:inkMk id="112" creationId="{E6DD6FAA-042C-492F-88FB-0086FECDC5AA}"/>
          </ac:inkMkLst>
        </pc:inkChg>
        <pc:inkChg chg="add mod">
          <ac:chgData name="Aniket Chhabra" userId="598e0514-bef3-4e71-b6aa-f2edd6441cff" providerId="ADAL" clId="{A7CBF834-8346-4C1E-9628-5C7A1CBD8A83}" dt="2021-10-01T04:47:02.267" v="1406"/>
          <ac:inkMkLst>
            <pc:docMk/>
            <pc:sldMk cId="3478359748" sldId="301"/>
            <ac:inkMk id="113" creationId="{5DD6611D-2394-48CE-86EC-03FA5F770223}"/>
          </ac:inkMkLst>
        </pc:inkChg>
        <pc:inkChg chg="add mod">
          <ac:chgData name="Aniket Chhabra" userId="598e0514-bef3-4e71-b6aa-f2edd6441cff" providerId="ADAL" clId="{A7CBF834-8346-4C1E-9628-5C7A1CBD8A83}" dt="2021-10-01T04:47:02.267" v="1406"/>
          <ac:inkMkLst>
            <pc:docMk/>
            <pc:sldMk cId="3478359748" sldId="301"/>
            <ac:inkMk id="114" creationId="{40AA50FC-2301-4DEF-9EC5-8C0DCC70ADBA}"/>
          </ac:inkMkLst>
        </pc:inkChg>
        <pc:inkChg chg="add mod">
          <ac:chgData name="Aniket Chhabra" userId="598e0514-bef3-4e71-b6aa-f2edd6441cff" providerId="ADAL" clId="{A7CBF834-8346-4C1E-9628-5C7A1CBD8A83}" dt="2021-10-01T04:47:02.267" v="1406"/>
          <ac:inkMkLst>
            <pc:docMk/>
            <pc:sldMk cId="3478359748" sldId="301"/>
            <ac:inkMk id="115" creationId="{4DFF9D49-65B4-41B9-9128-816FE762E27D}"/>
          </ac:inkMkLst>
        </pc:inkChg>
        <pc:inkChg chg="add mod">
          <ac:chgData name="Aniket Chhabra" userId="598e0514-bef3-4e71-b6aa-f2edd6441cff" providerId="ADAL" clId="{A7CBF834-8346-4C1E-9628-5C7A1CBD8A83}" dt="2021-10-01T04:47:02.267" v="1406"/>
          <ac:inkMkLst>
            <pc:docMk/>
            <pc:sldMk cId="3478359748" sldId="301"/>
            <ac:inkMk id="116" creationId="{7A7D0BD1-B67E-45C0-9167-847185562E0E}"/>
          </ac:inkMkLst>
        </pc:inkChg>
        <pc:inkChg chg="add mod">
          <ac:chgData name="Aniket Chhabra" userId="598e0514-bef3-4e71-b6aa-f2edd6441cff" providerId="ADAL" clId="{A7CBF834-8346-4C1E-9628-5C7A1CBD8A83}" dt="2021-10-01T04:47:02.267" v="1406"/>
          <ac:inkMkLst>
            <pc:docMk/>
            <pc:sldMk cId="3478359748" sldId="301"/>
            <ac:inkMk id="117" creationId="{5E63643A-A5B1-44D2-9670-32C5AFDC67FF}"/>
          </ac:inkMkLst>
        </pc:inkChg>
        <pc:inkChg chg="add mod">
          <ac:chgData name="Aniket Chhabra" userId="598e0514-bef3-4e71-b6aa-f2edd6441cff" providerId="ADAL" clId="{A7CBF834-8346-4C1E-9628-5C7A1CBD8A83}" dt="2021-10-01T04:47:02.267" v="1406"/>
          <ac:inkMkLst>
            <pc:docMk/>
            <pc:sldMk cId="3478359748" sldId="301"/>
            <ac:inkMk id="118" creationId="{5205C8A8-B550-4FD7-ACEB-D27F3A0DF836}"/>
          </ac:inkMkLst>
        </pc:inkChg>
        <pc:inkChg chg="add mod">
          <ac:chgData name="Aniket Chhabra" userId="598e0514-bef3-4e71-b6aa-f2edd6441cff" providerId="ADAL" clId="{A7CBF834-8346-4C1E-9628-5C7A1CBD8A83}" dt="2021-10-01T04:47:02.267" v="1406"/>
          <ac:inkMkLst>
            <pc:docMk/>
            <pc:sldMk cId="3478359748" sldId="301"/>
            <ac:inkMk id="119" creationId="{A94EC5E3-A198-44B1-A477-6EEF9889180D}"/>
          </ac:inkMkLst>
        </pc:inkChg>
        <pc:inkChg chg="add mod">
          <ac:chgData name="Aniket Chhabra" userId="598e0514-bef3-4e71-b6aa-f2edd6441cff" providerId="ADAL" clId="{A7CBF834-8346-4C1E-9628-5C7A1CBD8A83}" dt="2021-10-01T04:47:02.267" v="1406"/>
          <ac:inkMkLst>
            <pc:docMk/>
            <pc:sldMk cId="3478359748" sldId="301"/>
            <ac:inkMk id="120" creationId="{3463E501-E5A3-497F-B8C5-5EF750A08528}"/>
          </ac:inkMkLst>
        </pc:inkChg>
        <pc:inkChg chg="add mod">
          <ac:chgData name="Aniket Chhabra" userId="598e0514-bef3-4e71-b6aa-f2edd6441cff" providerId="ADAL" clId="{A7CBF834-8346-4C1E-9628-5C7A1CBD8A83}" dt="2021-10-01T04:47:09.254" v="1419"/>
          <ac:inkMkLst>
            <pc:docMk/>
            <pc:sldMk cId="3478359748" sldId="301"/>
            <ac:inkMk id="121" creationId="{0D153F60-E48B-4DBC-BB7D-ECFF71976CE8}"/>
          </ac:inkMkLst>
        </pc:inkChg>
        <pc:inkChg chg="add mod">
          <ac:chgData name="Aniket Chhabra" userId="598e0514-bef3-4e71-b6aa-f2edd6441cff" providerId="ADAL" clId="{A7CBF834-8346-4C1E-9628-5C7A1CBD8A83}" dt="2021-10-01T04:47:09.254" v="1419"/>
          <ac:inkMkLst>
            <pc:docMk/>
            <pc:sldMk cId="3478359748" sldId="301"/>
            <ac:inkMk id="122" creationId="{589E767C-D2FA-4501-BF3B-21B6071EBF0F}"/>
          </ac:inkMkLst>
        </pc:inkChg>
        <pc:inkChg chg="add mod">
          <ac:chgData name="Aniket Chhabra" userId="598e0514-bef3-4e71-b6aa-f2edd6441cff" providerId="ADAL" clId="{A7CBF834-8346-4C1E-9628-5C7A1CBD8A83}" dt="2021-10-01T04:47:09.254" v="1419"/>
          <ac:inkMkLst>
            <pc:docMk/>
            <pc:sldMk cId="3478359748" sldId="301"/>
            <ac:inkMk id="123" creationId="{2DF29C7A-B766-4362-8801-0B6EF1F5928F}"/>
          </ac:inkMkLst>
        </pc:inkChg>
        <pc:inkChg chg="add mod">
          <ac:chgData name="Aniket Chhabra" userId="598e0514-bef3-4e71-b6aa-f2edd6441cff" providerId="ADAL" clId="{A7CBF834-8346-4C1E-9628-5C7A1CBD8A83}" dt="2021-10-01T04:47:09.254" v="1419"/>
          <ac:inkMkLst>
            <pc:docMk/>
            <pc:sldMk cId="3478359748" sldId="301"/>
            <ac:inkMk id="124" creationId="{377D41B4-9C9F-417F-8AF7-3684DC83EA24}"/>
          </ac:inkMkLst>
        </pc:inkChg>
        <pc:inkChg chg="add mod">
          <ac:chgData name="Aniket Chhabra" userId="598e0514-bef3-4e71-b6aa-f2edd6441cff" providerId="ADAL" clId="{A7CBF834-8346-4C1E-9628-5C7A1CBD8A83}" dt="2021-10-01T04:47:09.254" v="1419"/>
          <ac:inkMkLst>
            <pc:docMk/>
            <pc:sldMk cId="3478359748" sldId="301"/>
            <ac:inkMk id="125" creationId="{6E445BFD-C8B6-4F35-9B78-BA140BACF1CD}"/>
          </ac:inkMkLst>
        </pc:inkChg>
        <pc:inkChg chg="add mod">
          <ac:chgData name="Aniket Chhabra" userId="598e0514-bef3-4e71-b6aa-f2edd6441cff" providerId="ADAL" clId="{A7CBF834-8346-4C1E-9628-5C7A1CBD8A83}" dt="2021-10-01T04:47:17.653" v="1442"/>
          <ac:inkMkLst>
            <pc:docMk/>
            <pc:sldMk cId="3478359748" sldId="301"/>
            <ac:inkMk id="126" creationId="{4A29440D-9C21-404F-9EC7-238F12C982A6}"/>
          </ac:inkMkLst>
        </pc:inkChg>
        <pc:inkChg chg="add mod">
          <ac:chgData name="Aniket Chhabra" userId="598e0514-bef3-4e71-b6aa-f2edd6441cff" providerId="ADAL" clId="{A7CBF834-8346-4C1E-9628-5C7A1CBD8A83}" dt="2021-10-01T04:47:17.653" v="1442"/>
          <ac:inkMkLst>
            <pc:docMk/>
            <pc:sldMk cId="3478359748" sldId="301"/>
            <ac:inkMk id="129" creationId="{AB4FD76E-7115-4C0D-AA98-D05D51C3E38E}"/>
          </ac:inkMkLst>
        </pc:inkChg>
        <pc:inkChg chg="add mod">
          <ac:chgData name="Aniket Chhabra" userId="598e0514-bef3-4e71-b6aa-f2edd6441cff" providerId="ADAL" clId="{A7CBF834-8346-4C1E-9628-5C7A1CBD8A83}" dt="2021-10-01T04:47:17.653" v="1442"/>
          <ac:inkMkLst>
            <pc:docMk/>
            <pc:sldMk cId="3478359748" sldId="301"/>
            <ac:inkMk id="130" creationId="{983A516F-55E0-4528-85B7-A8357D7B8A0A}"/>
          </ac:inkMkLst>
        </pc:inkChg>
        <pc:inkChg chg="add mod">
          <ac:chgData name="Aniket Chhabra" userId="598e0514-bef3-4e71-b6aa-f2edd6441cff" providerId="ADAL" clId="{A7CBF834-8346-4C1E-9628-5C7A1CBD8A83}" dt="2021-10-01T04:47:17.653" v="1442"/>
          <ac:inkMkLst>
            <pc:docMk/>
            <pc:sldMk cId="3478359748" sldId="301"/>
            <ac:inkMk id="131" creationId="{D77EC93E-83CB-446E-B675-55780F718C39}"/>
          </ac:inkMkLst>
        </pc:inkChg>
        <pc:inkChg chg="add mod">
          <ac:chgData name="Aniket Chhabra" userId="598e0514-bef3-4e71-b6aa-f2edd6441cff" providerId="ADAL" clId="{A7CBF834-8346-4C1E-9628-5C7A1CBD8A83}" dt="2021-10-01T04:47:17.653" v="1442"/>
          <ac:inkMkLst>
            <pc:docMk/>
            <pc:sldMk cId="3478359748" sldId="301"/>
            <ac:inkMk id="132" creationId="{593585F0-EDA5-4369-A38E-CA9BA7893850}"/>
          </ac:inkMkLst>
        </pc:inkChg>
        <pc:inkChg chg="add del mod">
          <ac:chgData name="Aniket Chhabra" userId="598e0514-bef3-4e71-b6aa-f2edd6441cff" providerId="ADAL" clId="{A7CBF834-8346-4C1E-9628-5C7A1CBD8A83}" dt="2021-10-01T04:47:17.653" v="1442"/>
          <ac:inkMkLst>
            <pc:docMk/>
            <pc:sldMk cId="3478359748" sldId="301"/>
            <ac:inkMk id="134" creationId="{1F9DB61E-8A9F-432B-97B4-59A3035D3563}"/>
          </ac:inkMkLst>
        </pc:inkChg>
        <pc:inkChg chg="add del mod">
          <ac:chgData name="Aniket Chhabra" userId="598e0514-bef3-4e71-b6aa-f2edd6441cff" providerId="ADAL" clId="{A7CBF834-8346-4C1E-9628-5C7A1CBD8A83}" dt="2021-10-01T04:47:17.651" v="1439"/>
          <ac:inkMkLst>
            <pc:docMk/>
            <pc:sldMk cId="3478359748" sldId="301"/>
            <ac:inkMk id="135" creationId="{796BFC6D-8C28-4EC2-BB37-2819DA6BB691}"/>
          </ac:inkMkLst>
        </pc:inkChg>
        <pc:inkChg chg="add del mod">
          <ac:chgData name="Aniket Chhabra" userId="598e0514-bef3-4e71-b6aa-f2edd6441cff" providerId="ADAL" clId="{A7CBF834-8346-4C1E-9628-5C7A1CBD8A83}" dt="2021-10-01T04:47:17.647" v="1433"/>
          <ac:inkMkLst>
            <pc:docMk/>
            <pc:sldMk cId="3478359748" sldId="301"/>
            <ac:inkMk id="136" creationId="{AF36D88A-155D-4463-95BF-C1BC4EAA4247}"/>
          </ac:inkMkLst>
        </pc:inkChg>
        <pc:inkChg chg="add del mod">
          <ac:chgData name="Aniket Chhabra" userId="598e0514-bef3-4e71-b6aa-f2edd6441cff" providerId="ADAL" clId="{A7CBF834-8346-4C1E-9628-5C7A1CBD8A83}" dt="2021-10-01T04:47:17.650" v="1437"/>
          <ac:inkMkLst>
            <pc:docMk/>
            <pc:sldMk cId="3478359748" sldId="301"/>
            <ac:inkMk id="137" creationId="{A1A54124-DEAF-4C37-B2D0-7E91466399EB}"/>
          </ac:inkMkLst>
        </pc:inkChg>
        <pc:inkChg chg="add del mod">
          <ac:chgData name="Aniket Chhabra" userId="598e0514-bef3-4e71-b6aa-f2edd6441cff" providerId="ADAL" clId="{A7CBF834-8346-4C1E-9628-5C7A1CBD8A83}" dt="2021-10-01T04:47:17.647" v="1432"/>
          <ac:inkMkLst>
            <pc:docMk/>
            <pc:sldMk cId="3478359748" sldId="301"/>
            <ac:inkMk id="138" creationId="{E89E365C-E81F-46A5-8AAF-013115388A3C}"/>
          </ac:inkMkLst>
        </pc:inkChg>
        <pc:inkChg chg="add del mod">
          <ac:chgData name="Aniket Chhabra" userId="598e0514-bef3-4e71-b6aa-f2edd6441cff" providerId="ADAL" clId="{A7CBF834-8346-4C1E-9628-5C7A1CBD8A83}" dt="2021-10-01T04:47:17.650" v="1438"/>
          <ac:inkMkLst>
            <pc:docMk/>
            <pc:sldMk cId="3478359748" sldId="301"/>
            <ac:inkMk id="139" creationId="{9CE51F9E-A88E-41AF-9C37-33CA792C4112}"/>
          </ac:inkMkLst>
        </pc:inkChg>
        <pc:inkChg chg="add del">
          <ac:chgData name="Aniket Chhabra" userId="598e0514-bef3-4e71-b6aa-f2edd6441cff" providerId="ADAL" clId="{A7CBF834-8346-4C1E-9628-5C7A1CBD8A83}" dt="2021-10-01T04:47:17.652" v="1440"/>
          <ac:inkMkLst>
            <pc:docMk/>
            <pc:sldMk cId="3478359748" sldId="301"/>
            <ac:inkMk id="140" creationId="{1D48D1FE-A54B-43AC-97FC-79952290B16E}"/>
          </ac:inkMkLst>
        </pc:inkChg>
        <pc:inkChg chg="add del mod">
          <ac:chgData name="Aniket Chhabra" userId="598e0514-bef3-4e71-b6aa-f2edd6441cff" providerId="ADAL" clId="{A7CBF834-8346-4C1E-9628-5C7A1CBD8A83}" dt="2021-10-01T04:47:17.648" v="1434"/>
          <ac:inkMkLst>
            <pc:docMk/>
            <pc:sldMk cId="3478359748" sldId="301"/>
            <ac:inkMk id="142" creationId="{032EE0E4-6E96-443B-A2A2-243D2A0FD2D0}"/>
          </ac:inkMkLst>
        </pc:inkChg>
        <pc:inkChg chg="add del mod">
          <ac:chgData name="Aniket Chhabra" userId="598e0514-bef3-4e71-b6aa-f2edd6441cff" providerId="ADAL" clId="{A7CBF834-8346-4C1E-9628-5C7A1CBD8A83}" dt="2021-10-01T04:47:17.646" v="1431"/>
          <ac:inkMkLst>
            <pc:docMk/>
            <pc:sldMk cId="3478359748" sldId="301"/>
            <ac:inkMk id="143" creationId="{E8DE2EE2-6A8C-4BF9-B86F-CD1D8A32E182}"/>
          </ac:inkMkLst>
        </pc:inkChg>
        <pc:inkChg chg="add del mod">
          <ac:chgData name="Aniket Chhabra" userId="598e0514-bef3-4e71-b6aa-f2edd6441cff" providerId="ADAL" clId="{A7CBF834-8346-4C1E-9628-5C7A1CBD8A83}" dt="2021-10-01T04:47:17.649" v="1435"/>
          <ac:inkMkLst>
            <pc:docMk/>
            <pc:sldMk cId="3478359748" sldId="301"/>
            <ac:inkMk id="144" creationId="{22BF94C2-1C6B-4B1D-88D8-70D9263B882A}"/>
          </ac:inkMkLst>
        </pc:inkChg>
        <pc:inkChg chg="add del mod">
          <ac:chgData name="Aniket Chhabra" userId="598e0514-bef3-4e71-b6aa-f2edd6441cff" providerId="ADAL" clId="{A7CBF834-8346-4C1E-9628-5C7A1CBD8A83}" dt="2021-10-01T04:47:17.644" v="1429"/>
          <ac:inkMkLst>
            <pc:docMk/>
            <pc:sldMk cId="3478359748" sldId="301"/>
            <ac:inkMk id="145" creationId="{64049386-3FB8-4487-AC44-BED30D14E614}"/>
          </ac:inkMkLst>
        </pc:inkChg>
        <pc:inkChg chg="add del mod">
          <ac:chgData name="Aniket Chhabra" userId="598e0514-bef3-4e71-b6aa-f2edd6441cff" providerId="ADAL" clId="{A7CBF834-8346-4C1E-9628-5C7A1CBD8A83}" dt="2021-10-01T04:47:17.645" v="1430"/>
          <ac:inkMkLst>
            <pc:docMk/>
            <pc:sldMk cId="3478359748" sldId="301"/>
            <ac:inkMk id="146" creationId="{6C660AA0-A238-412F-B7A9-1DDC801B1B94}"/>
          </ac:inkMkLst>
        </pc:inkChg>
        <pc:inkChg chg="add del mod">
          <ac:chgData name="Aniket Chhabra" userId="598e0514-bef3-4e71-b6aa-f2edd6441cff" providerId="ADAL" clId="{A7CBF834-8346-4C1E-9628-5C7A1CBD8A83}" dt="2021-10-01T04:47:17.654" v="1443"/>
          <ac:inkMkLst>
            <pc:docMk/>
            <pc:sldMk cId="3478359748" sldId="301"/>
            <ac:inkMk id="147" creationId="{D82F96DF-447A-4699-8F72-87ABB9B84327}"/>
          </ac:inkMkLst>
        </pc:inkChg>
        <pc:inkChg chg="add del mod">
          <ac:chgData name="Aniket Chhabra" userId="598e0514-bef3-4e71-b6aa-f2edd6441cff" providerId="ADAL" clId="{A7CBF834-8346-4C1E-9628-5C7A1CBD8A83}" dt="2021-10-01T04:47:17.652" v="1441"/>
          <ac:inkMkLst>
            <pc:docMk/>
            <pc:sldMk cId="3478359748" sldId="301"/>
            <ac:inkMk id="148" creationId="{AF017727-9C66-4F2E-88BB-824CA6010B35}"/>
          </ac:inkMkLst>
        </pc:inkChg>
        <pc:inkChg chg="add del mod">
          <ac:chgData name="Aniket Chhabra" userId="598e0514-bef3-4e71-b6aa-f2edd6441cff" providerId="ADAL" clId="{A7CBF834-8346-4C1E-9628-5C7A1CBD8A83}" dt="2021-10-01T04:47:17.649" v="1436"/>
          <ac:inkMkLst>
            <pc:docMk/>
            <pc:sldMk cId="3478359748" sldId="301"/>
            <ac:inkMk id="149" creationId="{C0CAA5F8-0210-46FC-B0C1-594D62C62388}"/>
          </ac:inkMkLst>
        </pc:inkChg>
        <pc:inkChg chg="add mod">
          <ac:chgData name="Aniket Chhabra" userId="598e0514-bef3-4e71-b6aa-f2edd6441cff" providerId="ADAL" clId="{A7CBF834-8346-4C1E-9628-5C7A1CBD8A83}" dt="2021-10-01T04:47:28.556" v="1455"/>
          <ac:inkMkLst>
            <pc:docMk/>
            <pc:sldMk cId="3478359748" sldId="301"/>
            <ac:inkMk id="151" creationId="{15ABBC6A-4AFB-43F3-8309-F7EBCB535557}"/>
          </ac:inkMkLst>
        </pc:inkChg>
        <pc:inkChg chg="add mod">
          <ac:chgData name="Aniket Chhabra" userId="598e0514-bef3-4e71-b6aa-f2edd6441cff" providerId="ADAL" clId="{A7CBF834-8346-4C1E-9628-5C7A1CBD8A83}" dt="2021-10-01T04:47:28.556" v="1455"/>
          <ac:inkMkLst>
            <pc:docMk/>
            <pc:sldMk cId="3478359748" sldId="301"/>
            <ac:inkMk id="152" creationId="{ECB67750-054D-4E88-B9FE-685BDA718657}"/>
          </ac:inkMkLst>
        </pc:inkChg>
        <pc:inkChg chg="add mod">
          <ac:chgData name="Aniket Chhabra" userId="598e0514-bef3-4e71-b6aa-f2edd6441cff" providerId="ADAL" clId="{A7CBF834-8346-4C1E-9628-5C7A1CBD8A83}" dt="2021-10-01T04:47:28.556" v="1455"/>
          <ac:inkMkLst>
            <pc:docMk/>
            <pc:sldMk cId="3478359748" sldId="301"/>
            <ac:inkMk id="153" creationId="{8EC35CDF-E46D-49BA-9C96-BFE64239D140}"/>
          </ac:inkMkLst>
        </pc:inkChg>
        <pc:inkChg chg="add mod">
          <ac:chgData name="Aniket Chhabra" userId="598e0514-bef3-4e71-b6aa-f2edd6441cff" providerId="ADAL" clId="{A7CBF834-8346-4C1E-9628-5C7A1CBD8A83}" dt="2021-10-01T04:47:28.556" v="1455"/>
          <ac:inkMkLst>
            <pc:docMk/>
            <pc:sldMk cId="3478359748" sldId="301"/>
            <ac:inkMk id="154" creationId="{19BEF3AE-FC11-4B1F-9347-2B7392D1A88A}"/>
          </ac:inkMkLst>
        </pc:inkChg>
        <pc:inkChg chg="add mod">
          <ac:chgData name="Aniket Chhabra" userId="598e0514-bef3-4e71-b6aa-f2edd6441cff" providerId="ADAL" clId="{A7CBF834-8346-4C1E-9628-5C7A1CBD8A83}" dt="2021-10-01T04:47:28.556" v="1455"/>
          <ac:inkMkLst>
            <pc:docMk/>
            <pc:sldMk cId="3478359748" sldId="301"/>
            <ac:inkMk id="155" creationId="{E0EAA5C8-C6FF-4375-89ED-DBE6CD4A3982}"/>
          </ac:inkMkLst>
        </pc:inkChg>
        <pc:inkChg chg="add mod">
          <ac:chgData name="Aniket Chhabra" userId="598e0514-bef3-4e71-b6aa-f2edd6441cff" providerId="ADAL" clId="{A7CBF834-8346-4C1E-9628-5C7A1CBD8A83}" dt="2021-10-01T04:47:28.556" v="1455"/>
          <ac:inkMkLst>
            <pc:docMk/>
            <pc:sldMk cId="3478359748" sldId="301"/>
            <ac:inkMk id="156" creationId="{094F7A00-9B18-4AD6-8BED-AA7869877C1E}"/>
          </ac:inkMkLst>
        </pc:inkChg>
        <pc:inkChg chg="add mod">
          <ac:chgData name="Aniket Chhabra" userId="598e0514-bef3-4e71-b6aa-f2edd6441cff" providerId="ADAL" clId="{A7CBF834-8346-4C1E-9628-5C7A1CBD8A83}" dt="2021-10-01T04:47:28.556" v="1455"/>
          <ac:inkMkLst>
            <pc:docMk/>
            <pc:sldMk cId="3478359748" sldId="301"/>
            <ac:inkMk id="157" creationId="{952749FD-4111-46D8-AB2A-394CEF04E2FB}"/>
          </ac:inkMkLst>
        </pc:inkChg>
        <pc:inkChg chg="add mod">
          <ac:chgData name="Aniket Chhabra" userId="598e0514-bef3-4e71-b6aa-f2edd6441cff" providerId="ADAL" clId="{A7CBF834-8346-4C1E-9628-5C7A1CBD8A83}" dt="2021-10-01T04:47:28.556" v="1455"/>
          <ac:inkMkLst>
            <pc:docMk/>
            <pc:sldMk cId="3478359748" sldId="301"/>
            <ac:inkMk id="158" creationId="{8E521572-BCCA-4BA1-BF48-93437D612999}"/>
          </ac:inkMkLst>
        </pc:inkChg>
        <pc:inkChg chg="add mod">
          <ac:chgData name="Aniket Chhabra" userId="598e0514-bef3-4e71-b6aa-f2edd6441cff" providerId="ADAL" clId="{A7CBF834-8346-4C1E-9628-5C7A1CBD8A83}" dt="2021-10-01T04:47:28.556" v="1455"/>
          <ac:inkMkLst>
            <pc:docMk/>
            <pc:sldMk cId="3478359748" sldId="301"/>
            <ac:inkMk id="159" creationId="{21FE414F-9FFF-4E07-AFF6-E48E9C3FCDC8}"/>
          </ac:inkMkLst>
        </pc:inkChg>
        <pc:inkChg chg="add mod">
          <ac:chgData name="Aniket Chhabra" userId="598e0514-bef3-4e71-b6aa-f2edd6441cff" providerId="ADAL" clId="{A7CBF834-8346-4C1E-9628-5C7A1CBD8A83}" dt="2021-10-01T04:47:28.556" v="1455"/>
          <ac:inkMkLst>
            <pc:docMk/>
            <pc:sldMk cId="3478359748" sldId="301"/>
            <ac:inkMk id="160" creationId="{98A0DA7F-E170-4C10-89B9-9257581FC146}"/>
          </ac:inkMkLst>
        </pc:inkChg>
        <pc:inkChg chg="add mod">
          <ac:chgData name="Aniket Chhabra" userId="598e0514-bef3-4e71-b6aa-f2edd6441cff" providerId="ADAL" clId="{A7CBF834-8346-4C1E-9628-5C7A1CBD8A83}" dt="2021-10-01T04:47:28.556" v="1455"/>
          <ac:inkMkLst>
            <pc:docMk/>
            <pc:sldMk cId="3478359748" sldId="301"/>
            <ac:inkMk id="161" creationId="{3F7AE4DD-5AE5-4333-ABE8-F23BFBF52994}"/>
          </ac:inkMkLst>
        </pc:inkChg>
        <pc:inkChg chg="add">
          <ac:chgData name="Aniket Chhabra" userId="598e0514-bef3-4e71-b6aa-f2edd6441cff" providerId="ADAL" clId="{A7CBF834-8346-4C1E-9628-5C7A1CBD8A83}" dt="2021-10-01T04:47:32.115" v="1456" actId="9405"/>
          <ac:inkMkLst>
            <pc:docMk/>
            <pc:sldMk cId="3478359748" sldId="301"/>
            <ac:inkMk id="164" creationId="{46DA0053-66C0-41D3-A035-8776CBD2896E}"/>
          </ac:inkMkLst>
        </pc:inkChg>
        <pc:inkChg chg="add del">
          <ac:chgData name="Aniket Chhabra" userId="598e0514-bef3-4e71-b6aa-f2edd6441cff" providerId="ADAL" clId="{A7CBF834-8346-4C1E-9628-5C7A1CBD8A83}" dt="2021-10-01T04:47:56.677" v="1461"/>
          <ac:inkMkLst>
            <pc:docMk/>
            <pc:sldMk cId="3478359748" sldId="301"/>
            <ac:inkMk id="165" creationId="{4813D2C9-96CA-4014-A639-1755C9010879}"/>
          </ac:inkMkLst>
        </pc:inkChg>
        <pc:inkChg chg="add">
          <ac:chgData name="Aniket Chhabra" userId="598e0514-bef3-4e71-b6aa-f2edd6441cff" providerId="ADAL" clId="{A7CBF834-8346-4C1E-9628-5C7A1CBD8A83}" dt="2021-10-01T04:47:42.661" v="1458" actId="9405"/>
          <ac:inkMkLst>
            <pc:docMk/>
            <pc:sldMk cId="3478359748" sldId="301"/>
            <ac:inkMk id="166" creationId="{E3498A10-AF00-40D5-B3DF-7C0215A3C7E6}"/>
          </ac:inkMkLst>
        </pc:inkChg>
        <pc:inkChg chg="add del">
          <ac:chgData name="Aniket Chhabra" userId="598e0514-bef3-4e71-b6aa-f2edd6441cff" providerId="ADAL" clId="{A7CBF834-8346-4C1E-9628-5C7A1CBD8A83}" dt="2021-10-01T04:47:56.677" v="1460"/>
          <ac:inkMkLst>
            <pc:docMk/>
            <pc:sldMk cId="3478359748" sldId="301"/>
            <ac:inkMk id="167" creationId="{03943C2F-E460-441C-882E-81855FD296F3}"/>
          </ac:inkMkLst>
        </pc:inkChg>
        <pc:inkChg chg="add del">
          <ac:chgData name="Aniket Chhabra" userId="598e0514-bef3-4e71-b6aa-f2edd6441cff" providerId="ADAL" clId="{A7CBF834-8346-4C1E-9628-5C7A1CBD8A83}" dt="2021-10-01T04:49:36.696" v="1512"/>
          <ac:inkMkLst>
            <pc:docMk/>
            <pc:sldMk cId="3478359748" sldId="301"/>
            <ac:inkMk id="168" creationId="{E3B64399-1675-4A58-BB37-DCB0D002BCF4}"/>
          </ac:inkMkLst>
        </pc:inkChg>
        <pc:inkChg chg="add">
          <ac:chgData name="Aniket Chhabra" userId="598e0514-bef3-4e71-b6aa-f2edd6441cff" providerId="ADAL" clId="{A7CBF834-8346-4C1E-9628-5C7A1CBD8A83}" dt="2021-10-01T04:47:59.760" v="1463" actId="9405"/>
          <ac:inkMkLst>
            <pc:docMk/>
            <pc:sldMk cId="3478359748" sldId="301"/>
            <ac:inkMk id="169" creationId="{8379E051-038A-483C-99D3-75B1652E6880}"/>
          </ac:inkMkLst>
        </pc:inkChg>
        <pc:inkChg chg="add mod">
          <ac:chgData name="Aniket Chhabra" userId="598e0514-bef3-4e71-b6aa-f2edd6441cff" providerId="ADAL" clId="{A7CBF834-8346-4C1E-9628-5C7A1CBD8A83}" dt="2021-10-01T04:48:35.119" v="1479"/>
          <ac:inkMkLst>
            <pc:docMk/>
            <pc:sldMk cId="3478359748" sldId="301"/>
            <ac:inkMk id="170" creationId="{894F3C51-F6B4-4A72-A032-33668502854A}"/>
          </ac:inkMkLst>
        </pc:inkChg>
        <pc:inkChg chg="add mod">
          <ac:chgData name="Aniket Chhabra" userId="598e0514-bef3-4e71-b6aa-f2edd6441cff" providerId="ADAL" clId="{A7CBF834-8346-4C1E-9628-5C7A1CBD8A83}" dt="2021-10-01T04:48:35.119" v="1479"/>
          <ac:inkMkLst>
            <pc:docMk/>
            <pc:sldMk cId="3478359748" sldId="301"/>
            <ac:inkMk id="171" creationId="{22199BD1-F0E8-425B-8DB4-33F7BF47FED6}"/>
          </ac:inkMkLst>
        </pc:inkChg>
        <pc:inkChg chg="add mod">
          <ac:chgData name="Aniket Chhabra" userId="598e0514-bef3-4e71-b6aa-f2edd6441cff" providerId="ADAL" clId="{A7CBF834-8346-4C1E-9628-5C7A1CBD8A83}" dt="2021-10-01T04:48:35.119" v="1479"/>
          <ac:inkMkLst>
            <pc:docMk/>
            <pc:sldMk cId="3478359748" sldId="301"/>
            <ac:inkMk id="172" creationId="{571DD6BA-EDCB-4A1B-87F7-633BD32E8A85}"/>
          </ac:inkMkLst>
        </pc:inkChg>
        <pc:inkChg chg="add del mod">
          <ac:chgData name="Aniket Chhabra" userId="598e0514-bef3-4e71-b6aa-f2edd6441cff" providerId="ADAL" clId="{A7CBF834-8346-4C1E-9628-5C7A1CBD8A83}" dt="2021-10-01T04:48:33.474" v="1477"/>
          <ac:inkMkLst>
            <pc:docMk/>
            <pc:sldMk cId="3478359748" sldId="301"/>
            <ac:inkMk id="173" creationId="{3682D93C-8591-4CBF-8F95-BF3A3DDA3BD9}"/>
          </ac:inkMkLst>
        </pc:inkChg>
        <pc:inkChg chg="add del mod">
          <ac:chgData name="Aniket Chhabra" userId="598e0514-bef3-4e71-b6aa-f2edd6441cff" providerId="ADAL" clId="{A7CBF834-8346-4C1E-9628-5C7A1CBD8A83}" dt="2021-10-01T04:48:35.119" v="1479"/>
          <ac:inkMkLst>
            <pc:docMk/>
            <pc:sldMk cId="3478359748" sldId="301"/>
            <ac:inkMk id="174" creationId="{B4F839B1-1B96-42A6-8E6C-83660AD16647}"/>
          </ac:inkMkLst>
        </pc:inkChg>
        <pc:inkChg chg="add del mod">
          <ac:chgData name="Aniket Chhabra" userId="598e0514-bef3-4e71-b6aa-f2edd6441cff" providerId="ADAL" clId="{A7CBF834-8346-4C1E-9628-5C7A1CBD8A83}" dt="2021-10-01T04:48:33.474" v="1476"/>
          <ac:inkMkLst>
            <pc:docMk/>
            <pc:sldMk cId="3478359748" sldId="301"/>
            <ac:inkMk id="175" creationId="{2398ABA8-BCCA-466F-9B31-3541AD79918F}"/>
          </ac:inkMkLst>
        </pc:inkChg>
        <pc:inkChg chg="add del">
          <ac:chgData name="Aniket Chhabra" userId="598e0514-bef3-4e71-b6aa-f2edd6441cff" providerId="ADAL" clId="{A7CBF834-8346-4C1E-9628-5C7A1CBD8A83}" dt="2021-10-01T04:48:35.121" v="1480"/>
          <ac:inkMkLst>
            <pc:docMk/>
            <pc:sldMk cId="3478359748" sldId="301"/>
            <ac:inkMk id="177" creationId="{3C99A2AC-94FB-4CB5-962E-4A83B97E3671}"/>
          </ac:inkMkLst>
        </pc:inkChg>
        <pc:inkChg chg="add mod">
          <ac:chgData name="Aniket Chhabra" userId="598e0514-bef3-4e71-b6aa-f2edd6441cff" providerId="ADAL" clId="{A7CBF834-8346-4C1E-9628-5C7A1CBD8A83}" dt="2021-10-01T04:48:37.673" v="1485"/>
          <ac:inkMkLst>
            <pc:docMk/>
            <pc:sldMk cId="3478359748" sldId="301"/>
            <ac:inkMk id="178" creationId="{72125DD4-7556-40C5-8D05-568658940B21}"/>
          </ac:inkMkLst>
        </pc:inkChg>
        <pc:inkChg chg="add mod">
          <ac:chgData name="Aniket Chhabra" userId="598e0514-bef3-4e71-b6aa-f2edd6441cff" providerId="ADAL" clId="{A7CBF834-8346-4C1E-9628-5C7A1CBD8A83}" dt="2021-10-01T04:48:37.673" v="1485"/>
          <ac:inkMkLst>
            <pc:docMk/>
            <pc:sldMk cId="3478359748" sldId="301"/>
            <ac:inkMk id="179" creationId="{C1661A89-2ECF-4DE9-BADF-7615CF7B7280}"/>
          </ac:inkMkLst>
        </pc:inkChg>
        <pc:inkChg chg="add mod">
          <ac:chgData name="Aniket Chhabra" userId="598e0514-bef3-4e71-b6aa-f2edd6441cff" providerId="ADAL" clId="{A7CBF834-8346-4C1E-9628-5C7A1CBD8A83}" dt="2021-10-01T04:48:37.673" v="1485"/>
          <ac:inkMkLst>
            <pc:docMk/>
            <pc:sldMk cId="3478359748" sldId="301"/>
            <ac:inkMk id="180" creationId="{97E980D9-041F-4D72-A268-1277450A544F}"/>
          </ac:inkMkLst>
        </pc:inkChg>
        <pc:inkChg chg="add mod">
          <ac:chgData name="Aniket Chhabra" userId="598e0514-bef3-4e71-b6aa-f2edd6441cff" providerId="ADAL" clId="{A7CBF834-8346-4C1E-9628-5C7A1CBD8A83}" dt="2021-10-01T04:48:37.673" v="1485"/>
          <ac:inkMkLst>
            <pc:docMk/>
            <pc:sldMk cId="3478359748" sldId="301"/>
            <ac:inkMk id="181" creationId="{9C926C98-0B7F-4B52-B754-71DCE978FDEE}"/>
          </ac:inkMkLst>
        </pc:inkChg>
        <pc:inkChg chg="add del mod">
          <ac:chgData name="Aniket Chhabra" userId="598e0514-bef3-4e71-b6aa-f2edd6441cff" providerId="ADAL" clId="{A7CBF834-8346-4C1E-9628-5C7A1CBD8A83}" dt="2021-10-01T04:48:43.561" v="1495"/>
          <ac:inkMkLst>
            <pc:docMk/>
            <pc:sldMk cId="3478359748" sldId="301"/>
            <ac:inkMk id="183" creationId="{E0D8EA5F-A433-4244-B8EB-F923BD60BAB4}"/>
          </ac:inkMkLst>
        </pc:inkChg>
        <pc:inkChg chg="add del mod">
          <ac:chgData name="Aniket Chhabra" userId="598e0514-bef3-4e71-b6aa-f2edd6441cff" providerId="ADAL" clId="{A7CBF834-8346-4C1E-9628-5C7A1CBD8A83}" dt="2021-10-01T04:48:43.559" v="1493"/>
          <ac:inkMkLst>
            <pc:docMk/>
            <pc:sldMk cId="3478359748" sldId="301"/>
            <ac:inkMk id="184" creationId="{CB58A130-615E-480C-BF94-58919504FDAD}"/>
          </ac:inkMkLst>
        </pc:inkChg>
        <pc:inkChg chg="add del mod">
          <ac:chgData name="Aniket Chhabra" userId="598e0514-bef3-4e71-b6aa-f2edd6441cff" providerId="ADAL" clId="{A7CBF834-8346-4C1E-9628-5C7A1CBD8A83}" dt="2021-10-01T04:48:43.562" v="1496"/>
          <ac:inkMkLst>
            <pc:docMk/>
            <pc:sldMk cId="3478359748" sldId="301"/>
            <ac:inkMk id="185" creationId="{976A5D6E-80F3-4D00-BD8D-9EF7AC6C9907}"/>
          </ac:inkMkLst>
        </pc:inkChg>
        <pc:inkChg chg="add del mod">
          <ac:chgData name="Aniket Chhabra" userId="598e0514-bef3-4e71-b6aa-f2edd6441cff" providerId="ADAL" clId="{A7CBF834-8346-4C1E-9628-5C7A1CBD8A83}" dt="2021-10-01T04:48:43.561" v="1494"/>
          <ac:inkMkLst>
            <pc:docMk/>
            <pc:sldMk cId="3478359748" sldId="301"/>
            <ac:inkMk id="186" creationId="{DCBC431C-D3B2-4249-8C9C-D588654BD04E}"/>
          </ac:inkMkLst>
        </pc:inkChg>
        <pc:inkChg chg="add del mod">
          <ac:chgData name="Aniket Chhabra" userId="598e0514-bef3-4e71-b6aa-f2edd6441cff" providerId="ADAL" clId="{A7CBF834-8346-4C1E-9628-5C7A1CBD8A83}" dt="2021-10-01T04:48:43.563" v="1497"/>
          <ac:inkMkLst>
            <pc:docMk/>
            <pc:sldMk cId="3478359748" sldId="301"/>
            <ac:inkMk id="188" creationId="{6ED94298-F1B0-45C3-914B-633CF3D0D86B}"/>
          </ac:inkMkLst>
        </pc:inkChg>
        <pc:inkChg chg="add del">
          <ac:chgData name="Aniket Chhabra" userId="598e0514-bef3-4e71-b6aa-f2edd6441cff" providerId="ADAL" clId="{A7CBF834-8346-4C1E-9628-5C7A1CBD8A83}" dt="2021-10-01T04:48:47.770" v="1503"/>
          <ac:inkMkLst>
            <pc:docMk/>
            <pc:sldMk cId="3478359748" sldId="301"/>
            <ac:inkMk id="190" creationId="{6A00AA5D-628C-4A74-8E91-25B0B060B99F}"/>
          </ac:inkMkLst>
        </pc:inkChg>
        <pc:inkChg chg="add del">
          <ac:chgData name="Aniket Chhabra" userId="598e0514-bef3-4e71-b6aa-f2edd6441cff" providerId="ADAL" clId="{A7CBF834-8346-4C1E-9628-5C7A1CBD8A83}" dt="2021-10-01T04:48:47.772" v="1505"/>
          <ac:inkMkLst>
            <pc:docMk/>
            <pc:sldMk cId="3478359748" sldId="301"/>
            <ac:inkMk id="191" creationId="{6F49D4D8-18F5-47D4-A7FF-AB00B718A86C}"/>
          </ac:inkMkLst>
        </pc:inkChg>
        <pc:inkChg chg="add del">
          <ac:chgData name="Aniket Chhabra" userId="598e0514-bef3-4e71-b6aa-f2edd6441cff" providerId="ADAL" clId="{A7CBF834-8346-4C1E-9628-5C7A1CBD8A83}" dt="2021-10-01T04:48:47.771" v="1504"/>
          <ac:inkMkLst>
            <pc:docMk/>
            <pc:sldMk cId="3478359748" sldId="301"/>
            <ac:inkMk id="192" creationId="{6D7F59DE-28CB-4948-9CD6-198B1520FAEF}"/>
          </ac:inkMkLst>
        </pc:inkChg>
        <pc:inkChg chg="add del">
          <ac:chgData name="Aniket Chhabra" userId="598e0514-bef3-4e71-b6aa-f2edd6441cff" providerId="ADAL" clId="{A7CBF834-8346-4C1E-9628-5C7A1CBD8A83}" dt="2021-10-01T04:48:46.885" v="1502"/>
          <ac:inkMkLst>
            <pc:docMk/>
            <pc:sldMk cId="3478359748" sldId="301"/>
            <ac:inkMk id="193" creationId="{0B267605-C841-40D2-B642-62B150066247}"/>
          </ac:inkMkLst>
        </pc:inkChg>
        <pc:inkChg chg="add mod">
          <ac:chgData name="Aniket Chhabra" userId="598e0514-bef3-4e71-b6aa-f2edd6441cff" providerId="ADAL" clId="{A7CBF834-8346-4C1E-9628-5C7A1CBD8A83}" dt="2021-10-01T04:48:50.798" v="1510"/>
          <ac:inkMkLst>
            <pc:docMk/>
            <pc:sldMk cId="3478359748" sldId="301"/>
            <ac:inkMk id="194" creationId="{0B1E98F7-BD73-48C8-A565-E17347F301C1}"/>
          </ac:inkMkLst>
        </pc:inkChg>
        <pc:inkChg chg="add mod">
          <ac:chgData name="Aniket Chhabra" userId="598e0514-bef3-4e71-b6aa-f2edd6441cff" providerId="ADAL" clId="{A7CBF834-8346-4C1E-9628-5C7A1CBD8A83}" dt="2021-10-01T04:48:50.798" v="1510"/>
          <ac:inkMkLst>
            <pc:docMk/>
            <pc:sldMk cId="3478359748" sldId="301"/>
            <ac:inkMk id="195" creationId="{D9037C03-2CAA-495A-8B17-F8183AF87919}"/>
          </ac:inkMkLst>
        </pc:inkChg>
        <pc:inkChg chg="add mod">
          <ac:chgData name="Aniket Chhabra" userId="598e0514-bef3-4e71-b6aa-f2edd6441cff" providerId="ADAL" clId="{A7CBF834-8346-4C1E-9628-5C7A1CBD8A83}" dt="2021-10-01T04:48:50.798" v="1510"/>
          <ac:inkMkLst>
            <pc:docMk/>
            <pc:sldMk cId="3478359748" sldId="301"/>
            <ac:inkMk id="196" creationId="{117155B1-CB73-481D-9856-C976197699A7}"/>
          </ac:inkMkLst>
        </pc:inkChg>
        <pc:inkChg chg="add mod">
          <ac:chgData name="Aniket Chhabra" userId="598e0514-bef3-4e71-b6aa-f2edd6441cff" providerId="ADAL" clId="{A7CBF834-8346-4C1E-9628-5C7A1CBD8A83}" dt="2021-10-01T04:48:50.798" v="1510"/>
          <ac:inkMkLst>
            <pc:docMk/>
            <pc:sldMk cId="3478359748" sldId="301"/>
            <ac:inkMk id="197" creationId="{82273032-4D1B-4E5C-9962-C430AF9884DA}"/>
          </ac:inkMkLst>
        </pc:inkChg>
        <pc:inkChg chg="add del">
          <ac:chgData name="Aniket Chhabra" userId="598e0514-bef3-4e71-b6aa-f2edd6441cff" providerId="ADAL" clId="{A7CBF834-8346-4C1E-9628-5C7A1CBD8A83}" dt="2021-10-01T04:49:36.698" v="1513"/>
          <ac:inkMkLst>
            <pc:docMk/>
            <pc:sldMk cId="3478359748" sldId="301"/>
            <ac:inkMk id="199" creationId="{74B0A8CE-6B8D-4E34-B43F-3C637C8BE771}"/>
          </ac:inkMkLst>
        </pc:inkChg>
        <pc:inkChg chg="add">
          <ac:chgData name="Aniket Chhabra" userId="598e0514-bef3-4e71-b6aa-f2edd6441cff" providerId="ADAL" clId="{A7CBF834-8346-4C1E-9628-5C7A1CBD8A83}" dt="2021-10-01T04:49:50.050" v="1514" actId="9405"/>
          <ac:inkMkLst>
            <pc:docMk/>
            <pc:sldMk cId="3478359748" sldId="301"/>
            <ac:inkMk id="200" creationId="{46961CC5-F2CA-4FCB-9070-4C04302D8607}"/>
          </ac:inkMkLst>
        </pc:inkChg>
        <pc:inkChg chg="add mod">
          <ac:chgData name="Aniket Chhabra" userId="598e0514-bef3-4e71-b6aa-f2edd6441cff" providerId="ADAL" clId="{A7CBF834-8346-4C1E-9628-5C7A1CBD8A83}" dt="2021-10-01T04:50:07.308" v="1539"/>
          <ac:inkMkLst>
            <pc:docMk/>
            <pc:sldMk cId="3478359748" sldId="301"/>
            <ac:inkMk id="201" creationId="{02C92FD0-38E7-4766-A089-C9A2872E9573}"/>
          </ac:inkMkLst>
        </pc:inkChg>
        <pc:inkChg chg="add mod">
          <ac:chgData name="Aniket Chhabra" userId="598e0514-bef3-4e71-b6aa-f2edd6441cff" providerId="ADAL" clId="{A7CBF834-8346-4C1E-9628-5C7A1CBD8A83}" dt="2021-10-01T04:50:07.308" v="1539"/>
          <ac:inkMkLst>
            <pc:docMk/>
            <pc:sldMk cId="3478359748" sldId="301"/>
            <ac:inkMk id="202" creationId="{857F1F1D-1B75-4E75-8448-F84384CAD220}"/>
          </ac:inkMkLst>
        </pc:inkChg>
        <pc:inkChg chg="add mod">
          <ac:chgData name="Aniket Chhabra" userId="598e0514-bef3-4e71-b6aa-f2edd6441cff" providerId="ADAL" clId="{A7CBF834-8346-4C1E-9628-5C7A1CBD8A83}" dt="2021-10-01T04:50:07.308" v="1539"/>
          <ac:inkMkLst>
            <pc:docMk/>
            <pc:sldMk cId="3478359748" sldId="301"/>
            <ac:inkMk id="203" creationId="{8C2CA4A6-90D5-4243-9896-63ED58D131DF}"/>
          </ac:inkMkLst>
        </pc:inkChg>
        <pc:inkChg chg="add mod">
          <ac:chgData name="Aniket Chhabra" userId="598e0514-bef3-4e71-b6aa-f2edd6441cff" providerId="ADAL" clId="{A7CBF834-8346-4C1E-9628-5C7A1CBD8A83}" dt="2021-10-01T04:50:07.308" v="1539"/>
          <ac:inkMkLst>
            <pc:docMk/>
            <pc:sldMk cId="3478359748" sldId="301"/>
            <ac:inkMk id="204" creationId="{DA7A8582-206B-4111-9364-02E36D0C8045}"/>
          </ac:inkMkLst>
        </pc:inkChg>
        <pc:inkChg chg="add mod">
          <ac:chgData name="Aniket Chhabra" userId="598e0514-bef3-4e71-b6aa-f2edd6441cff" providerId="ADAL" clId="{A7CBF834-8346-4C1E-9628-5C7A1CBD8A83}" dt="2021-10-01T04:50:07.308" v="1539"/>
          <ac:inkMkLst>
            <pc:docMk/>
            <pc:sldMk cId="3478359748" sldId="301"/>
            <ac:inkMk id="205" creationId="{14A37521-E92F-41F0-9611-B470A752C7EE}"/>
          </ac:inkMkLst>
        </pc:inkChg>
        <pc:inkChg chg="add mod">
          <ac:chgData name="Aniket Chhabra" userId="598e0514-bef3-4e71-b6aa-f2edd6441cff" providerId="ADAL" clId="{A7CBF834-8346-4C1E-9628-5C7A1CBD8A83}" dt="2021-10-01T04:50:07.308" v="1539"/>
          <ac:inkMkLst>
            <pc:docMk/>
            <pc:sldMk cId="3478359748" sldId="301"/>
            <ac:inkMk id="206" creationId="{D64FC644-8CD7-42F1-919A-A606A823FED6}"/>
          </ac:inkMkLst>
        </pc:inkChg>
        <pc:inkChg chg="add del">
          <ac:chgData name="Aniket Chhabra" userId="598e0514-bef3-4e71-b6aa-f2edd6441cff" providerId="ADAL" clId="{A7CBF834-8346-4C1E-9628-5C7A1CBD8A83}" dt="2021-10-01T04:49:58.230" v="1524"/>
          <ac:inkMkLst>
            <pc:docMk/>
            <pc:sldMk cId="3478359748" sldId="301"/>
            <ac:inkMk id="207" creationId="{E07D0F59-73F6-4D24-B4D4-F6E88DFA5FFA}"/>
          </ac:inkMkLst>
        </pc:inkChg>
        <pc:inkChg chg="add del">
          <ac:chgData name="Aniket Chhabra" userId="598e0514-bef3-4e71-b6aa-f2edd6441cff" providerId="ADAL" clId="{A7CBF834-8346-4C1E-9628-5C7A1CBD8A83}" dt="2021-10-01T04:49:58.229" v="1523"/>
          <ac:inkMkLst>
            <pc:docMk/>
            <pc:sldMk cId="3478359748" sldId="301"/>
            <ac:inkMk id="208" creationId="{C60B9A01-758C-409E-A929-84B0F6B74D2E}"/>
          </ac:inkMkLst>
        </pc:inkChg>
        <pc:inkChg chg="add mod">
          <ac:chgData name="Aniket Chhabra" userId="598e0514-bef3-4e71-b6aa-f2edd6441cff" providerId="ADAL" clId="{A7CBF834-8346-4C1E-9628-5C7A1CBD8A83}" dt="2021-10-01T04:50:07.308" v="1539"/>
          <ac:inkMkLst>
            <pc:docMk/>
            <pc:sldMk cId="3478359748" sldId="301"/>
            <ac:inkMk id="210" creationId="{E26A5ECE-413A-4B53-811A-A727F8B13030}"/>
          </ac:inkMkLst>
        </pc:inkChg>
        <pc:inkChg chg="add mod">
          <ac:chgData name="Aniket Chhabra" userId="598e0514-bef3-4e71-b6aa-f2edd6441cff" providerId="ADAL" clId="{A7CBF834-8346-4C1E-9628-5C7A1CBD8A83}" dt="2021-10-01T04:50:07.308" v="1539"/>
          <ac:inkMkLst>
            <pc:docMk/>
            <pc:sldMk cId="3478359748" sldId="301"/>
            <ac:inkMk id="211" creationId="{3A20336D-5EFE-4823-9DE8-05EDB2899006}"/>
          </ac:inkMkLst>
        </pc:inkChg>
        <pc:inkChg chg="add mod">
          <ac:chgData name="Aniket Chhabra" userId="598e0514-bef3-4e71-b6aa-f2edd6441cff" providerId="ADAL" clId="{A7CBF834-8346-4C1E-9628-5C7A1CBD8A83}" dt="2021-10-01T04:50:07.308" v="1539"/>
          <ac:inkMkLst>
            <pc:docMk/>
            <pc:sldMk cId="3478359748" sldId="301"/>
            <ac:inkMk id="212" creationId="{FACB1D74-2D32-4585-BBB3-0B1DEFAAD2B4}"/>
          </ac:inkMkLst>
        </pc:inkChg>
        <pc:inkChg chg="add mod">
          <ac:chgData name="Aniket Chhabra" userId="598e0514-bef3-4e71-b6aa-f2edd6441cff" providerId="ADAL" clId="{A7CBF834-8346-4C1E-9628-5C7A1CBD8A83}" dt="2021-10-01T04:50:07.308" v="1539"/>
          <ac:inkMkLst>
            <pc:docMk/>
            <pc:sldMk cId="3478359748" sldId="301"/>
            <ac:inkMk id="213" creationId="{9A4771BB-18B6-40B2-8FAA-1EEE885892D0}"/>
          </ac:inkMkLst>
        </pc:inkChg>
        <pc:inkChg chg="add mod">
          <ac:chgData name="Aniket Chhabra" userId="598e0514-bef3-4e71-b6aa-f2edd6441cff" providerId="ADAL" clId="{A7CBF834-8346-4C1E-9628-5C7A1CBD8A83}" dt="2021-10-01T04:50:07.308" v="1539"/>
          <ac:inkMkLst>
            <pc:docMk/>
            <pc:sldMk cId="3478359748" sldId="301"/>
            <ac:inkMk id="214" creationId="{D78F3BD9-CA0B-45AB-B41D-A24F906FB140}"/>
          </ac:inkMkLst>
        </pc:inkChg>
        <pc:inkChg chg="add mod">
          <ac:chgData name="Aniket Chhabra" userId="598e0514-bef3-4e71-b6aa-f2edd6441cff" providerId="ADAL" clId="{A7CBF834-8346-4C1E-9628-5C7A1CBD8A83}" dt="2021-10-01T04:50:07.308" v="1539"/>
          <ac:inkMkLst>
            <pc:docMk/>
            <pc:sldMk cId="3478359748" sldId="301"/>
            <ac:inkMk id="215" creationId="{E604E5DE-CE99-4A3E-B93E-F35D591BB496}"/>
          </ac:inkMkLst>
        </pc:inkChg>
        <pc:inkChg chg="add mod">
          <ac:chgData name="Aniket Chhabra" userId="598e0514-bef3-4e71-b6aa-f2edd6441cff" providerId="ADAL" clId="{A7CBF834-8346-4C1E-9628-5C7A1CBD8A83}" dt="2021-10-01T04:50:07.308" v="1539"/>
          <ac:inkMkLst>
            <pc:docMk/>
            <pc:sldMk cId="3478359748" sldId="301"/>
            <ac:inkMk id="216" creationId="{B49094BE-6258-45BC-AACA-D4F9598A566C}"/>
          </ac:inkMkLst>
        </pc:inkChg>
        <pc:inkChg chg="add mod">
          <ac:chgData name="Aniket Chhabra" userId="598e0514-bef3-4e71-b6aa-f2edd6441cff" providerId="ADAL" clId="{A7CBF834-8346-4C1E-9628-5C7A1CBD8A83}" dt="2021-10-01T04:50:07.308" v="1539"/>
          <ac:inkMkLst>
            <pc:docMk/>
            <pc:sldMk cId="3478359748" sldId="301"/>
            <ac:inkMk id="217" creationId="{423CC2A0-9659-469A-988B-C3E67C5A3DA3}"/>
          </ac:inkMkLst>
        </pc:inkChg>
        <pc:inkChg chg="add mod">
          <ac:chgData name="Aniket Chhabra" userId="598e0514-bef3-4e71-b6aa-f2edd6441cff" providerId="ADAL" clId="{A7CBF834-8346-4C1E-9628-5C7A1CBD8A83}" dt="2021-10-01T04:50:07.308" v="1539"/>
          <ac:inkMkLst>
            <pc:docMk/>
            <pc:sldMk cId="3478359748" sldId="301"/>
            <ac:inkMk id="220" creationId="{DC46975E-98F1-4D48-ACAA-A117417A86CF}"/>
          </ac:inkMkLst>
        </pc:inkChg>
        <pc:inkChg chg="add mod">
          <ac:chgData name="Aniket Chhabra" userId="598e0514-bef3-4e71-b6aa-f2edd6441cff" providerId="ADAL" clId="{A7CBF834-8346-4C1E-9628-5C7A1CBD8A83}" dt="2021-10-01T04:50:07.308" v="1539"/>
          <ac:inkMkLst>
            <pc:docMk/>
            <pc:sldMk cId="3478359748" sldId="301"/>
            <ac:inkMk id="221" creationId="{CB91F8CC-9FCA-4B32-B03C-B26B4CA3EFAF}"/>
          </ac:inkMkLst>
        </pc:inkChg>
        <pc:inkChg chg="add mod">
          <ac:chgData name="Aniket Chhabra" userId="598e0514-bef3-4e71-b6aa-f2edd6441cff" providerId="ADAL" clId="{A7CBF834-8346-4C1E-9628-5C7A1CBD8A83}" dt="2021-10-01T04:50:07.308" v="1539"/>
          <ac:inkMkLst>
            <pc:docMk/>
            <pc:sldMk cId="3478359748" sldId="301"/>
            <ac:inkMk id="223" creationId="{3006D05E-BB33-43B4-8D1D-2AF27A0E8A14}"/>
          </ac:inkMkLst>
        </pc:inkChg>
        <pc:inkChg chg="add mod">
          <ac:chgData name="Aniket Chhabra" userId="598e0514-bef3-4e71-b6aa-f2edd6441cff" providerId="ADAL" clId="{A7CBF834-8346-4C1E-9628-5C7A1CBD8A83}" dt="2021-10-01T04:51:30.687" v="2117"/>
          <ac:inkMkLst>
            <pc:docMk/>
            <pc:sldMk cId="3478359748" sldId="301"/>
            <ac:inkMk id="225" creationId="{99EDD42F-C9D2-4BC3-AF6F-F0796CBF625C}"/>
          </ac:inkMkLst>
        </pc:inkChg>
        <pc:inkChg chg="add mod">
          <ac:chgData name="Aniket Chhabra" userId="598e0514-bef3-4e71-b6aa-f2edd6441cff" providerId="ADAL" clId="{A7CBF834-8346-4C1E-9628-5C7A1CBD8A83}" dt="2021-10-01T04:51:30.687" v="2117"/>
          <ac:inkMkLst>
            <pc:docMk/>
            <pc:sldMk cId="3478359748" sldId="301"/>
            <ac:inkMk id="226" creationId="{6CC59C21-F6ED-4421-B161-710A93E3FBCE}"/>
          </ac:inkMkLst>
        </pc:inkChg>
        <pc:inkChg chg="add mod">
          <ac:chgData name="Aniket Chhabra" userId="598e0514-bef3-4e71-b6aa-f2edd6441cff" providerId="ADAL" clId="{A7CBF834-8346-4C1E-9628-5C7A1CBD8A83}" dt="2021-10-01T04:51:30.687" v="2117"/>
          <ac:inkMkLst>
            <pc:docMk/>
            <pc:sldMk cId="3478359748" sldId="301"/>
            <ac:inkMk id="227" creationId="{4A45F41A-7E7B-4F38-BCEB-88605FC72DAB}"/>
          </ac:inkMkLst>
        </pc:inkChg>
        <pc:inkChg chg="add mod">
          <ac:chgData name="Aniket Chhabra" userId="598e0514-bef3-4e71-b6aa-f2edd6441cff" providerId="ADAL" clId="{A7CBF834-8346-4C1E-9628-5C7A1CBD8A83}" dt="2021-10-01T04:51:30.687" v="2117"/>
          <ac:inkMkLst>
            <pc:docMk/>
            <pc:sldMk cId="3478359748" sldId="301"/>
            <ac:inkMk id="228" creationId="{76AF7CE1-B65B-4662-8275-EAF90AEFB135}"/>
          </ac:inkMkLst>
        </pc:inkChg>
        <pc:inkChg chg="add mod">
          <ac:chgData name="Aniket Chhabra" userId="598e0514-bef3-4e71-b6aa-f2edd6441cff" providerId="ADAL" clId="{A7CBF834-8346-4C1E-9628-5C7A1CBD8A83}" dt="2021-10-01T04:51:30.687" v="2117"/>
          <ac:inkMkLst>
            <pc:docMk/>
            <pc:sldMk cId="3478359748" sldId="301"/>
            <ac:inkMk id="229" creationId="{A192ED0F-EF1D-448F-82FD-8EDE0F0B0634}"/>
          </ac:inkMkLst>
        </pc:inkChg>
        <pc:inkChg chg="add mod">
          <ac:chgData name="Aniket Chhabra" userId="598e0514-bef3-4e71-b6aa-f2edd6441cff" providerId="ADAL" clId="{A7CBF834-8346-4C1E-9628-5C7A1CBD8A83}" dt="2021-10-01T04:51:30.687" v="2117"/>
          <ac:inkMkLst>
            <pc:docMk/>
            <pc:sldMk cId="3478359748" sldId="301"/>
            <ac:inkMk id="230" creationId="{5FCA43EC-633C-49CF-93F7-A9B721FD34E0}"/>
          </ac:inkMkLst>
        </pc:inkChg>
        <pc:inkChg chg="add del mod">
          <ac:chgData name="Aniket Chhabra" userId="598e0514-bef3-4e71-b6aa-f2edd6441cff" providerId="ADAL" clId="{A7CBF834-8346-4C1E-9628-5C7A1CBD8A83}" dt="2021-10-01T04:51:30.685" v="2114"/>
          <ac:inkMkLst>
            <pc:docMk/>
            <pc:sldMk cId="3478359748" sldId="301"/>
            <ac:inkMk id="231" creationId="{26F7FFC9-5BCA-412E-B84C-8CCD747D4613}"/>
          </ac:inkMkLst>
        </pc:inkChg>
        <pc:inkChg chg="add del mod">
          <ac:chgData name="Aniket Chhabra" userId="598e0514-bef3-4e71-b6aa-f2edd6441cff" providerId="ADAL" clId="{A7CBF834-8346-4C1E-9628-5C7A1CBD8A83}" dt="2021-10-01T04:51:30.687" v="2117"/>
          <ac:inkMkLst>
            <pc:docMk/>
            <pc:sldMk cId="3478359748" sldId="301"/>
            <ac:inkMk id="232" creationId="{0C97CCC5-4A9F-4B87-80AF-C049815E7BB9}"/>
          </ac:inkMkLst>
        </pc:inkChg>
        <pc:inkChg chg="add del mod">
          <ac:chgData name="Aniket Chhabra" userId="598e0514-bef3-4e71-b6aa-f2edd6441cff" providerId="ADAL" clId="{A7CBF834-8346-4C1E-9628-5C7A1CBD8A83}" dt="2021-10-01T04:51:30.686" v="2116"/>
          <ac:inkMkLst>
            <pc:docMk/>
            <pc:sldMk cId="3478359748" sldId="301"/>
            <ac:inkMk id="233" creationId="{94140058-F641-4840-9917-9DEE581D450C}"/>
          </ac:inkMkLst>
        </pc:inkChg>
        <pc:inkChg chg="add del mod">
          <ac:chgData name="Aniket Chhabra" userId="598e0514-bef3-4e71-b6aa-f2edd6441cff" providerId="ADAL" clId="{A7CBF834-8346-4C1E-9628-5C7A1CBD8A83}" dt="2021-10-01T04:51:30.686" v="2115"/>
          <ac:inkMkLst>
            <pc:docMk/>
            <pc:sldMk cId="3478359748" sldId="301"/>
            <ac:inkMk id="234" creationId="{0A1F5163-7799-4A3C-A812-176A03766ADA}"/>
          </ac:inkMkLst>
        </pc:inkChg>
        <pc:inkChg chg="add mod">
          <ac:chgData name="Aniket Chhabra" userId="598e0514-bef3-4e71-b6aa-f2edd6441cff" providerId="ADAL" clId="{A7CBF834-8346-4C1E-9628-5C7A1CBD8A83}" dt="2021-10-01T04:51:34.235" v="2123"/>
          <ac:inkMkLst>
            <pc:docMk/>
            <pc:sldMk cId="3478359748" sldId="301"/>
            <ac:inkMk id="236" creationId="{15F444EA-B723-4A6B-9581-5A6BF2DFC389}"/>
          </ac:inkMkLst>
        </pc:inkChg>
        <pc:inkChg chg="add mod">
          <ac:chgData name="Aniket Chhabra" userId="598e0514-bef3-4e71-b6aa-f2edd6441cff" providerId="ADAL" clId="{A7CBF834-8346-4C1E-9628-5C7A1CBD8A83}" dt="2021-10-01T04:51:34.235" v="2123"/>
          <ac:inkMkLst>
            <pc:docMk/>
            <pc:sldMk cId="3478359748" sldId="301"/>
            <ac:inkMk id="237" creationId="{D52E8B77-2B78-492A-8936-370FAA49CBB9}"/>
          </ac:inkMkLst>
        </pc:inkChg>
        <pc:inkChg chg="add mod">
          <ac:chgData name="Aniket Chhabra" userId="598e0514-bef3-4e71-b6aa-f2edd6441cff" providerId="ADAL" clId="{A7CBF834-8346-4C1E-9628-5C7A1CBD8A83}" dt="2021-10-01T04:51:34.235" v="2123"/>
          <ac:inkMkLst>
            <pc:docMk/>
            <pc:sldMk cId="3478359748" sldId="301"/>
            <ac:inkMk id="238" creationId="{1E70498D-C959-46E6-9E03-BA8B76076B6B}"/>
          </ac:inkMkLst>
        </pc:inkChg>
        <pc:inkChg chg="add mod">
          <ac:chgData name="Aniket Chhabra" userId="598e0514-bef3-4e71-b6aa-f2edd6441cff" providerId="ADAL" clId="{A7CBF834-8346-4C1E-9628-5C7A1CBD8A83}" dt="2021-10-01T04:51:34.235" v="2123"/>
          <ac:inkMkLst>
            <pc:docMk/>
            <pc:sldMk cId="3478359748" sldId="301"/>
            <ac:inkMk id="239" creationId="{2E921691-2821-4385-804C-7D9FFDCE4ABB}"/>
          </ac:inkMkLst>
        </pc:inkChg>
        <pc:inkChg chg="add mod">
          <ac:chgData name="Aniket Chhabra" userId="598e0514-bef3-4e71-b6aa-f2edd6441cff" providerId="ADAL" clId="{A7CBF834-8346-4C1E-9628-5C7A1CBD8A83}" dt="2021-10-01T04:51:34.235" v="2123"/>
          <ac:inkMkLst>
            <pc:docMk/>
            <pc:sldMk cId="3478359748" sldId="301"/>
            <ac:inkMk id="240" creationId="{002D56E9-66D9-4630-867C-FA48C1A6535E}"/>
          </ac:inkMkLst>
        </pc:inkChg>
      </pc:sldChg>
      <pc:sldChg chg="addSp delSp modSp new add mod">
        <pc:chgData name="Aniket Chhabra" userId="598e0514-bef3-4e71-b6aa-f2edd6441cff" providerId="ADAL" clId="{A7CBF834-8346-4C1E-9628-5C7A1CBD8A83}" dt="2021-10-01T05:08:06.657" v="2746" actId="14100"/>
        <pc:sldMkLst>
          <pc:docMk/>
          <pc:sldMk cId="3161240488" sldId="302"/>
        </pc:sldMkLst>
        <pc:spChg chg="del">
          <ac:chgData name="Aniket Chhabra" userId="598e0514-bef3-4e71-b6aa-f2edd6441cff" providerId="ADAL" clId="{A7CBF834-8346-4C1E-9628-5C7A1CBD8A83}" dt="2021-10-01T04:50:29.696" v="1542" actId="478"/>
          <ac:spMkLst>
            <pc:docMk/>
            <pc:sldMk cId="3161240488" sldId="302"/>
            <ac:spMk id="2" creationId="{9F816591-DB39-4F75-BD2A-49FCA7F36A36}"/>
          </ac:spMkLst>
        </pc:spChg>
        <pc:spChg chg="del">
          <ac:chgData name="Aniket Chhabra" userId="598e0514-bef3-4e71-b6aa-f2edd6441cff" providerId="ADAL" clId="{A7CBF834-8346-4C1E-9628-5C7A1CBD8A83}" dt="2021-10-01T04:50:29.696" v="1542" actId="478"/>
          <ac:spMkLst>
            <pc:docMk/>
            <pc:sldMk cId="3161240488" sldId="302"/>
            <ac:spMk id="3" creationId="{486526DC-D424-4290-8E83-28711B0A400F}"/>
          </ac:spMkLst>
        </pc:spChg>
        <pc:spChg chg="add del mod">
          <ac:chgData name="Aniket Chhabra" userId="598e0514-bef3-4e71-b6aa-f2edd6441cff" providerId="ADAL" clId="{A7CBF834-8346-4C1E-9628-5C7A1CBD8A83}" dt="2021-10-01T04:50:48.715" v="1676"/>
          <ac:spMkLst>
            <pc:docMk/>
            <pc:sldMk cId="3161240488" sldId="302"/>
            <ac:spMk id="5" creationId="{E0A6C8F6-E1B5-476F-AFE6-828C26CA9DE7}"/>
          </ac:spMkLst>
        </pc:spChg>
        <pc:spChg chg="add del mod modVis">
          <ac:chgData name="Aniket Chhabra" userId="598e0514-bef3-4e71-b6aa-f2edd6441cff" providerId="ADAL" clId="{A7CBF834-8346-4C1E-9628-5C7A1CBD8A83}" dt="2021-10-01T04:50:47.985" v="1668" actId="962"/>
          <ac:spMkLst>
            <pc:docMk/>
            <pc:sldMk cId="3161240488" sldId="302"/>
            <ac:spMk id="6" creationId="{C1F4A9F8-6902-4F28-881F-651BF5B5C031}"/>
          </ac:spMkLst>
        </pc:spChg>
        <pc:spChg chg="add mod">
          <ac:chgData name="Aniket Chhabra" userId="598e0514-bef3-4e71-b6aa-f2edd6441cff" providerId="ADAL" clId="{A7CBF834-8346-4C1E-9628-5C7A1CBD8A83}" dt="2021-10-01T04:51:04.912" v="2046" actId="948"/>
          <ac:spMkLst>
            <pc:docMk/>
            <pc:sldMk cId="3161240488" sldId="302"/>
            <ac:spMk id="7" creationId="{15D10EE8-7E18-41BD-B742-4105EFB8A13D}"/>
          </ac:spMkLst>
        </pc:spChg>
        <pc:spChg chg="add del mod modVis">
          <ac:chgData name="Aniket Chhabra" userId="598e0514-bef3-4e71-b6aa-f2edd6441cff" providerId="ADAL" clId="{A7CBF834-8346-4C1E-9628-5C7A1CBD8A83}" dt="2021-10-01T04:50:52.614" v="1735"/>
          <ac:spMkLst>
            <pc:docMk/>
            <pc:sldMk cId="3161240488" sldId="302"/>
            <ac:spMk id="8" creationId="{9A55CA1B-CD36-4211-A180-90B77A70DC80}"/>
          </ac:spMkLst>
        </pc:spChg>
        <pc:spChg chg="add del mod modVis">
          <ac:chgData name="Aniket Chhabra" userId="598e0514-bef3-4e71-b6aa-f2edd6441cff" providerId="ADAL" clId="{A7CBF834-8346-4C1E-9628-5C7A1CBD8A83}" dt="2021-10-01T04:50:53.192" v="1793"/>
          <ac:spMkLst>
            <pc:docMk/>
            <pc:sldMk cId="3161240488" sldId="302"/>
            <ac:spMk id="9" creationId="{4B050050-FD1C-4536-A969-C477CE28B0CF}"/>
          </ac:spMkLst>
        </pc:spChg>
        <pc:spChg chg="add del mod modVis">
          <ac:chgData name="Aniket Chhabra" userId="598e0514-bef3-4e71-b6aa-f2edd6441cff" providerId="ADAL" clId="{A7CBF834-8346-4C1E-9628-5C7A1CBD8A83}" dt="2021-10-01T04:50:55.832" v="1854"/>
          <ac:spMkLst>
            <pc:docMk/>
            <pc:sldMk cId="3161240488" sldId="302"/>
            <ac:spMk id="10" creationId="{C030885D-AAA5-416F-A8CD-DBAA44D7623D}"/>
          </ac:spMkLst>
        </pc:spChg>
        <pc:spChg chg="add del mod modVis">
          <ac:chgData name="Aniket Chhabra" userId="598e0514-bef3-4e71-b6aa-f2edd6441cff" providerId="ADAL" clId="{A7CBF834-8346-4C1E-9628-5C7A1CBD8A83}" dt="2021-10-01T04:50:56.212" v="1913"/>
          <ac:spMkLst>
            <pc:docMk/>
            <pc:sldMk cId="3161240488" sldId="302"/>
            <ac:spMk id="11" creationId="{F6F515B9-F22E-4DEB-8157-A0F837F3259B}"/>
          </ac:spMkLst>
        </pc:spChg>
        <pc:spChg chg="add del mod modVis">
          <ac:chgData name="Aniket Chhabra" userId="598e0514-bef3-4e71-b6aa-f2edd6441cff" providerId="ADAL" clId="{A7CBF834-8346-4C1E-9628-5C7A1CBD8A83}" dt="2021-10-01T04:50:57.808" v="1978"/>
          <ac:spMkLst>
            <pc:docMk/>
            <pc:sldMk cId="3161240488" sldId="302"/>
            <ac:spMk id="12" creationId="{DE490B85-5F80-4AB1-904F-C6297B2CE300}"/>
          </ac:spMkLst>
        </pc:spChg>
        <pc:spChg chg="add del mod modVis">
          <ac:chgData name="Aniket Chhabra" userId="598e0514-bef3-4e71-b6aa-f2edd6441cff" providerId="ADAL" clId="{A7CBF834-8346-4C1E-9628-5C7A1CBD8A83}" dt="2021-10-01T04:50:59.113" v="2042"/>
          <ac:spMkLst>
            <pc:docMk/>
            <pc:sldMk cId="3161240488" sldId="302"/>
            <ac:spMk id="13" creationId="{06A7E345-1A34-4303-BCDF-54957ABE560B}"/>
          </ac:spMkLst>
        </pc:spChg>
        <pc:spChg chg="add del mod modVis">
          <ac:chgData name="Aniket Chhabra" userId="598e0514-bef3-4e71-b6aa-f2edd6441cff" providerId="ADAL" clId="{A7CBF834-8346-4C1E-9628-5C7A1CBD8A83}" dt="2021-10-01T04:51:04.998" v="2100"/>
          <ac:spMkLst>
            <pc:docMk/>
            <pc:sldMk cId="3161240488" sldId="302"/>
            <ac:spMk id="14" creationId="{C395095D-767D-42A4-901E-4F5119EE16B0}"/>
          </ac:spMkLst>
        </pc:spChg>
        <pc:graphicFrameChg chg="add mod modVis">
          <ac:chgData name="Aniket Chhabra" userId="598e0514-bef3-4e71-b6aa-f2edd6441cff" providerId="ADAL" clId="{A7CBF834-8346-4C1E-9628-5C7A1CBD8A83}" dt="2021-10-01T04:51:05.002" v="2102"/>
          <ac:graphicFrameMkLst>
            <pc:docMk/>
            <pc:sldMk cId="3161240488" sldId="302"/>
            <ac:graphicFrameMk id="4" creationId="{F6A82A69-4174-4C0E-8005-C3E00AFFB8F3}"/>
          </ac:graphicFrameMkLst>
        </pc:graphicFrameChg>
        <pc:picChg chg="add del">
          <ac:chgData name="Aniket Chhabra" userId="598e0514-bef3-4e71-b6aa-f2edd6441cff" providerId="ADAL" clId="{A7CBF834-8346-4C1E-9628-5C7A1CBD8A83}" dt="2021-10-01T05:07:56.282" v="2740" actId="478"/>
          <ac:picMkLst>
            <pc:docMk/>
            <pc:sldMk cId="3161240488" sldId="302"/>
            <ac:picMk id="16" creationId="{9AC8772B-33C8-4F64-8DCD-75B4E2335816}"/>
          </ac:picMkLst>
        </pc:picChg>
        <pc:picChg chg="add mod">
          <ac:chgData name="Aniket Chhabra" userId="598e0514-bef3-4e71-b6aa-f2edd6441cff" providerId="ADAL" clId="{A7CBF834-8346-4C1E-9628-5C7A1CBD8A83}" dt="2021-10-01T05:08:06.657" v="2746" actId="14100"/>
          <ac:picMkLst>
            <pc:docMk/>
            <pc:sldMk cId="3161240488" sldId="302"/>
            <ac:picMk id="18" creationId="{F90CC633-7A00-4344-B055-E5CE6BA74E2D}"/>
          </ac:picMkLst>
        </pc:picChg>
      </pc:sldChg>
      <pc:sldChg chg="addSp delSp modSp new add mod ord">
        <pc:chgData name="Aniket Chhabra" userId="598e0514-bef3-4e71-b6aa-f2edd6441cff" providerId="ADAL" clId="{A7CBF834-8346-4C1E-9628-5C7A1CBD8A83}" dt="2021-10-01T05:02:40.655" v="2737"/>
        <pc:sldMkLst>
          <pc:docMk/>
          <pc:sldMk cId="1086956494" sldId="303"/>
        </pc:sldMkLst>
        <pc:spChg chg="del">
          <ac:chgData name="Aniket Chhabra" userId="598e0514-bef3-4e71-b6aa-f2edd6441cff" providerId="ADAL" clId="{A7CBF834-8346-4C1E-9628-5C7A1CBD8A83}" dt="2021-10-01T05:00:48.347" v="2128" actId="478"/>
          <ac:spMkLst>
            <pc:docMk/>
            <pc:sldMk cId="1086956494" sldId="303"/>
            <ac:spMk id="2" creationId="{5082998F-DFC8-4892-B49A-4ED9A77D8CCD}"/>
          </ac:spMkLst>
        </pc:spChg>
        <pc:spChg chg="del">
          <ac:chgData name="Aniket Chhabra" userId="598e0514-bef3-4e71-b6aa-f2edd6441cff" providerId="ADAL" clId="{A7CBF834-8346-4C1E-9628-5C7A1CBD8A83}" dt="2021-10-01T05:00:48.347" v="2128" actId="478"/>
          <ac:spMkLst>
            <pc:docMk/>
            <pc:sldMk cId="1086956494" sldId="303"/>
            <ac:spMk id="3" creationId="{8D644B6F-9168-40DD-BE3A-27D5938452F7}"/>
          </ac:spMkLst>
        </pc:spChg>
        <pc:spChg chg="add mod">
          <ac:chgData name="Aniket Chhabra" userId="598e0514-bef3-4e71-b6aa-f2edd6441cff" providerId="ADAL" clId="{A7CBF834-8346-4C1E-9628-5C7A1CBD8A83}" dt="2021-10-01T05:01:41.269" v="2639" actId="948"/>
          <ac:spMkLst>
            <pc:docMk/>
            <pc:sldMk cId="1086956494" sldId="303"/>
            <ac:spMk id="9" creationId="{0F7AE228-A5FD-4024-A10F-E8E9EA5E0180}"/>
          </ac:spMkLst>
        </pc:spChg>
        <pc:spChg chg="add del mod modVis">
          <ac:chgData name="Aniket Chhabra" userId="598e0514-bef3-4e71-b6aa-f2edd6441cff" providerId="ADAL" clId="{A7CBF834-8346-4C1E-9628-5C7A1CBD8A83}" dt="2021-10-01T05:01:28.987" v="2190"/>
          <ac:spMkLst>
            <pc:docMk/>
            <pc:sldMk cId="1086956494" sldId="303"/>
            <ac:spMk id="10" creationId="{713216A5-9286-4958-BAA2-3C1B283DE2DE}"/>
          </ac:spMkLst>
        </pc:spChg>
        <pc:spChg chg="add del mod modVis">
          <ac:chgData name="Aniket Chhabra" userId="598e0514-bef3-4e71-b6aa-f2edd6441cff" providerId="ADAL" clId="{A7CBF834-8346-4C1E-9628-5C7A1CBD8A83}" dt="2021-10-01T05:01:29.939" v="2235"/>
          <ac:spMkLst>
            <pc:docMk/>
            <pc:sldMk cId="1086956494" sldId="303"/>
            <ac:spMk id="11" creationId="{0CE22FFA-EE42-4543-B9F6-2388DA79B984}"/>
          </ac:spMkLst>
        </pc:spChg>
        <pc:spChg chg="add del mod modVis">
          <ac:chgData name="Aniket Chhabra" userId="598e0514-bef3-4e71-b6aa-f2edd6441cff" providerId="ADAL" clId="{A7CBF834-8346-4C1E-9628-5C7A1CBD8A83}" dt="2021-10-01T05:01:31.359" v="2280"/>
          <ac:spMkLst>
            <pc:docMk/>
            <pc:sldMk cId="1086956494" sldId="303"/>
            <ac:spMk id="12" creationId="{2711A1BA-6BF0-4F67-9380-9C013D47B8BE}"/>
          </ac:spMkLst>
        </pc:spChg>
        <pc:spChg chg="add del mod modVis">
          <ac:chgData name="Aniket Chhabra" userId="598e0514-bef3-4e71-b6aa-f2edd6441cff" providerId="ADAL" clId="{A7CBF834-8346-4C1E-9628-5C7A1CBD8A83}" dt="2021-10-01T05:01:32.394" v="2339"/>
          <ac:spMkLst>
            <pc:docMk/>
            <pc:sldMk cId="1086956494" sldId="303"/>
            <ac:spMk id="13" creationId="{39354252-C759-4AA6-9F49-1EE26EE0C2B0}"/>
          </ac:spMkLst>
        </pc:spChg>
        <pc:spChg chg="add del mod modVis">
          <ac:chgData name="Aniket Chhabra" userId="598e0514-bef3-4e71-b6aa-f2edd6441cff" providerId="ADAL" clId="{A7CBF834-8346-4C1E-9628-5C7A1CBD8A83}" dt="2021-10-01T05:01:34.026" v="2400"/>
          <ac:spMkLst>
            <pc:docMk/>
            <pc:sldMk cId="1086956494" sldId="303"/>
            <ac:spMk id="14" creationId="{345A9E13-BCC6-4838-8332-23B1C705E0F1}"/>
          </ac:spMkLst>
        </pc:spChg>
        <pc:spChg chg="add del mod modVis">
          <ac:chgData name="Aniket Chhabra" userId="598e0514-bef3-4e71-b6aa-f2edd6441cff" providerId="ADAL" clId="{A7CBF834-8346-4C1E-9628-5C7A1CBD8A83}" dt="2021-10-01T05:01:35.277" v="2459"/>
          <ac:spMkLst>
            <pc:docMk/>
            <pc:sldMk cId="1086956494" sldId="303"/>
            <ac:spMk id="15" creationId="{9981203A-87C4-443E-88FD-17DAE89F5D83}"/>
          </ac:spMkLst>
        </pc:spChg>
        <pc:spChg chg="add del mod modVis">
          <ac:chgData name="Aniket Chhabra" userId="598e0514-bef3-4e71-b6aa-f2edd6441cff" providerId="ADAL" clId="{A7CBF834-8346-4C1E-9628-5C7A1CBD8A83}" dt="2021-10-01T05:01:36.154" v="2517"/>
          <ac:spMkLst>
            <pc:docMk/>
            <pc:sldMk cId="1086956494" sldId="303"/>
            <ac:spMk id="16" creationId="{728C9A14-DA2E-430E-B7A5-CF542D0EF0B1}"/>
          </ac:spMkLst>
        </pc:spChg>
        <pc:spChg chg="add del mod modVis">
          <ac:chgData name="Aniket Chhabra" userId="598e0514-bef3-4e71-b6aa-f2edd6441cff" providerId="ADAL" clId="{A7CBF834-8346-4C1E-9628-5C7A1CBD8A83}" dt="2021-10-01T05:01:36.853" v="2575"/>
          <ac:spMkLst>
            <pc:docMk/>
            <pc:sldMk cId="1086956494" sldId="303"/>
            <ac:spMk id="17" creationId="{F36BCDAC-0665-4D66-A7D6-546D5FF1B16C}"/>
          </ac:spMkLst>
        </pc:spChg>
        <pc:spChg chg="add del mod modVis">
          <ac:chgData name="Aniket Chhabra" userId="598e0514-bef3-4e71-b6aa-f2edd6441cff" providerId="ADAL" clId="{A7CBF834-8346-4C1E-9628-5C7A1CBD8A83}" dt="2021-10-01T05:01:38.843" v="2635"/>
          <ac:spMkLst>
            <pc:docMk/>
            <pc:sldMk cId="1086956494" sldId="303"/>
            <ac:spMk id="18" creationId="{390C1DED-8A37-4256-ADC9-9F6AD68F04E3}"/>
          </ac:spMkLst>
        </pc:spChg>
        <pc:spChg chg="add del mod modVis">
          <ac:chgData name="Aniket Chhabra" userId="598e0514-bef3-4e71-b6aa-f2edd6441cff" providerId="ADAL" clId="{A7CBF834-8346-4C1E-9628-5C7A1CBD8A83}" dt="2021-10-01T05:01:41.314" v="2678"/>
          <ac:spMkLst>
            <pc:docMk/>
            <pc:sldMk cId="1086956494" sldId="303"/>
            <ac:spMk id="19" creationId="{7D6C1A19-BF17-47E1-9984-B349996612C2}"/>
          </ac:spMkLst>
        </pc:spChg>
        <pc:grpChg chg="del mod">
          <ac:chgData name="Aniket Chhabra" userId="598e0514-bef3-4e71-b6aa-f2edd6441cff" providerId="ADAL" clId="{A7CBF834-8346-4C1E-9628-5C7A1CBD8A83}" dt="2021-10-01T05:02:12.917" v="2690"/>
          <ac:grpSpMkLst>
            <pc:docMk/>
            <pc:sldMk cId="1086956494" sldId="303"/>
            <ac:grpSpMk id="22" creationId="{CEBEFCBB-A258-46D7-99EB-9AC181DDE534}"/>
          </ac:grpSpMkLst>
        </pc:grpChg>
        <pc:grpChg chg="del mod">
          <ac:chgData name="Aniket Chhabra" userId="598e0514-bef3-4e71-b6aa-f2edd6441cff" providerId="ADAL" clId="{A7CBF834-8346-4C1E-9628-5C7A1CBD8A83}" dt="2021-10-01T05:02:14.286" v="2693"/>
          <ac:grpSpMkLst>
            <pc:docMk/>
            <pc:sldMk cId="1086956494" sldId="303"/>
            <ac:grpSpMk id="27" creationId="{52A11BFD-A93F-4D75-96BD-040D0D03B9D9}"/>
          </ac:grpSpMkLst>
        </pc:grpChg>
        <pc:grpChg chg="del mod">
          <ac:chgData name="Aniket Chhabra" userId="598e0514-bef3-4e71-b6aa-f2edd6441cff" providerId="ADAL" clId="{A7CBF834-8346-4C1E-9628-5C7A1CBD8A83}" dt="2021-10-01T05:02:21.413" v="2705"/>
          <ac:grpSpMkLst>
            <pc:docMk/>
            <pc:sldMk cId="1086956494" sldId="303"/>
            <ac:grpSpMk id="30" creationId="{271F3D2F-5FAB-41E8-BD9D-012DDFDC2CA5}"/>
          </ac:grpSpMkLst>
        </pc:grpChg>
        <pc:grpChg chg="del mod">
          <ac:chgData name="Aniket Chhabra" userId="598e0514-bef3-4e71-b6aa-f2edd6441cff" providerId="ADAL" clId="{A7CBF834-8346-4C1E-9628-5C7A1CBD8A83}" dt="2021-10-01T05:02:22.797" v="2707"/>
          <ac:grpSpMkLst>
            <pc:docMk/>
            <pc:sldMk cId="1086956494" sldId="303"/>
            <ac:grpSpMk id="38" creationId="{B795F197-5A62-4A88-87E5-0A78D9072BEF}"/>
          </ac:grpSpMkLst>
        </pc:grpChg>
        <pc:grpChg chg="mod">
          <ac:chgData name="Aniket Chhabra" userId="598e0514-bef3-4e71-b6aa-f2edd6441cff" providerId="ADAL" clId="{A7CBF834-8346-4C1E-9628-5C7A1CBD8A83}" dt="2021-10-01T05:02:21.413" v="2705"/>
          <ac:grpSpMkLst>
            <pc:docMk/>
            <pc:sldMk cId="1086956494" sldId="303"/>
            <ac:grpSpMk id="39" creationId="{F1FC73C3-618A-4BB1-9380-DC60FC350D86}"/>
          </ac:grpSpMkLst>
        </pc:grpChg>
        <pc:grpChg chg="del mod">
          <ac:chgData name="Aniket Chhabra" userId="598e0514-bef3-4e71-b6aa-f2edd6441cff" providerId="ADAL" clId="{A7CBF834-8346-4C1E-9628-5C7A1CBD8A83}" dt="2021-10-01T05:02:25.009" v="2709"/>
          <ac:grpSpMkLst>
            <pc:docMk/>
            <pc:sldMk cId="1086956494" sldId="303"/>
            <ac:grpSpMk id="41" creationId="{4BFE2C2F-DDA1-41C0-A5E8-889F5C1B1AD4}"/>
          </ac:grpSpMkLst>
        </pc:grpChg>
        <pc:grpChg chg="del mod">
          <ac:chgData name="Aniket Chhabra" userId="598e0514-bef3-4e71-b6aa-f2edd6441cff" providerId="ADAL" clId="{A7CBF834-8346-4C1E-9628-5C7A1CBD8A83}" dt="2021-10-01T05:02:26.754" v="2712"/>
          <ac:grpSpMkLst>
            <pc:docMk/>
            <pc:sldMk cId="1086956494" sldId="303"/>
            <ac:grpSpMk id="43" creationId="{49E71FAA-3194-4D59-8A04-D0320AD315B6}"/>
          </ac:grpSpMkLst>
        </pc:grpChg>
        <pc:grpChg chg="mod">
          <ac:chgData name="Aniket Chhabra" userId="598e0514-bef3-4e71-b6aa-f2edd6441cff" providerId="ADAL" clId="{A7CBF834-8346-4C1E-9628-5C7A1CBD8A83}" dt="2021-10-01T05:02:26.754" v="2712"/>
          <ac:grpSpMkLst>
            <pc:docMk/>
            <pc:sldMk cId="1086956494" sldId="303"/>
            <ac:grpSpMk id="46" creationId="{D478FA5E-6113-4E76-9C0E-7919FC31DB0D}"/>
          </ac:grpSpMkLst>
        </pc:grpChg>
        <pc:grpChg chg="mod">
          <ac:chgData name="Aniket Chhabra" userId="598e0514-bef3-4e71-b6aa-f2edd6441cff" providerId="ADAL" clId="{A7CBF834-8346-4C1E-9628-5C7A1CBD8A83}" dt="2021-10-01T05:02:33.875" v="2724"/>
          <ac:grpSpMkLst>
            <pc:docMk/>
            <pc:sldMk cId="1086956494" sldId="303"/>
            <ac:grpSpMk id="58" creationId="{490E119E-50FD-4FAC-93B4-B8A069BBD96D}"/>
          </ac:grpSpMkLst>
        </pc:grpChg>
        <pc:grpChg chg="mod">
          <ac:chgData name="Aniket Chhabra" userId="598e0514-bef3-4e71-b6aa-f2edd6441cff" providerId="ADAL" clId="{A7CBF834-8346-4C1E-9628-5C7A1CBD8A83}" dt="2021-10-01T05:02:40.655" v="2737"/>
          <ac:grpSpMkLst>
            <pc:docMk/>
            <pc:sldMk cId="1086956494" sldId="303"/>
            <ac:grpSpMk id="71" creationId="{97E3D002-379B-4A6F-896E-E1C55DCE28BD}"/>
          </ac:grpSpMkLst>
        </pc:grpChg>
        <pc:grpChg chg="mod">
          <ac:chgData name="Aniket Chhabra" userId="598e0514-bef3-4e71-b6aa-f2edd6441cff" providerId="ADAL" clId="{A7CBF834-8346-4C1E-9628-5C7A1CBD8A83}" dt="2021-10-01T05:02:40.655" v="2737"/>
          <ac:grpSpMkLst>
            <pc:docMk/>
            <pc:sldMk cId="1086956494" sldId="303"/>
            <ac:grpSpMk id="72" creationId="{7C376DE5-C98B-43CE-BA18-4D234489BF11}"/>
          </ac:grpSpMkLst>
        </pc:grpChg>
        <pc:graphicFrameChg chg="add mod modVis">
          <ac:chgData name="Aniket Chhabra" userId="598e0514-bef3-4e71-b6aa-f2edd6441cff" providerId="ADAL" clId="{A7CBF834-8346-4C1E-9628-5C7A1CBD8A83}" dt="2021-10-01T05:01:41.317" v="2680"/>
          <ac:graphicFrameMkLst>
            <pc:docMk/>
            <pc:sldMk cId="1086956494" sldId="303"/>
            <ac:graphicFrameMk id="4" creationId="{2738A216-61D5-490D-8FA0-F6814BAC870E}"/>
          </ac:graphicFrameMkLst>
        </pc:graphicFrameChg>
        <pc:picChg chg="add del">
          <ac:chgData name="Aniket Chhabra" userId="598e0514-bef3-4e71-b6aa-f2edd6441cff" providerId="ADAL" clId="{A7CBF834-8346-4C1E-9628-5C7A1CBD8A83}" dt="2021-10-01T05:01:12.608" v="2144" actId="478"/>
          <ac:picMkLst>
            <pc:docMk/>
            <pc:sldMk cId="1086956494" sldId="303"/>
            <ac:picMk id="6" creationId="{F84C9925-7AD6-4AD0-8257-0519F599AA8C}"/>
          </ac:picMkLst>
        </pc:picChg>
        <pc:picChg chg="add mod">
          <ac:chgData name="Aniket Chhabra" userId="598e0514-bef3-4e71-b6aa-f2edd6441cff" providerId="ADAL" clId="{A7CBF834-8346-4C1E-9628-5C7A1CBD8A83}" dt="2021-10-01T05:01:18.550" v="2148" actId="14100"/>
          <ac:picMkLst>
            <pc:docMk/>
            <pc:sldMk cId="1086956494" sldId="303"/>
            <ac:picMk id="8" creationId="{A8836344-2996-4DB8-AB65-DA7832B162C9}"/>
          </ac:picMkLst>
        </pc:picChg>
        <pc:inkChg chg="add del mod">
          <ac:chgData name="Aniket Chhabra" userId="598e0514-bef3-4e71-b6aa-f2edd6441cff" providerId="ADAL" clId="{A7CBF834-8346-4C1E-9628-5C7A1CBD8A83}" dt="2021-10-01T05:02:14.286" v="2693"/>
          <ac:inkMkLst>
            <pc:docMk/>
            <pc:sldMk cId="1086956494" sldId="303"/>
            <ac:inkMk id="20" creationId="{C52FFED5-8B26-4ED4-B6ED-B5831CD93B5E}"/>
          </ac:inkMkLst>
        </pc:inkChg>
        <pc:inkChg chg="add del mod">
          <ac:chgData name="Aniket Chhabra" userId="598e0514-bef3-4e71-b6aa-f2edd6441cff" providerId="ADAL" clId="{A7CBF834-8346-4C1E-9628-5C7A1CBD8A83}" dt="2021-10-01T05:02:14.284" v="2692"/>
          <ac:inkMkLst>
            <pc:docMk/>
            <pc:sldMk cId="1086956494" sldId="303"/>
            <ac:inkMk id="21" creationId="{C2B634D8-35A8-4611-BDC0-826DE51D125F}"/>
          </ac:inkMkLst>
        </pc:inkChg>
        <pc:inkChg chg="add del">
          <ac:chgData name="Aniket Chhabra" userId="598e0514-bef3-4e71-b6aa-f2edd6441cff" providerId="ADAL" clId="{A7CBF834-8346-4C1E-9628-5C7A1CBD8A83}" dt="2021-10-01T05:02:10.078" v="2687"/>
          <ac:inkMkLst>
            <pc:docMk/>
            <pc:sldMk cId="1086956494" sldId="303"/>
            <ac:inkMk id="23" creationId="{770DD1C1-2A0B-481D-9633-A640AA88F79C}"/>
          </ac:inkMkLst>
        </pc:inkChg>
        <pc:inkChg chg="add del">
          <ac:chgData name="Aniket Chhabra" userId="598e0514-bef3-4e71-b6aa-f2edd6441cff" providerId="ADAL" clId="{A7CBF834-8346-4C1E-9628-5C7A1CBD8A83}" dt="2021-10-01T05:02:10.076" v="2686"/>
          <ac:inkMkLst>
            <pc:docMk/>
            <pc:sldMk cId="1086956494" sldId="303"/>
            <ac:inkMk id="24" creationId="{CD490D93-67DB-47F8-8EF3-BC5EE3991136}"/>
          </ac:inkMkLst>
        </pc:inkChg>
        <pc:inkChg chg="add del mod">
          <ac:chgData name="Aniket Chhabra" userId="598e0514-bef3-4e71-b6aa-f2edd6441cff" providerId="ADAL" clId="{A7CBF834-8346-4C1E-9628-5C7A1CBD8A83}" dt="2021-10-01T05:02:14.282" v="2691"/>
          <ac:inkMkLst>
            <pc:docMk/>
            <pc:sldMk cId="1086956494" sldId="303"/>
            <ac:inkMk id="25" creationId="{A37A9E3B-B18D-4BEB-8F70-40E6B989C145}"/>
          </ac:inkMkLst>
        </pc:inkChg>
        <pc:inkChg chg="add del mod">
          <ac:chgData name="Aniket Chhabra" userId="598e0514-bef3-4e71-b6aa-f2edd6441cff" providerId="ADAL" clId="{A7CBF834-8346-4C1E-9628-5C7A1CBD8A83}" dt="2021-10-01T05:02:14.286" v="2694"/>
          <ac:inkMkLst>
            <pc:docMk/>
            <pc:sldMk cId="1086956494" sldId="303"/>
            <ac:inkMk id="26" creationId="{58E4E2B1-0759-486C-BFC9-A37EFCB2DA90}"/>
          </ac:inkMkLst>
        </pc:inkChg>
        <pc:inkChg chg="add mod">
          <ac:chgData name="Aniket Chhabra" userId="598e0514-bef3-4e71-b6aa-f2edd6441cff" providerId="ADAL" clId="{A7CBF834-8346-4C1E-9628-5C7A1CBD8A83}" dt="2021-10-01T05:02:21.413" v="2705"/>
          <ac:inkMkLst>
            <pc:docMk/>
            <pc:sldMk cId="1086956494" sldId="303"/>
            <ac:inkMk id="28" creationId="{B142C4F9-1780-4003-9256-CEA75413EC75}"/>
          </ac:inkMkLst>
        </pc:inkChg>
        <pc:inkChg chg="add mod">
          <ac:chgData name="Aniket Chhabra" userId="598e0514-bef3-4e71-b6aa-f2edd6441cff" providerId="ADAL" clId="{A7CBF834-8346-4C1E-9628-5C7A1CBD8A83}" dt="2021-10-01T05:02:21.413" v="2705"/>
          <ac:inkMkLst>
            <pc:docMk/>
            <pc:sldMk cId="1086956494" sldId="303"/>
            <ac:inkMk id="29" creationId="{BB10CD6B-46E3-47E7-B814-D1A2E1ED0F23}"/>
          </ac:inkMkLst>
        </pc:inkChg>
        <pc:inkChg chg="add mod">
          <ac:chgData name="Aniket Chhabra" userId="598e0514-bef3-4e71-b6aa-f2edd6441cff" providerId="ADAL" clId="{A7CBF834-8346-4C1E-9628-5C7A1CBD8A83}" dt="2021-10-01T05:02:21.413" v="2705"/>
          <ac:inkMkLst>
            <pc:docMk/>
            <pc:sldMk cId="1086956494" sldId="303"/>
            <ac:inkMk id="31" creationId="{1412B745-80FF-4F46-BDBB-59D37BDD46AC}"/>
          </ac:inkMkLst>
        </pc:inkChg>
        <pc:inkChg chg="add mod">
          <ac:chgData name="Aniket Chhabra" userId="598e0514-bef3-4e71-b6aa-f2edd6441cff" providerId="ADAL" clId="{A7CBF834-8346-4C1E-9628-5C7A1CBD8A83}" dt="2021-10-01T05:02:26.754" v="2712"/>
          <ac:inkMkLst>
            <pc:docMk/>
            <pc:sldMk cId="1086956494" sldId="303"/>
            <ac:inkMk id="32" creationId="{2BA1B113-0F49-48BF-9EA7-155B9FEFAC85}"/>
          </ac:inkMkLst>
        </pc:inkChg>
        <pc:inkChg chg="add mod">
          <ac:chgData name="Aniket Chhabra" userId="598e0514-bef3-4e71-b6aa-f2edd6441cff" providerId="ADAL" clId="{A7CBF834-8346-4C1E-9628-5C7A1CBD8A83}" dt="2021-10-01T05:02:26.754" v="2712"/>
          <ac:inkMkLst>
            <pc:docMk/>
            <pc:sldMk cId="1086956494" sldId="303"/>
            <ac:inkMk id="33" creationId="{0F5599F0-A1C1-409D-85EE-5FD0263A2E22}"/>
          </ac:inkMkLst>
        </pc:inkChg>
        <pc:inkChg chg="add mod">
          <ac:chgData name="Aniket Chhabra" userId="598e0514-bef3-4e71-b6aa-f2edd6441cff" providerId="ADAL" clId="{A7CBF834-8346-4C1E-9628-5C7A1CBD8A83}" dt="2021-10-01T05:02:26.754" v="2712"/>
          <ac:inkMkLst>
            <pc:docMk/>
            <pc:sldMk cId="1086956494" sldId="303"/>
            <ac:inkMk id="34" creationId="{30B7204A-772D-456E-A3B7-934450857DFE}"/>
          </ac:inkMkLst>
        </pc:inkChg>
        <pc:inkChg chg="add mod">
          <ac:chgData name="Aniket Chhabra" userId="598e0514-bef3-4e71-b6aa-f2edd6441cff" providerId="ADAL" clId="{A7CBF834-8346-4C1E-9628-5C7A1CBD8A83}" dt="2021-10-01T05:02:26.754" v="2712"/>
          <ac:inkMkLst>
            <pc:docMk/>
            <pc:sldMk cId="1086956494" sldId="303"/>
            <ac:inkMk id="35" creationId="{A66FC9A0-6D84-44FA-A7EE-48B97279F14B}"/>
          </ac:inkMkLst>
        </pc:inkChg>
        <pc:inkChg chg="add mod">
          <ac:chgData name="Aniket Chhabra" userId="598e0514-bef3-4e71-b6aa-f2edd6441cff" providerId="ADAL" clId="{A7CBF834-8346-4C1E-9628-5C7A1CBD8A83}" dt="2021-10-01T05:02:26.754" v="2712"/>
          <ac:inkMkLst>
            <pc:docMk/>
            <pc:sldMk cId="1086956494" sldId="303"/>
            <ac:inkMk id="36" creationId="{06EFBBDE-A1EE-4FFA-AC94-F0AB7851E1BE}"/>
          </ac:inkMkLst>
        </pc:inkChg>
        <pc:inkChg chg="add mod">
          <ac:chgData name="Aniket Chhabra" userId="598e0514-bef3-4e71-b6aa-f2edd6441cff" providerId="ADAL" clId="{A7CBF834-8346-4C1E-9628-5C7A1CBD8A83}" dt="2021-10-01T05:02:26.754" v="2712"/>
          <ac:inkMkLst>
            <pc:docMk/>
            <pc:sldMk cId="1086956494" sldId="303"/>
            <ac:inkMk id="37" creationId="{42C245E4-BE2C-4F50-91E3-95F73377753D}"/>
          </ac:inkMkLst>
        </pc:inkChg>
        <pc:inkChg chg="add mod">
          <ac:chgData name="Aniket Chhabra" userId="598e0514-bef3-4e71-b6aa-f2edd6441cff" providerId="ADAL" clId="{A7CBF834-8346-4C1E-9628-5C7A1CBD8A83}" dt="2021-10-01T05:02:26.754" v="2712"/>
          <ac:inkMkLst>
            <pc:docMk/>
            <pc:sldMk cId="1086956494" sldId="303"/>
            <ac:inkMk id="40" creationId="{E0C9BD52-420F-471D-A435-FED4D91BFB42}"/>
          </ac:inkMkLst>
        </pc:inkChg>
        <pc:inkChg chg="add mod">
          <ac:chgData name="Aniket Chhabra" userId="598e0514-bef3-4e71-b6aa-f2edd6441cff" providerId="ADAL" clId="{A7CBF834-8346-4C1E-9628-5C7A1CBD8A83}" dt="2021-10-01T05:02:26.754" v="2712"/>
          <ac:inkMkLst>
            <pc:docMk/>
            <pc:sldMk cId="1086956494" sldId="303"/>
            <ac:inkMk id="42" creationId="{E1963D9A-A28A-446A-88F0-9B91D6D10A26}"/>
          </ac:inkMkLst>
        </pc:inkChg>
        <pc:inkChg chg="add mod">
          <ac:chgData name="Aniket Chhabra" userId="598e0514-bef3-4e71-b6aa-f2edd6441cff" providerId="ADAL" clId="{A7CBF834-8346-4C1E-9628-5C7A1CBD8A83}" dt="2021-10-01T05:02:26.754" v="2712"/>
          <ac:inkMkLst>
            <pc:docMk/>
            <pc:sldMk cId="1086956494" sldId="303"/>
            <ac:inkMk id="44" creationId="{845D7588-39AA-4839-AD3A-B0A06021A938}"/>
          </ac:inkMkLst>
        </pc:inkChg>
        <pc:inkChg chg="add mod">
          <ac:chgData name="Aniket Chhabra" userId="598e0514-bef3-4e71-b6aa-f2edd6441cff" providerId="ADAL" clId="{A7CBF834-8346-4C1E-9628-5C7A1CBD8A83}" dt="2021-10-01T05:02:26.754" v="2712"/>
          <ac:inkMkLst>
            <pc:docMk/>
            <pc:sldMk cId="1086956494" sldId="303"/>
            <ac:inkMk id="45" creationId="{74EE93D7-EDCE-4BB4-A2EE-632583E906D7}"/>
          </ac:inkMkLst>
        </pc:inkChg>
        <pc:inkChg chg="add mod">
          <ac:chgData name="Aniket Chhabra" userId="598e0514-bef3-4e71-b6aa-f2edd6441cff" providerId="ADAL" clId="{A7CBF834-8346-4C1E-9628-5C7A1CBD8A83}" dt="2021-10-01T05:02:33.875" v="2724"/>
          <ac:inkMkLst>
            <pc:docMk/>
            <pc:sldMk cId="1086956494" sldId="303"/>
            <ac:inkMk id="47" creationId="{1CDE7ED1-3F37-49DD-BCC0-AEEF1FFF64A0}"/>
          </ac:inkMkLst>
        </pc:inkChg>
        <pc:inkChg chg="add mod">
          <ac:chgData name="Aniket Chhabra" userId="598e0514-bef3-4e71-b6aa-f2edd6441cff" providerId="ADAL" clId="{A7CBF834-8346-4C1E-9628-5C7A1CBD8A83}" dt="2021-10-01T05:02:33.875" v="2724"/>
          <ac:inkMkLst>
            <pc:docMk/>
            <pc:sldMk cId="1086956494" sldId="303"/>
            <ac:inkMk id="48" creationId="{099EAA8A-BCC7-40F3-AC12-0E6CC6F1C504}"/>
          </ac:inkMkLst>
        </pc:inkChg>
        <pc:inkChg chg="add mod">
          <ac:chgData name="Aniket Chhabra" userId="598e0514-bef3-4e71-b6aa-f2edd6441cff" providerId="ADAL" clId="{A7CBF834-8346-4C1E-9628-5C7A1CBD8A83}" dt="2021-10-01T05:02:33.875" v="2724"/>
          <ac:inkMkLst>
            <pc:docMk/>
            <pc:sldMk cId="1086956494" sldId="303"/>
            <ac:inkMk id="49" creationId="{5F6ADC55-840D-4192-BD44-2098B3EC8377}"/>
          </ac:inkMkLst>
        </pc:inkChg>
        <pc:inkChg chg="add mod">
          <ac:chgData name="Aniket Chhabra" userId="598e0514-bef3-4e71-b6aa-f2edd6441cff" providerId="ADAL" clId="{A7CBF834-8346-4C1E-9628-5C7A1CBD8A83}" dt="2021-10-01T05:02:33.875" v="2724"/>
          <ac:inkMkLst>
            <pc:docMk/>
            <pc:sldMk cId="1086956494" sldId="303"/>
            <ac:inkMk id="50" creationId="{2CB742C4-A0CB-427F-AEB7-1FDD49231DE5}"/>
          </ac:inkMkLst>
        </pc:inkChg>
        <pc:inkChg chg="add mod">
          <ac:chgData name="Aniket Chhabra" userId="598e0514-bef3-4e71-b6aa-f2edd6441cff" providerId="ADAL" clId="{A7CBF834-8346-4C1E-9628-5C7A1CBD8A83}" dt="2021-10-01T05:02:33.875" v="2724"/>
          <ac:inkMkLst>
            <pc:docMk/>
            <pc:sldMk cId="1086956494" sldId="303"/>
            <ac:inkMk id="51" creationId="{10875EED-BC37-4065-96FB-5CF66D7FC4F9}"/>
          </ac:inkMkLst>
        </pc:inkChg>
        <pc:inkChg chg="add mod">
          <ac:chgData name="Aniket Chhabra" userId="598e0514-bef3-4e71-b6aa-f2edd6441cff" providerId="ADAL" clId="{A7CBF834-8346-4C1E-9628-5C7A1CBD8A83}" dt="2021-10-01T05:02:33.875" v="2724"/>
          <ac:inkMkLst>
            <pc:docMk/>
            <pc:sldMk cId="1086956494" sldId="303"/>
            <ac:inkMk id="52" creationId="{FFA827D1-C8DC-476E-B60D-AF39E44A7F92}"/>
          </ac:inkMkLst>
        </pc:inkChg>
        <pc:inkChg chg="add mod">
          <ac:chgData name="Aniket Chhabra" userId="598e0514-bef3-4e71-b6aa-f2edd6441cff" providerId="ADAL" clId="{A7CBF834-8346-4C1E-9628-5C7A1CBD8A83}" dt="2021-10-01T05:02:33.875" v="2724"/>
          <ac:inkMkLst>
            <pc:docMk/>
            <pc:sldMk cId="1086956494" sldId="303"/>
            <ac:inkMk id="53" creationId="{61F6645A-FBB2-47EE-9A41-C1E776FA75ED}"/>
          </ac:inkMkLst>
        </pc:inkChg>
        <pc:inkChg chg="add mod">
          <ac:chgData name="Aniket Chhabra" userId="598e0514-bef3-4e71-b6aa-f2edd6441cff" providerId="ADAL" clId="{A7CBF834-8346-4C1E-9628-5C7A1CBD8A83}" dt="2021-10-01T05:02:33.875" v="2724"/>
          <ac:inkMkLst>
            <pc:docMk/>
            <pc:sldMk cId="1086956494" sldId="303"/>
            <ac:inkMk id="54" creationId="{6F3D5EF1-7B75-478E-9B04-EFC04FB219CD}"/>
          </ac:inkMkLst>
        </pc:inkChg>
        <pc:inkChg chg="add mod">
          <ac:chgData name="Aniket Chhabra" userId="598e0514-bef3-4e71-b6aa-f2edd6441cff" providerId="ADAL" clId="{A7CBF834-8346-4C1E-9628-5C7A1CBD8A83}" dt="2021-10-01T05:02:33.875" v="2724"/>
          <ac:inkMkLst>
            <pc:docMk/>
            <pc:sldMk cId="1086956494" sldId="303"/>
            <ac:inkMk id="55" creationId="{23F5060E-70F6-4FCB-9F8C-EA66A6F9FFF7}"/>
          </ac:inkMkLst>
        </pc:inkChg>
        <pc:inkChg chg="add mod">
          <ac:chgData name="Aniket Chhabra" userId="598e0514-bef3-4e71-b6aa-f2edd6441cff" providerId="ADAL" clId="{A7CBF834-8346-4C1E-9628-5C7A1CBD8A83}" dt="2021-10-01T05:02:33.875" v="2724"/>
          <ac:inkMkLst>
            <pc:docMk/>
            <pc:sldMk cId="1086956494" sldId="303"/>
            <ac:inkMk id="56" creationId="{FA3CDB4F-7825-432E-99AB-F349F01A150C}"/>
          </ac:inkMkLst>
        </pc:inkChg>
        <pc:inkChg chg="add mod">
          <ac:chgData name="Aniket Chhabra" userId="598e0514-bef3-4e71-b6aa-f2edd6441cff" providerId="ADAL" clId="{A7CBF834-8346-4C1E-9628-5C7A1CBD8A83}" dt="2021-10-01T05:02:33.875" v="2724"/>
          <ac:inkMkLst>
            <pc:docMk/>
            <pc:sldMk cId="1086956494" sldId="303"/>
            <ac:inkMk id="57" creationId="{FA6B58CD-78EB-4C63-87D2-AAA4BD789A1C}"/>
          </ac:inkMkLst>
        </pc:inkChg>
        <pc:inkChg chg="add mod">
          <ac:chgData name="Aniket Chhabra" userId="598e0514-bef3-4e71-b6aa-f2edd6441cff" providerId="ADAL" clId="{A7CBF834-8346-4C1E-9628-5C7A1CBD8A83}" dt="2021-10-01T05:02:40.655" v="2737"/>
          <ac:inkMkLst>
            <pc:docMk/>
            <pc:sldMk cId="1086956494" sldId="303"/>
            <ac:inkMk id="59" creationId="{5A321D9E-9BAE-414E-A90E-0D3A16200F18}"/>
          </ac:inkMkLst>
        </pc:inkChg>
        <pc:inkChg chg="add mod">
          <ac:chgData name="Aniket Chhabra" userId="598e0514-bef3-4e71-b6aa-f2edd6441cff" providerId="ADAL" clId="{A7CBF834-8346-4C1E-9628-5C7A1CBD8A83}" dt="2021-10-01T05:02:40.655" v="2737"/>
          <ac:inkMkLst>
            <pc:docMk/>
            <pc:sldMk cId="1086956494" sldId="303"/>
            <ac:inkMk id="60" creationId="{208619A5-84D4-4F03-90B1-44D1DBAA2BC4}"/>
          </ac:inkMkLst>
        </pc:inkChg>
        <pc:inkChg chg="add mod">
          <ac:chgData name="Aniket Chhabra" userId="598e0514-bef3-4e71-b6aa-f2edd6441cff" providerId="ADAL" clId="{A7CBF834-8346-4C1E-9628-5C7A1CBD8A83}" dt="2021-10-01T05:02:40.655" v="2737"/>
          <ac:inkMkLst>
            <pc:docMk/>
            <pc:sldMk cId="1086956494" sldId="303"/>
            <ac:inkMk id="61" creationId="{7BF4F89E-9FB4-4FFF-9C21-8F0621DB2979}"/>
          </ac:inkMkLst>
        </pc:inkChg>
        <pc:inkChg chg="add mod">
          <ac:chgData name="Aniket Chhabra" userId="598e0514-bef3-4e71-b6aa-f2edd6441cff" providerId="ADAL" clId="{A7CBF834-8346-4C1E-9628-5C7A1CBD8A83}" dt="2021-10-01T05:02:40.655" v="2737"/>
          <ac:inkMkLst>
            <pc:docMk/>
            <pc:sldMk cId="1086956494" sldId="303"/>
            <ac:inkMk id="62" creationId="{6220778D-EE65-4A7E-84F3-1CC9B4FDB2E8}"/>
          </ac:inkMkLst>
        </pc:inkChg>
        <pc:inkChg chg="add mod">
          <ac:chgData name="Aniket Chhabra" userId="598e0514-bef3-4e71-b6aa-f2edd6441cff" providerId="ADAL" clId="{A7CBF834-8346-4C1E-9628-5C7A1CBD8A83}" dt="2021-10-01T05:02:40.655" v="2737"/>
          <ac:inkMkLst>
            <pc:docMk/>
            <pc:sldMk cId="1086956494" sldId="303"/>
            <ac:inkMk id="63" creationId="{DB51D606-DE13-4110-B3F5-77E10B70481F}"/>
          </ac:inkMkLst>
        </pc:inkChg>
        <pc:inkChg chg="add mod">
          <ac:chgData name="Aniket Chhabra" userId="598e0514-bef3-4e71-b6aa-f2edd6441cff" providerId="ADAL" clId="{A7CBF834-8346-4C1E-9628-5C7A1CBD8A83}" dt="2021-10-01T05:02:40.655" v="2737"/>
          <ac:inkMkLst>
            <pc:docMk/>
            <pc:sldMk cId="1086956494" sldId="303"/>
            <ac:inkMk id="64" creationId="{43F11830-8B85-484E-AA86-63A5A9C0805E}"/>
          </ac:inkMkLst>
        </pc:inkChg>
        <pc:inkChg chg="add mod">
          <ac:chgData name="Aniket Chhabra" userId="598e0514-bef3-4e71-b6aa-f2edd6441cff" providerId="ADAL" clId="{A7CBF834-8346-4C1E-9628-5C7A1CBD8A83}" dt="2021-10-01T05:02:40.655" v="2737"/>
          <ac:inkMkLst>
            <pc:docMk/>
            <pc:sldMk cId="1086956494" sldId="303"/>
            <ac:inkMk id="65" creationId="{FF128547-DD97-4DF4-A88C-29B7615A2DEF}"/>
          </ac:inkMkLst>
        </pc:inkChg>
        <pc:inkChg chg="add mod">
          <ac:chgData name="Aniket Chhabra" userId="598e0514-bef3-4e71-b6aa-f2edd6441cff" providerId="ADAL" clId="{A7CBF834-8346-4C1E-9628-5C7A1CBD8A83}" dt="2021-10-01T05:02:40.655" v="2737"/>
          <ac:inkMkLst>
            <pc:docMk/>
            <pc:sldMk cId="1086956494" sldId="303"/>
            <ac:inkMk id="66" creationId="{1B4446E7-C499-46CA-8BD4-C3B8C98425CE}"/>
          </ac:inkMkLst>
        </pc:inkChg>
        <pc:inkChg chg="add mod">
          <ac:chgData name="Aniket Chhabra" userId="598e0514-bef3-4e71-b6aa-f2edd6441cff" providerId="ADAL" clId="{A7CBF834-8346-4C1E-9628-5C7A1CBD8A83}" dt="2021-10-01T05:02:40.655" v="2737"/>
          <ac:inkMkLst>
            <pc:docMk/>
            <pc:sldMk cId="1086956494" sldId="303"/>
            <ac:inkMk id="67" creationId="{71716422-3647-4505-8A14-C984AD231C88}"/>
          </ac:inkMkLst>
        </pc:inkChg>
        <pc:inkChg chg="add mod">
          <ac:chgData name="Aniket Chhabra" userId="598e0514-bef3-4e71-b6aa-f2edd6441cff" providerId="ADAL" clId="{A7CBF834-8346-4C1E-9628-5C7A1CBD8A83}" dt="2021-10-01T05:02:40.655" v="2737"/>
          <ac:inkMkLst>
            <pc:docMk/>
            <pc:sldMk cId="1086956494" sldId="303"/>
            <ac:inkMk id="68" creationId="{C344C07C-B750-4110-BBDD-4A4A7F9B2557}"/>
          </ac:inkMkLst>
        </pc:inkChg>
        <pc:inkChg chg="add mod">
          <ac:chgData name="Aniket Chhabra" userId="598e0514-bef3-4e71-b6aa-f2edd6441cff" providerId="ADAL" clId="{A7CBF834-8346-4C1E-9628-5C7A1CBD8A83}" dt="2021-10-01T05:02:40.655" v="2737"/>
          <ac:inkMkLst>
            <pc:docMk/>
            <pc:sldMk cId="1086956494" sldId="303"/>
            <ac:inkMk id="69" creationId="{46209486-F886-481B-8299-8A11A1DB78C7}"/>
          </ac:inkMkLst>
        </pc:inkChg>
        <pc:inkChg chg="add mod">
          <ac:chgData name="Aniket Chhabra" userId="598e0514-bef3-4e71-b6aa-f2edd6441cff" providerId="ADAL" clId="{A7CBF834-8346-4C1E-9628-5C7A1CBD8A83}" dt="2021-10-01T05:02:40.655" v="2737"/>
          <ac:inkMkLst>
            <pc:docMk/>
            <pc:sldMk cId="1086956494" sldId="303"/>
            <ac:inkMk id="70" creationId="{3048582F-41CA-43F3-910A-EAD7FAB12B79}"/>
          </ac:inkMkLst>
        </pc:inkChg>
      </pc:sldChg>
      <pc:sldChg chg="addSp delSp modSp new add mod">
        <pc:chgData name="Aniket Chhabra" userId="598e0514-bef3-4e71-b6aa-f2edd6441cff" providerId="ADAL" clId="{A7CBF834-8346-4C1E-9628-5C7A1CBD8A83}" dt="2021-12-19T05:32:13.387" v="3583"/>
        <pc:sldMkLst>
          <pc:docMk/>
          <pc:sldMk cId="2717547441" sldId="304"/>
        </pc:sldMkLst>
        <pc:spChg chg="del">
          <ac:chgData name="Aniket Chhabra" userId="598e0514-bef3-4e71-b6aa-f2edd6441cff" providerId="ADAL" clId="{A7CBF834-8346-4C1E-9628-5C7A1CBD8A83}" dt="2021-10-01T05:08:24.097" v="2749" actId="478"/>
          <ac:spMkLst>
            <pc:docMk/>
            <pc:sldMk cId="2717547441" sldId="304"/>
            <ac:spMk id="2" creationId="{57100890-7EA5-4C19-89D0-AD67DDA25072}"/>
          </ac:spMkLst>
        </pc:spChg>
        <pc:spChg chg="del">
          <ac:chgData name="Aniket Chhabra" userId="598e0514-bef3-4e71-b6aa-f2edd6441cff" providerId="ADAL" clId="{A7CBF834-8346-4C1E-9628-5C7A1CBD8A83}" dt="2021-10-01T05:08:24.097" v="2749" actId="478"/>
          <ac:spMkLst>
            <pc:docMk/>
            <pc:sldMk cId="2717547441" sldId="304"/>
            <ac:spMk id="3" creationId="{DD059828-92AF-4F60-A4AE-9DF8D493FDC8}"/>
          </ac:spMkLst>
        </pc:spChg>
        <pc:spChg chg="add mod">
          <ac:chgData name="Aniket Chhabra" userId="598e0514-bef3-4e71-b6aa-f2edd6441cff" providerId="ADAL" clId="{A7CBF834-8346-4C1E-9628-5C7A1CBD8A83}" dt="2021-10-01T05:08:24.597" v="2751" actId="948"/>
          <ac:spMkLst>
            <pc:docMk/>
            <pc:sldMk cId="2717547441" sldId="304"/>
            <ac:spMk id="4" creationId="{62F72FFC-84FD-4A33-9982-CAFB999696EF}"/>
          </ac:spMkLst>
        </pc:spChg>
        <pc:spChg chg="add del mod modVis">
          <ac:chgData name="Aniket Chhabra" userId="598e0514-bef3-4e71-b6aa-f2edd6441cff" providerId="ADAL" clId="{A7CBF834-8346-4C1E-9628-5C7A1CBD8A83}" dt="2021-10-01T05:08:24.672" v="2805"/>
          <ac:spMkLst>
            <pc:docMk/>
            <pc:sldMk cId="2717547441" sldId="304"/>
            <ac:spMk id="5" creationId="{7A127BBA-C1DC-4798-BBB5-5B35A9237D34}"/>
          </ac:spMkLst>
        </pc:spChg>
        <pc:grpChg chg="del mod">
          <ac:chgData name="Aniket Chhabra" userId="598e0514-bef3-4e71-b6aa-f2edd6441cff" providerId="ADAL" clId="{A7CBF834-8346-4C1E-9628-5C7A1CBD8A83}" dt="2021-10-01T05:15:41.694" v="2847"/>
          <ac:grpSpMkLst>
            <pc:docMk/>
            <pc:sldMk cId="2717547441" sldId="304"/>
            <ac:grpSpMk id="17" creationId="{A616891D-0534-4B11-8D1E-7606B629402F}"/>
          </ac:grpSpMkLst>
        </pc:grpChg>
        <pc:grpChg chg="del mod">
          <ac:chgData name="Aniket Chhabra" userId="598e0514-bef3-4e71-b6aa-f2edd6441cff" providerId="ADAL" clId="{A7CBF834-8346-4C1E-9628-5C7A1CBD8A83}" dt="2021-10-01T05:15:48.250" v="2858"/>
          <ac:grpSpMkLst>
            <pc:docMk/>
            <pc:sldMk cId="2717547441" sldId="304"/>
            <ac:grpSpMk id="28" creationId="{18EF856C-DD64-4EF6-9C0A-EF13CFDAE5FC}"/>
          </ac:grpSpMkLst>
        </pc:grpChg>
        <pc:grpChg chg="del mod">
          <ac:chgData name="Aniket Chhabra" userId="598e0514-bef3-4e71-b6aa-f2edd6441cff" providerId="ADAL" clId="{A7CBF834-8346-4C1E-9628-5C7A1CBD8A83}" dt="2021-10-01T05:15:48.250" v="2858"/>
          <ac:grpSpMkLst>
            <pc:docMk/>
            <pc:sldMk cId="2717547441" sldId="304"/>
            <ac:grpSpMk id="32" creationId="{287F12C9-F7A9-46C5-8B68-82657283BCDB}"/>
          </ac:grpSpMkLst>
        </pc:grpChg>
        <pc:grpChg chg="mod">
          <ac:chgData name="Aniket Chhabra" userId="598e0514-bef3-4e71-b6aa-f2edd6441cff" providerId="ADAL" clId="{A7CBF834-8346-4C1E-9628-5C7A1CBD8A83}" dt="2021-10-01T05:15:48.250" v="2858"/>
          <ac:grpSpMkLst>
            <pc:docMk/>
            <pc:sldMk cId="2717547441" sldId="304"/>
            <ac:grpSpMk id="36" creationId="{B7D25229-36B3-49AD-A336-06672983A02E}"/>
          </ac:grpSpMkLst>
        </pc:grpChg>
        <pc:grpChg chg="del mod">
          <ac:chgData name="Aniket Chhabra" userId="598e0514-bef3-4e71-b6aa-f2edd6441cff" providerId="ADAL" clId="{A7CBF834-8346-4C1E-9628-5C7A1CBD8A83}" dt="2021-10-01T05:16:08.627" v="2879"/>
          <ac:grpSpMkLst>
            <pc:docMk/>
            <pc:sldMk cId="2717547441" sldId="304"/>
            <ac:grpSpMk id="49" creationId="{958BE856-B3C3-453C-BCB4-7AC2583DF8C6}"/>
          </ac:grpSpMkLst>
        </pc:grpChg>
        <pc:grpChg chg="del mod">
          <ac:chgData name="Aniket Chhabra" userId="598e0514-bef3-4e71-b6aa-f2edd6441cff" providerId="ADAL" clId="{A7CBF834-8346-4C1E-9628-5C7A1CBD8A83}" dt="2021-10-01T05:16:09.594" v="2882"/>
          <ac:grpSpMkLst>
            <pc:docMk/>
            <pc:sldMk cId="2717547441" sldId="304"/>
            <ac:grpSpMk id="52" creationId="{3A8F403F-EB85-4E12-B896-606A72A8195A}"/>
          </ac:grpSpMkLst>
        </pc:grpChg>
        <pc:grpChg chg="del mod">
          <ac:chgData name="Aniket Chhabra" userId="598e0514-bef3-4e71-b6aa-f2edd6441cff" providerId="ADAL" clId="{A7CBF834-8346-4C1E-9628-5C7A1CBD8A83}" dt="2021-10-01T05:16:19.394" v="2899"/>
          <ac:grpSpMkLst>
            <pc:docMk/>
            <pc:sldMk cId="2717547441" sldId="304"/>
            <ac:grpSpMk id="55" creationId="{6D7FE024-6FFC-46CE-9EE9-77757A4600D5}"/>
          </ac:grpSpMkLst>
        </pc:grpChg>
        <pc:grpChg chg="mod">
          <ac:chgData name="Aniket Chhabra" userId="598e0514-bef3-4e71-b6aa-f2edd6441cff" providerId="ADAL" clId="{A7CBF834-8346-4C1E-9628-5C7A1CBD8A83}" dt="2021-10-01T05:16:19.394" v="2899"/>
          <ac:grpSpMkLst>
            <pc:docMk/>
            <pc:sldMk cId="2717547441" sldId="304"/>
            <ac:grpSpMk id="70" creationId="{0A81D94A-71C8-45C6-B453-602F230085F2}"/>
          </ac:grpSpMkLst>
        </pc:grpChg>
        <pc:grpChg chg="mod">
          <ac:chgData name="Aniket Chhabra" userId="598e0514-bef3-4e71-b6aa-f2edd6441cff" providerId="ADAL" clId="{A7CBF834-8346-4C1E-9628-5C7A1CBD8A83}" dt="2021-10-01T05:16:33.342" v="2913"/>
          <ac:grpSpMkLst>
            <pc:docMk/>
            <pc:sldMk cId="2717547441" sldId="304"/>
            <ac:grpSpMk id="71" creationId="{BF9C8024-444A-4AB3-85F9-F6BDECC3F47F}"/>
          </ac:grpSpMkLst>
        </pc:grpChg>
        <pc:grpChg chg="mod">
          <ac:chgData name="Aniket Chhabra" userId="598e0514-bef3-4e71-b6aa-f2edd6441cff" providerId="ADAL" clId="{A7CBF834-8346-4C1E-9628-5C7A1CBD8A83}" dt="2021-10-01T05:16:24.501" v="2909"/>
          <ac:grpSpMkLst>
            <pc:docMk/>
            <pc:sldMk cId="2717547441" sldId="304"/>
            <ac:grpSpMk id="81" creationId="{9506A430-D46B-4BCB-B01D-991B0D26E028}"/>
          </ac:grpSpMkLst>
        </pc:grpChg>
        <pc:grpChg chg="mod">
          <ac:chgData name="Aniket Chhabra" userId="598e0514-bef3-4e71-b6aa-f2edd6441cff" providerId="ADAL" clId="{A7CBF834-8346-4C1E-9628-5C7A1CBD8A83}" dt="2021-10-01T05:16:35.542" v="2916"/>
          <ac:grpSpMkLst>
            <pc:docMk/>
            <pc:sldMk cId="2717547441" sldId="304"/>
            <ac:grpSpMk id="84" creationId="{D2D1DCEF-8AA7-47C9-B8A1-9D05B27273A2}"/>
          </ac:grpSpMkLst>
        </pc:grpChg>
        <pc:grpChg chg="mod">
          <ac:chgData name="Aniket Chhabra" userId="598e0514-bef3-4e71-b6aa-f2edd6441cff" providerId="ADAL" clId="{A7CBF834-8346-4C1E-9628-5C7A1CBD8A83}" dt="2021-10-01T05:16:42.095" v="2926"/>
          <ac:grpSpMkLst>
            <pc:docMk/>
            <pc:sldMk cId="2717547441" sldId="304"/>
            <ac:grpSpMk id="94" creationId="{0E7EC789-8F72-4CBD-892C-34BC1234B78F}"/>
          </ac:grpSpMkLst>
        </pc:grpChg>
        <pc:grpChg chg="del mod">
          <ac:chgData name="Aniket Chhabra" userId="598e0514-bef3-4e71-b6aa-f2edd6441cff" providerId="ADAL" clId="{A7CBF834-8346-4C1E-9628-5C7A1CBD8A83}" dt="2021-10-01T05:17:17.802" v="2950"/>
          <ac:grpSpMkLst>
            <pc:docMk/>
            <pc:sldMk cId="2717547441" sldId="304"/>
            <ac:grpSpMk id="107" creationId="{AA364977-EC43-4366-AE11-712EC2C28150}"/>
          </ac:grpSpMkLst>
        </pc:grpChg>
        <pc:grpChg chg="del mod">
          <ac:chgData name="Aniket Chhabra" userId="598e0514-bef3-4e71-b6aa-f2edd6441cff" providerId="ADAL" clId="{A7CBF834-8346-4C1E-9628-5C7A1CBD8A83}" dt="2021-10-01T05:17:22.733" v="2962"/>
          <ac:grpSpMkLst>
            <pc:docMk/>
            <pc:sldMk cId="2717547441" sldId="304"/>
            <ac:grpSpMk id="114" creationId="{351B13E0-08E8-4D30-9F6C-952406EB8BB0}"/>
          </ac:grpSpMkLst>
        </pc:grpChg>
        <pc:grpChg chg="del mod">
          <ac:chgData name="Aniket Chhabra" userId="598e0514-bef3-4e71-b6aa-f2edd6441cff" providerId="ADAL" clId="{A7CBF834-8346-4C1E-9628-5C7A1CBD8A83}" dt="2021-10-01T05:17:28.827" v="2972"/>
          <ac:grpSpMkLst>
            <pc:docMk/>
            <pc:sldMk cId="2717547441" sldId="304"/>
            <ac:grpSpMk id="124" creationId="{44E46125-E712-4CE8-B4B5-0369EEC460B3}"/>
          </ac:grpSpMkLst>
        </pc:grpChg>
        <pc:grpChg chg="del mod">
          <ac:chgData name="Aniket Chhabra" userId="598e0514-bef3-4e71-b6aa-f2edd6441cff" providerId="ADAL" clId="{A7CBF834-8346-4C1E-9628-5C7A1CBD8A83}" dt="2021-10-01T05:17:32.025" v="2979"/>
          <ac:grpSpMkLst>
            <pc:docMk/>
            <pc:sldMk cId="2717547441" sldId="304"/>
            <ac:grpSpMk id="134" creationId="{36913FF0-84D6-4468-99F2-07A9EE78F1D0}"/>
          </ac:grpSpMkLst>
        </pc:grpChg>
        <pc:grpChg chg="del mod">
          <ac:chgData name="Aniket Chhabra" userId="598e0514-bef3-4e71-b6aa-f2edd6441cff" providerId="ADAL" clId="{A7CBF834-8346-4C1E-9628-5C7A1CBD8A83}" dt="2021-10-01T05:17:38.023" v="2982"/>
          <ac:grpSpMkLst>
            <pc:docMk/>
            <pc:sldMk cId="2717547441" sldId="304"/>
            <ac:grpSpMk id="141" creationId="{44CE8F9E-6C13-48CA-8AF7-3E3FF698FAD0}"/>
          </ac:grpSpMkLst>
        </pc:grpChg>
        <pc:grpChg chg="mod">
          <ac:chgData name="Aniket Chhabra" userId="598e0514-bef3-4e71-b6aa-f2edd6441cff" providerId="ADAL" clId="{A7CBF834-8346-4C1E-9628-5C7A1CBD8A83}" dt="2021-10-01T05:17:38.023" v="2982"/>
          <ac:grpSpMkLst>
            <pc:docMk/>
            <pc:sldMk cId="2717547441" sldId="304"/>
            <ac:grpSpMk id="144" creationId="{F569846E-95B6-4C26-AC97-7EF96D52FA22}"/>
          </ac:grpSpMkLst>
        </pc:grpChg>
        <pc:graphicFrameChg chg="add mod ord modVis">
          <ac:chgData name="Aniket Chhabra" userId="598e0514-bef3-4e71-b6aa-f2edd6441cff" providerId="ADAL" clId="{A7CBF834-8346-4C1E-9628-5C7A1CBD8A83}" dt="2021-10-01T05:08:24.717" v="2820"/>
          <ac:graphicFrameMkLst>
            <pc:docMk/>
            <pc:sldMk cId="2717547441" sldId="304"/>
            <ac:graphicFrameMk id="6" creationId="{12DE97D5-6D9C-468A-A354-F56866DE5F50}"/>
          </ac:graphicFrameMkLst>
        </pc:graphicFrameChg>
        <pc:picChg chg="add del">
          <ac:chgData name="Aniket Chhabra" userId="598e0514-bef3-4e71-b6aa-f2edd6441cff" providerId="ADAL" clId="{A7CBF834-8346-4C1E-9628-5C7A1CBD8A83}" dt="2021-10-01T05:15:10.433" v="2823" actId="478"/>
          <ac:picMkLst>
            <pc:docMk/>
            <pc:sldMk cId="2717547441" sldId="304"/>
            <ac:picMk id="8" creationId="{8AA0A7AE-AF8D-4D7C-9D6E-28704A29371A}"/>
          </ac:picMkLst>
        </pc:picChg>
        <pc:picChg chg="add mod">
          <ac:chgData name="Aniket Chhabra" userId="598e0514-bef3-4e71-b6aa-f2edd6441cff" providerId="ADAL" clId="{A7CBF834-8346-4C1E-9628-5C7A1CBD8A83}" dt="2021-10-01T05:15:13.474" v="2826" actId="1076"/>
          <ac:picMkLst>
            <pc:docMk/>
            <pc:sldMk cId="2717547441" sldId="304"/>
            <ac:picMk id="10" creationId="{A55565DC-9DBA-4C06-99D4-FAB29EEE3556}"/>
          </ac:picMkLst>
        </pc:picChg>
        <pc:inkChg chg="add">
          <ac:chgData name="Aniket Chhabra" userId="598e0514-bef3-4e71-b6aa-f2edd6441cff" providerId="ADAL" clId="{A7CBF834-8346-4C1E-9628-5C7A1CBD8A83}" dt="2021-12-19T05:32:13.387" v="3583"/>
          <ac:inkMkLst>
            <pc:docMk/>
            <pc:sldMk cId="2717547441" sldId="304"/>
            <ac:inkMk id="2" creationId="{9001987A-2CF7-4550-8045-C9438CB837FF}"/>
          </ac:inkMkLst>
        </pc:inkChg>
        <pc:inkChg chg="add del">
          <ac:chgData name="Aniket Chhabra" userId="598e0514-bef3-4e71-b6aa-f2edd6441cff" providerId="ADAL" clId="{A7CBF834-8346-4C1E-9628-5C7A1CBD8A83}" dt="2021-10-01T05:15:26.463" v="2832"/>
          <ac:inkMkLst>
            <pc:docMk/>
            <pc:sldMk cId="2717547441" sldId="304"/>
            <ac:inkMk id="11" creationId="{6E46E573-A5C6-4FC6-B96B-F8FB9A53C020}"/>
          </ac:inkMkLst>
        </pc:inkChg>
        <pc:inkChg chg="add del">
          <ac:chgData name="Aniket Chhabra" userId="598e0514-bef3-4e71-b6aa-f2edd6441cff" providerId="ADAL" clId="{A7CBF834-8346-4C1E-9628-5C7A1CBD8A83}" dt="2021-10-01T05:15:26.462" v="2830"/>
          <ac:inkMkLst>
            <pc:docMk/>
            <pc:sldMk cId="2717547441" sldId="304"/>
            <ac:inkMk id="12" creationId="{991E81D8-09F4-46C9-BF65-2B89B85649DD}"/>
          </ac:inkMkLst>
        </pc:inkChg>
        <pc:inkChg chg="add del">
          <ac:chgData name="Aniket Chhabra" userId="598e0514-bef3-4e71-b6aa-f2edd6441cff" providerId="ADAL" clId="{A7CBF834-8346-4C1E-9628-5C7A1CBD8A83}" dt="2021-10-01T05:15:26.462" v="2831"/>
          <ac:inkMkLst>
            <pc:docMk/>
            <pc:sldMk cId="2717547441" sldId="304"/>
            <ac:inkMk id="13" creationId="{8CEEF09F-20D5-4791-B8F8-D2DB43046283}"/>
          </ac:inkMkLst>
        </pc:inkChg>
        <pc:inkChg chg="add mod">
          <ac:chgData name="Aniket Chhabra" userId="598e0514-bef3-4e71-b6aa-f2edd6441cff" providerId="ADAL" clId="{A7CBF834-8346-4C1E-9628-5C7A1CBD8A83}" dt="2021-10-01T05:15:48.250" v="2858"/>
          <ac:inkMkLst>
            <pc:docMk/>
            <pc:sldMk cId="2717547441" sldId="304"/>
            <ac:inkMk id="14" creationId="{C5592FCC-2A05-4EC2-90DC-66D9D6CE77E2}"/>
          </ac:inkMkLst>
        </pc:inkChg>
        <pc:inkChg chg="add mod">
          <ac:chgData name="Aniket Chhabra" userId="598e0514-bef3-4e71-b6aa-f2edd6441cff" providerId="ADAL" clId="{A7CBF834-8346-4C1E-9628-5C7A1CBD8A83}" dt="2021-10-01T05:15:48.250" v="2858"/>
          <ac:inkMkLst>
            <pc:docMk/>
            <pc:sldMk cId="2717547441" sldId="304"/>
            <ac:inkMk id="15" creationId="{5A430E64-8BCD-437E-8266-0E78248236A4}"/>
          </ac:inkMkLst>
        </pc:inkChg>
        <pc:inkChg chg="add mod">
          <ac:chgData name="Aniket Chhabra" userId="598e0514-bef3-4e71-b6aa-f2edd6441cff" providerId="ADAL" clId="{A7CBF834-8346-4C1E-9628-5C7A1CBD8A83}" dt="2021-10-01T05:15:48.250" v="2858"/>
          <ac:inkMkLst>
            <pc:docMk/>
            <pc:sldMk cId="2717547441" sldId="304"/>
            <ac:inkMk id="16" creationId="{26B99BF6-28FB-4D16-AA10-42FDDAC3280C}"/>
          </ac:inkMkLst>
        </pc:inkChg>
        <pc:inkChg chg="add mod">
          <ac:chgData name="Aniket Chhabra" userId="598e0514-bef3-4e71-b6aa-f2edd6441cff" providerId="ADAL" clId="{A7CBF834-8346-4C1E-9628-5C7A1CBD8A83}" dt="2021-10-01T05:15:48.250" v="2858"/>
          <ac:inkMkLst>
            <pc:docMk/>
            <pc:sldMk cId="2717547441" sldId="304"/>
            <ac:inkMk id="18" creationId="{2AD07AC0-CF00-42D1-B184-616EFBDF7203}"/>
          </ac:inkMkLst>
        </pc:inkChg>
        <pc:inkChg chg="add mod">
          <ac:chgData name="Aniket Chhabra" userId="598e0514-bef3-4e71-b6aa-f2edd6441cff" providerId="ADAL" clId="{A7CBF834-8346-4C1E-9628-5C7A1CBD8A83}" dt="2021-10-01T05:15:48.250" v="2858"/>
          <ac:inkMkLst>
            <pc:docMk/>
            <pc:sldMk cId="2717547441" sldId="304"/>
            <ac:inkMk id="19" creationId="{84144BAD-3D1A-4FBA-A7CB-D2EB2E77572E}"/>
          </ac:inkMkLst>
        </pc:inkChg>
        <pc:inkChg chg="add mod">
          <ac:chgData name="Aniket Chhabra" userId="598e0514-bef3-4e71-b6aa-f2edd6441cff" providerId="ADAL" clId="{A7CBF834-8346-4C1E-9628-5C7A1CBD8A83}" dt="2021-10-01T05:15:48.250" v="2858"/>
          <ac:inkMkLst>
            <pc:docMk/>
            <pc:sldMk cId="2717547441" sldId="304"/>
            <ac:inkMk id="20" creationId="{D21765A7-BA6A-42D2-8DA9-2A3CDB4686DC}"/>
          </ac:inkMkLst>
        </pc:inkChg>
        <pc:inkChg chg="add mod">
          <ac:chgData name="Aniket Chhabra" userId="598e0514-bef3-4e71-b6aa-f2edd6441cff" providerId="ADAL" clId="{A7CBF834-8346-4C1E-9628-5C7A1CBD8A83}" dt="2021-10-01T05:15:48.250" v="2858"/>
          <ac:inkMkLst>
            <pc:docMk/>
            <pc:sldMk cId="2717547441" sldId="304"/>
            <ac:inkMk id="21" creationId="{8B6869E3-A8FE-4479-B9C1-971BAB13AFAE}"/>
          </ac:inkMkLst>
        </pc:inkChg>
        <pc:inkChg chg="add mod">
          <ac:chgData name="Aniket Chhabra" userId="598e0514-bef3-4e71-b6aa-f2edd6441cff" providerId="ADAL" clId="{A7CBF834-8346-4C1E-9628-5C7A1CBD8A83}" dt="2021-10-01T05:15:48.250" v="2858"/>
          <ac:inkMkLst>
            <pc:docMk/>
            <pc:sldMk cId="2717547441" sldId="304"/>
            <ac:inkMk id="22" creationId="{3FAB5ECE-E8EC-4A26-B0B5-15C3F2AE90C1}"/>
          </ac:inkMkLst>
        </pc:inkChg>
        <pc:inkChg chg="add mod">
          <ac:chgData name="Aniket Chhabra" userId="598e0514-bef3-4e71-b6aa-f2edd6441cff" providerId="ADAL" clId="{A7CBF834-8346-4C1E-9628-5C7A1CBD8A83}" dt="2021-10-01T05:15:48.250" v="2858"/>
          <ac:inkMkLst>
            <pc:docMk/>
            <pc:sldMk cId="2717547441" sldId="304"/>
            <ac:inkMk id="23" creationId="{A70BDCE8-4464-468B-8D30-B926B28C268F}"/>
          </ac:inkMkLst>
        </pc:inkChg>
        <pc:inkChg chg="add mod">
          <ac:chgData name="Aniket Chhabra" userId="598e0514-bef3-4e71-b6aa-f2edd6441cff" providerId="ADAL" clId="{A7CBF834-8346-4C1E-9628-5C7A1CBD8A83}" dt="2021-10-01T05:15:48.250" v="2858"/>
          <ac:inkMkLst>
            <pc:docMk/>
            <pc:sldMk cId="2717547441" sldId="304"/>
            <ac:inkMk id="24" creationId="{A9F66C1E-EFA0-49DE-9A3B-A1500B168520}"/>
          </ac:inkMkLst>
        </pc:inkChg>
        <pc:inkChg chg="add del mod">
          <ac:chgData name="Aniket Chhabra" userId="598e0514-bef3-4e71-b6aa-f2edd6441cff" providerId="ADAL" clId="{A7CBF834-8346-4C1E-9628-5C7A1CBD8A83}" dt="2021-10-01T05:15:43.345" v="2848"/>
          <ac:inkMkLst>
            <pc:docMk/>
            <pc:sldMk cId="2717547441" sldId="304"/>
            <ac:inkMk id="25" creationId="{25C1B10B-3A4A-40C7-8FFD-FC8B8B011B04}"/>
          </ac:inkMkLst>
        </pc:inkChg>
        <pc:inkChg chg="add del mod">
          <ac:chgData name="Aniket Chhabra" userId="598e0514-bef3-4e71-b6aa-f2edd6441cff" providerId="ADAL" clId="{A7CBF834-8346-4C1E-9628-5C7A1CBD8A83}" dt="2021-10-01T05:15:43.348" v="2850"/>
          <ac:inkMkLst>
            <pc:docMk/>
            <pc:sldMk cId="2717547441" sldId="304"/>
            <ac:inkMk id="26" creationId="{374DBA46-2313-4FA8-A87F-9307F6E8A22E}"/>
          </ac:inkMkLst>
        </pc:inkChg>
        <pc:inkChg chg="add del mod">
          <ac:chgData name="Aniket Chhabra" userId="598e0514-bef3-4e71-b6aa-f2edd6441cff" providerId="ADAL" clId="{A7CBF834-8346-4C1E-9628-5C7A1CBD8A83}" dt="2021-10-01T05:15:43.347" v="2849"/>
          <ac:inkMkLst>
            <pc:docMk/>
            <pc:sldMk cId="2717547441" sldId="304"/>
            <ac:inkMk id="27" creationId="{4D7D5A8D-67CA-4516-AABA-6973893AB2FE}"/>
          </ac:inkMkLst>
        </pc:inkChg>
        <pc:inkChg chg="add mod">
          <ac:chgData name="Aniket Chhabra" userId="598e0514-bef3-4e71-b6aa-f2edd6441cff" providerId="ADAL" clId="{A7CBF834-8346-4C1E-9628-5C7A1CBD8A83}" dt="2021-10-01T05:15:48.250" v="2858"/>
          <ac:inkMkLst>
            <pc:docMk/>
            <pc:sldMk cId="2717547441" sldId="304"/>
            <ac:inkMk id="29" creationId="{68F25129-1DE8-4B25-AF44-8CFD2C349C31}"/>
          </ac:inkMkLst>
        </pc:inkChg>
        <pc:inkChg chg="add mod">
          <ac:chgData name="Aniket Chhabra" userId="598e0514-bef3-4e71-b6aa-f2edd6441cff" providerId="ADAL" clId="{A7CBF834-8346-4C1E-9628-5C7A1CBD8A83}" dt="2021-10-01T05:15:48.250" v="2858"/>
          <ac:inkMkLst>
            <pc:docMk/>
            <pc:sldMk cId="2717547441" sldId="304"/>
            <ac:inkMk id="30" creationId="{D0F44C70-65F1-4042-90CB-B8696A42915B}"/>
          </ac:inkMkLst>
        </pc:inkChg>
        <pc:inkChg chg="add mod">
          <ac:chgData name="Aniket Chhabra" userId="598e0514-bef3-4e71-b6aa-f2edd6441cff" providerId="ADAL" clId="{A7CBF834-8346-4C1E-9628-5C7A1CBD8A83}" dt="2021-10-01T05:15:48.250" v="2858"/>
          <ac:inkMkLst>
            <pc:docMk/>
            <pc:sldMk cId="2717547441" sldId="304"/>
            <ac:inkMk id="31" creationId="{1D714042-4A83-4A2F-A8F0-775DDAEDDF83}"/>
          </ac:inkMkLst>
        </pc:inkChg>
        <pc:inkChg chg="add mod">
          <ac:chgData name="Aniket Chhabra" userId="598e0514-bef3-4e71-b6aa-f2edd6441cff" providerId="ADAL" clId="{A7CBF834-8346-4C1E-9628-5C7A1CBD8A83}" dt="2021-10-01T05:15:48.250" v="2858"/>
          <ac:inkMkLst>
            <pc:docMk/>
            <pc:sldMk cId="2717547441" sldId="304"/>
            <ac:inkMk id="33" creationId="{A8C055EA-F68A-452A-80D8-56497CFF21D2}"/>
          </ac:inkMkLst>
        </pc:inkChg>
        <pc:inkChg chg="add mod">
          <ac:chgData name="Aniket Chhabra" userId="598e0514-bef3-4e71-b6aa-f2edd6441cff" providerId="ADAL" clId="{A7CBF834-8346-4C1E-9628-5C7A1CBD8A83}" dt="2021-10-01T05:15:48.250" v="2858"/>
          <ac:inkMkLst>
            <pc:docMk/>
            <pc:sldMk cId="2717547441" sldId="304"/>
            <ac:inkMk id="34" creationId="{C6DC6F88-ED51-412E-A33A-E27B7D3497D1}"/>
          </ac:inkMkLst>
        </pc:inkChg>
        <pc:inkChg chg="add mod">
          <ac:chgData name="Aniket Chhabra" userId="598e0514-bef3-4e71-b6aa-f2edd6441cff" providerId="ADAL" clId="{A7CBF834-8346-4C1E-9628-5C7A1CBD8A83}" dt="2021-10-01T05:15:48.250" v="2858"/>
          <ac:inkMkLst>
            <pc:docMk/>
            <pc:sldMk cId="2717547441" sldId="304"/>
            <ac:inkMk id="35" creationId="{94C512B9-DA62-4019-89A9-2AA68AAE8742}"/>
          </ac:inkMkLst>
        </pc:inkChg>
        <pc:inkChg chg="add mod">
          <ac:chgData name="Aniket Chhabra" userId="598e0514-bef3-4e71-b6aa-f2edd6441cff" providerId="ADAL" clId="{A7CBF834-8346-4C1E-9628-5C7A1CBD8A83}" dt="2021-10-01T05:16:33.342" v="2913"/>
          <ac:inkMkLst>
            <pc:docMk/>
            <pc:sldMk cId="2717547441" sldId="304"/>
            <ac:inkMk id="37" creationId="{5F654781-2180-42CB-9FFF-94F132434C37}"/>
          </ac:inkMkLst>
        </pc:inkChg>
        <pc:inkChg chg="add mod">
          <ac:chgData name="Aniket Chhabra" userId="598e0514-bef3-4e71-b6aa-f2edd6441cff" providerId="ADAL" clId="{A7CBF834-8346-4C1E-9628-5C7A1CBD8A83}" dt="2021-10-01T05:16:33.342" v="2913"/>
          <ac:inkMkLst>
            <pc:docMk/>
            <pc:sldMk cId="2717547441" sldId="304"/>
            <ac:inkMk id="38" creationId="{F6C31097-41EC-4E72-9C84-AAFD1BD3F99C}"/>
          </ac:inkMkLst>
        </pc:inkChg>
        <pc:inkChg chg="add mod">
          <ac:chgData name="Aniket Chhabra" userId="598e0514-bef3-4e71-b6aa-f2edd6441cff" providerId="ADAL" clId="{A7CBF834-8346-4C1E-9628-5C7A1CBD8A83}" dt="2021-10-01T05:16:33.342" v="2913"/>
          <ac:inkMkLst>
            <pc:docMk/>
            <pc:sldMk cId="2717547441" sldId="304"/>
            <ac:inkMk id="39" creationId="{FBE6176D-8764-472A-B563-329D7A293123}"/>
          </ac:inkMkLst>
        </pc:inkChg>
        <pc:inkChg chg="add mod">
          <ac:chgData name="Aniket Chhabra" userId="598e0514-bef3-4e71-b6aa-f2edd6441cff" providerId="ADAL" clId="{A7CBF834-8346-4C1E-9628-5C7A1CBD8A83}" dt="2021-10-01T05:16:33.342" v="2913"/>
          <ac:inkMkLst>
            <pc:docMk/>
            <pc:sldMk cId="2717547441" sldId="304"/>
            <ac:inkMk id="40" creationId="{8A488183-A866-40D6-AE9A-E11A0711F74A}"/>
          </ac:inkMkLst>
        </pc:inkChg>
        <pc:inkChg chg="add mod">
          <ac:chgData name="Aniket Chhabra" userId="598e0514-bef3-4e71-b6aa-f2edd6441cff" providerId="ADAL" clId="{A7CBF834-8346-4C1E-9628-5C7A1CBD8A83}" dt="2021-10-01T05:16:33.342" v="2913"/>
          <ac:inkMkLst>
            <pc:docMk/>
            <pc:sldMk cId="2717547441" sldId="304"/>
            <ac:inkMk id="41" creationId="{A643213A-A332-45EE-85F9-8D1AC58F0D19}"/>
          </ac:inkMkLst>
        </pc:inkChg>
        <pc:inkChg chg="add mod">
          <ac:chgData name="Aniket Chhabra" userId="598e0514-bef3-4e71-b6aa-f2edd6441cff" providerId="ADAL" clId="{A7CBF834-8346-4C1E-9628-5C7A1CBD8A83}" dt="2021-10-01T05:16:33.342" v="2913"/>
          <ac:inkMkLst>
            <pc:docMk/>
            <pc:sldMk cId="2717547441" sldId="304"/>
            <ac:inkMk id="42" creationId="{830B5BDA-3D5D-4E18-873E-036D6942912C}"/>
          </ac:inkMkLst>
        </pc:inkChg>
        <pc:inkChg chg="add mod">
          <ac:chgData name="Aniket Chhabra" userId="598e0514-bef3-4e71-b6aa-f2edd6441cff" providerId="ADAL" clId="{A7CBF834-8346-4C1E-9628-5C7A1CBD8A83}" dt="2021-10-01T05:16:33.342" v="2913"/>
          <ac:inkMkLst>
            <pc:docMk/>
            <pc:sldMk cId="2717547441" sldId="304"/>
            <ac:inkMk id="43" creationId="{CBEE13FC-B0F4-43BE-9FEE-282B9FAACA05}"/>
          </ac:inkMkLst>
        </pc:inkChg>
        <pc:inkChg chg="add mod">
          <ac:chgData name="Aniket Chhabra" userId="598e0514-bef3-4e71-b6aa-f2edd6441cff" providerId="ADAL" clId="{A7CBF834-8346-4C1E-9628-5C7A1CBD8A83}" dt="2021-10-01T05:16:33.342" v="2913"/>
          <ac:inkMkLst>
            <pc:docMk/>
            <pc:sldMk cId="2717547441" sldId="304"/>
            <ac:inkMk id="44" creationId="{E3D1271B-080B-4CA7-9961-2FD6E26DC285}"/>
          </ac:inkMkLst>
        </pc:inkChg>
        <pc:inkChg chg="add del mod">
          <ac:chgData name="Aniket Chhabra" userId="598e0514-bef3-4e71-b6aa-f2edd6441cff" providerId="ADAL" clId="{A7CBF834-8346-4C1E-9628-5C7A1CBD8A83}" dt="2021-10-01T05:16:06.086" v="2877"/>
          <ac:inkMkLst>
            <pc:docMk/>
            <pc:sldMk cId="2717547441" sldId="304"/>
            <ac:inkMk id="45" creationId="{33866133-AF82-4780-AD90-5B7E258EB42E}"/>
          </ac:inkMkLst>
        </pc:inkChg>
        <pc:inkChg chg="add del mod">
          <ac:chgData name="Aniket Chhabra" userId="598e0514-bef3-4e71-b6aa-f2edd6441cff" providerId="ADAL" clId="{A7CBF834-8346-4C1E-9628-5C7A1CBD8A83}" dt="2021-10-01T05:16:06.084" v="2874"/>
          <ac:inkMkLst>
            <pc:docMk/>
            <pc:sldMk cId="2717547441" sldId="304"/>
            <ac:inkMk id="46" creationId="{9B57C5FC-4C86-4F4B-A9F5-4385875F24F8}"/>
          </ac:inkMkLst>
        </pc:inkChg>
        <pc:inkChg chg="add del mod">
          <ac:chgData name="Aniket Chhabra" userId="598e0514-bef3-4e71-b6aa-f2edd6441cff" providerId="ADAL" clId="{A7CBF834-8346-4C1E-9628-5C7A1CBD8A83}" dt="2021-10-01T05:16:06.085" v="2876"/>
          <ac:inkMkLst>
            <pc:docMk/>
            <pc:sldMk cId="2717547441" sldId="304"/>
            <ac:inkMk id="47" creationId="{F227AA21-741C-409C-AA42-4B1B4A047810}"/>
          </ac:inkMkLst>
        </pc:inkChg>
        <pc:inkChg chg="add del mod">
          <ac:chgData name="Aniket Chhabra" userId="598e0514-bef3-4e71-b6aa-f2edd6441cff" providerId="ADAL" clId="{A7CBF834-8346-4C1E-9628-5C7A1CBD8A83}" dt="2021-10-01T05:16:06.083" v="2873"/>
          <ac:inkMkLst>
            <pc:docMk/>
            <pc:sldMk cId="2717547441" sldId="304"/>
            <ac:inkMk id="48" creationId="{0CFDF39B-ED8F-4881-812F-52ACE28A057D}"/>
          </ac:inkMkLst>
        </pc:inkChg>
        <pc:inkChg chg="add del">
          <ac:chgData name="Aniket Chhabra" userId="598e0514-bef3-4e71-b6aa-f2edd6441cff" providerId="ADAL" clId="{A7CBF834-8346-4C1E-9628-5C7A1CBD8A83}" dt="2021-10-01T05:16:06.085" v="2875"/>
          <ac:inkMkLst>
            <pc:docMk/>
            <pc:sldMk cId="2717547441" sldId="304"/>
            <ac:inkMk id="50" creationId="{48892915-BBAE-44E9-8A99-2540BA4E7AA4}"/>
          </ac:inkMkLst>
        </pc:inkChg>
        <pc:inkChg chg="add mod">
          <ac:chgData name="Aniket Chhabra" userId="598e0514-bef3-4e71-b6aa-f2edd6441cff" providerId="ADAL" clId="{A7CBF834-8346-4C1E-9628-5C7A1CBD8A83}" dt="2021-10-01T05:16:33.342" v="2913"/>
          <ac:inkMkLst>
            <pc:docMk/>
            <pc:sldMk cId="2717547441" sldId="304"/>
            <ac:inkMk id="51" creationId="{CE508274-50BF-4AEC-9C67-BFF42599B94F}"/>
          </ac:inkMkLst>
        </pc:inkChg>
        <pc:inkChg chg="add del mod">
          <ac:chgData name="Aniket Chhabra" userId="598e0514-bef3-4e71-b6aa-f2edd6441cff" providerId="ADAL" clId="{A7CBF834-8346-4C1E-9628-5C7A1CBD8A83}" dt="2021-10-01T05:16:11.679" v="2885"/>
          <ac:inkMkLst>
            <pc:docMk/>
            <pc:sldMk cId="2717547441" sldId="304"/>
            <ac:inkMk id="53" creationId="{C627ADF8-1B62-4130-AED4-E1105003692D}"/>
          </ac:inkMkLst>
        </pc:inkChg>
        <pc:inkChg chg="add del mod">
          <ac:chgData name="Aniket Chhabra" userId="598e0514-bef3-4e71-b6aa-f2edd6441cff" providerId="ADAL" clId="{A7CBF834-8346-4C1E-9628-5C7A1CBD8A83}" dt="2021-10-01T05:16:11.678" v="2884"/>
          <ac:inkMkLst>
            <pc:docMk/>
            <pc:sldMk cId="2717547441" sldId="304"/>
            <ac:inkMk id="54" creationId="{433CA481-895E-4865-B7E8-30E9EC4B450C}"/>
          </ac:inkMkLst>
        </pc:inkChg>
        <pc:inkChg chg="add mod">
          <ac:chgData name="Aniket Chhabra" userId="598e0514-bef3-4e71-b6aa-f2edd6441cff" providerId="ADAL" clId="{A7CBF834-8346-4C1E-9628-5C7A1CBD8A83}" dt="2021-10-01T05:16:33.342" v="2913"/>
          <ac:inkMkLst>
            <pc:docMk/>
            <pc:sldMk cId="2717547441" sldId="304"/>
            <ac:inkMk id="56" creationId="{9430891D-3333-40B6-A475-04864E2EC211}"/>
          </ac:inkMkLst>
        </pc:inkChg>
        <pc:inkChg chg="add mod">
          <ac:chgData name="Aniket Chhabra" userId="598e0514-bef3-4e71-b6aa-f2edd6441cff" providerId="ADAL" clId="{A7CBF834-8346-4C1E-9628-5C7A1CBD8A83}" dt="2021-10-01T05:16:33.342" v="2913"/>
          <ac:inkMkLst>
            <pc:docMk/>
            <pc:sldMk cId="2717547441" sldId="304"/>
            <ac:inkMk id="57" creationId="{0C09E339-927C-41EA-99B3-9E85BB1DAE94}"/>
          </ac:inkMkLst>
        </pc:inkChg>
        <pc:inkChg chg="add mod">
          <ac:chgData name="Aniket Chhabra" userId="598e0514-bef3-4e71-b6aa-f2edd6441cff" providerId="ADAL" clId="{A7CBF834-8346-4C1E-9628-5C7A1CBD8A83}" dt="2021-10-01T05:16:33.342" v="2913"/>
          <ac:inkMkLst>
            <pc:docMk/>
            <pc:sldMk cId="2717547441" sldId="304"/>
            <ac:inkMk id="58" creationId="{4B8398DD-C62F-402D-A635-9E965CF4299E}"/>
          </ac:inkMkLst>
        </pc:inkChg>
        <pc:inkChg chg="add mod">
          <ac:chgData name="Aniket Chhabra" userId="598e0514-bef3-4e71-b6aa-f2edd6441cff" providerId="ADAL" clId="{A7CBF834-8346-4C1E-9628-5C7A1CBD8A83}" dt="2021-10-01T05:16:33.342" v="2913"/>
          <ac:inkMkLst>
            <pc:docMk/>
            <pc:sldMk cId="2717547441" sldId="304"/>
            <ac:inkMk id="59" creationId="{BD35945B-E76C-44F2-9234-5CE14A32AA28}"/>
          </ac:inkMkLst>
        </pc:inkChg>
        <pc:inkChg chg="add mod">
          <ac:chgData name="Aniket Chhabra" userId="598e0514-bef3-4e71-b6aa-f2edd6441cff" providerId="ADAL" clId="{A7CBF834-8346-4C1E-9628-5C7A1CBD8A83}" dt="2021-10-01T05:16:33.342" v="2913"/>
          <ac:inkMkLst>
            <pc:docMk/>
            <pc:sldMk cId="2717547441" sldId="304"/>
            <ac:inkMk id="60" creationId="{FE0B3302-928F-483F-9556-3D1E602C67E0}"/>
          </ac:inkMkLst>
        </pc:inkChg>
        <pc:inkChg chg="add mod">
          <ac:chgData name="Aniket Chhabra" userId="598e0514-bef3-4e71-b6aa-f2edd6441cff" providerId="ADAL" clId="{A7CBF834-8346-4C1E-9628-5C7A1CBD8A83}" dt="2021-10-01T05:16:33.342" v="2913"/>
          <ac:inkMkLst>
            <pc:docMk/>
            <pc:sldMk cId="2717547441" sldId="304"/>
            <ac:inkMk id="61" creationId="{208BCFD0-F1F0-4CDE-94B3-388BA07A7788}"/>
          </ac:inkMkLst>
        </pc:inkChg>
        <pc:inkChg chg="add del mod">
          <ac:chgData name="Aniket Chhabra" userId="598e0514-bef3-4e71-b6aa-f2edd6441cff" providerId="ADAL" clId="{A7CBF834-8346-4C1E-9628-5C7A1CBD8A83}" dt="2021-10-01T05:16:33.338" v="2910"/>
          <ac:inkMkLst>
            <pc:docMk/>
            <pc:sldMk cId="2717547441" sldId="304"/>
            <ac:inkMk id="62" creationId="{052B0BDD-6A7C-4EB3-911A-C8171E16A53D}"/>
          </ac:inkMkLst>
        </pc:inkChg>
        <pc:inkChg chg="add del mod">
          <ac:chgData name="Aniket Chhabra" userId="598e0514-bef3-4e71-b6aa-f2edd6441cff" providerId="ADAL" clId="{A7CBF834-8346-4C1E-9628-5C7A1CBD8A83}" dt="2021-10-01T05:16:33.340" v="2911"/>
          <ac:inkMkLst>
            <pc:docMk/>
            <pc:sldMk cId="2717547441" sldId="304"/>
            <ac:inkMk id="63" creationId="{2988F09E-AC95-46AB-9D6C-1F466DDD7281}"/>
          </ac:inkMkLst>
        </pc:inkChg>
        <pc:inkChg chg="add del mod">
          <ac:chgData name="Aniket Chhabra" userId="598e0514-bef3-4e71-b6aa-f2edd6441cff" providerId="ADAL" clId="{A7CBF834-8346-4C1E-9628-5C7A1CBD8A83}" dt="2021-10-01T05:16:33.342" v="2913"/>
          <ac:inkMkLst>
            <pc:docMk/>
            <pc:sldMk cId="2717547441" sldId="304"/>
            <ac:inkMk id="64" creationId="{06DFE0D6-D39B-417D-9D9E-4D86BB4E8819}"/>
          </ac:inkMkLst>
        </pc:inkChg>
        <pc:inkChg chg="add del mod">
          <ac:chgData name="Aniket Chhabra" userId="598e0514-bef3-4e71-b6aa-f2edd6441cff" providerId="ADAL" clId="{A7CBF834-8346-4C1E-9628-5C7A1CBD8A83}" dt="2021-10-01T05:16:33.341" v="2912"/>
          <ac:inkMkLst>
            <pc:docMk/>
            <pc:sldMk cId="2717547441" sldId="304"/>
            <ac:inkMk id="65" creationId="{1F9991CC-39C5-4C05-862C-169434ADE7DB}"/>
          </ac:inkMkLst>
        </pc:inkChg>
        <pc:inkChg chg="add mod">
          <ac:chgData name="Aniket Chhabra" userId="598e0514-bef3-4e71-b6aa-f2edd6441cff" providerId="ADAL" clId="{A7CBF834-8346-4C1E-9628-5C7A1CBD8A83}" dt="2021-10-01T05:16:19.394" v="2899"/>
          <ac:inkMkLst>
            <pc:docMk/>
            <pc:sldMk cId="2717547441" sldId="304"/>
            <ac:inkMk id="66" creationId="{0145E386-CD9B-499D-B597-CBBB335DF894}"/>
          </ac:inkMkLst>
        </pc:inkChg>
        <pc:inkChg chg="add mod">
          <ac:chgData name="Aniket Chhabra" userId="598e0514-bef3-4e71-b6aa-f2edd6441cff" providerId="ADAL" clId="{A7CBF834-8346-4C1E-9628-5C7A1CBD8A83}" dt="2021-10-01T05:16:19.394" v="2899"/>
          <ac:inkMkLst>
            <pc:docMk/>
            <pc:sldMk cId="2717547441" sldId="304"/>
            <ac:inkMk id="67" creationId="{09CD9C69-48E3-4914-83E8-A958B97D7147}"/>
          </ac:inkMkLst>
        </pc:inkChg>
        <pc:inkChg chg="add mod">
          <ac:chgData name="Aniket Chhabra" userId="598e0514-bef3-4e71-b6aa-f2edd6441cff" providerId="ADAL" clId="{A7CBF834-8346-4C1E-9628-5C7A1CBD8A83}" dt="2021-10-01T05:16:19.394" v="2899"/>
          <ac:inkMkLst>
            <pc:docMk/>
            <pc:sldMk cId="2717547441" sldId="304"/>
            <ac:inkMk id="68" creationId="{EC14548B-022E-48C2-8C47-D83CC5CBA355}"/>
          </ac:inkMkLst>
        </pc:inkChg>
        <pc:inkChg chg="add mod">
          <ac:chgData name="Aniket Chhabra" userId="598e0514-bef3-4e71-b6aa-f2edd6441cff" providerId="ADAL" clId="{A7CBF834-8346-4C1E-9628-5C7A1CBD8A83}" dt="2021-10-01T05:16:19.394" v="2899"/>
          <ac:inkMkLst>
            <pc:docMk/>
            <pc:sldMk cId="2717547441" sldId="304"/>
            <ac:inkMk id="69" creationId="{7356E1A6-461A-4D0A-8A17-BF628404AB16}"/>
          </ac:inkMkLst>
        </pc:inkChg>
        <pc:inkChg chg="add mod">
          <ac:chgData name="Aniket Chhabra" userId="598e0514-bef3-4e71-b6aa-f2edd6441cff" providerId="ADAL" clId="{A7CBF834-8346-4C1E-9628-5C7A1CBD8A83}" dt="2021-10-01T05:16:24.501" v="2909"/>
          <ac:inkMkLst>
            <pc:docMk/>
            <pc:sldMk cId="2717547441" sldId="304"/>
            <ac:inkMk id="72" creationId="{CAC979A3-A595-4D7E-AAFC-A7507151F8A8}"/>
          </ac:inkMkLst>
        </pc:inkChg>
        <pc:inkChg chg="add mod">
          <ac:chgData name="Aniket Chhabra" userId="598e0514-bef3-4e71-b6aa-f2edd6441cff" providerId="ADAL" clId="{A7CBF834-8346-4C1E-9628-5C7A1CBD8A83}" dt="2021-10-01T05:16:24.501" v="2909"/>
          <ac:inkMkLst>
            <pc:docMk/>
            <pc:sldMk cId="2717547441" sldId="304"/>
            <ac:inkMk id="73" creationId="{EF35AEFE-4032-47D2-869E-06EC36AE9B97}"/>
          </ac:inkMkLst>
        </pc:inkChg>
        <pc:inkChg chg="add mod">
          <ac:chgData name="Aniket Chhabra" userId="598e0514-bef3-4e71-b6aa-f2edd6441cff" providerId="ADAL" clId="{A7CBF834-8346-4C1E-9628-5C7A1CBD8A83}" dt="2021-10-01T05:16:24.501" v="2909"/>
          <ac:inkMkLst>
            <pc:docMk/>
            <pc:sldMk cId="2717547441" sldId="304"/>
            <ac:inkMk id="74" creationId="{A7E8D3F4-E490-4827-884C-EB7366A5CFBB}"/>
          </ac:inkMkLst>
        </pc:inkChg>
        <pc:inkChg chg="add mod">
          <ac:chgData name="Aniket Chhabra" userId="598e0514-bef3-4e71-b6aa-f2edd6441cff" providerId="ADAL" clId="{A7CBF834-8346-4C1E-9628-5C7A1CBD8A83}" dt="2021-10-01T05:16:24.501" v="2909"/>
          <ac:inkMkLst>
            <pc:docMk/>
            <pc:sldMk cId="2717547441" sldId="304"/>
            <ac:inkMk id="75" creationId="{FA62F651-B8EC-43B6-B53C-07DE7B814B3F}"/>
          </ac:inkMkLst>
        </pc:inkChg>
        <pc:inkChg chg="add mod">
          <ac:chgData name="Aniket Chhabra" userId="598e0514-bef3-4e71-b6aa-f2edd6441cff" providerId="ADAL" clId="{A7CBF834-8346-4C1E-9628-5C7A1CBD8A83}" dt="2021-10-01T05:16:24.501" v="2909"/>
          <ac:inkMkLst>
            <pc:docMk/>
            <pc:sldMk cId="2717547441" sldId="304"/>
            <ac:inkMk id="76" creationId="{82EA67B2-B0A2-404F-A650-76B6EA7F787E}"/>
          </ac:inkMkLst>
        </pc:inkChg>
        <pc:inkChg chg="add mod">
          <ac:chgData name="Aniket Chhabra" userId="598e0514-bef3-4e71-b6aa-f2edd6441cff" providerId="ADAL" clId="{A7CBF834-8346-4C1E-9628-5C7A1CBD8A83}" dt="2021-10-01T05:16:24.501" v="2909"/>
          <ac:inkMkLst>
            <pc:docMk/>
            <pc:sldMk cId="2717547441" sldId="304"/>
            <ac:inkMk id="77" creationId="{24F32F59-FE3E-4F6E-8C90-C3AD2B3A1E61}"/>
          </ac:inkMkLst>
        </pc:inkChg>
        <pc:inkChg chg="add mod">
          <ac:chgData name="Aniket Chhabra" userId="598e0514-bef3-4e71-b6aa-f2edd6441cff" providerId="ADAL" clId="{A7CBF834-8346-4C1E-9628-5C7A1CBD8A83}" dt="2021-10-01T05:16:24.501" v="2909"/>
          <ac:inkMkLst>
            <pc:docMk/>
            <pc:sldMk cId="2717547441" sldId="304"/>
            <ac:inkMk id="78" creationId="{183B7C80-9E0C-4AED-94F7-3EF9A46901C9}"/>
          </ac:inkMkLst>
        </pc:inkChg>
        <pc:inkChg chg="add mod">
          <ac:chgData name="Aniket Chhabra" userId="598e0514-bef3-4e71-b6aa-f2edd6441cff" providerId="ADAL" clId="{A7CBF834-8346-4C1E-9628-5C7A1CBD8A83}" dt="2021-10-01T05:16:24.501" v="2909"/>
          <ac:inkMkLst>
            <pc:docMk/>
            <pc:sldMk cId="2717547441" sldId="304"/>
            <ac:inkMk id="79" creationId="{7F91534A-A94C-462A-AD78-44B38416FC23}"/>
          </ac:inkMkLst>
        </pc:inkChg>
        <pc:inkChg chg="add mod">
          <ac:chgData name="Aniket Chhabra" userId="598e0514-bef3-4e71-b6aa-f2edd6441cff" providerId="ADAL" clId="{A7CBF834-8346-4C1E-9628-5C7A1CBD8A83}" dt="2021-10-01T05:16:24.501" v="2909"/>
          <ac:inkMkLst>
            <pc:docMk/>
            <pc:sldMk cId="2717547441" sldId="304"/>
            <ac:inkMk id="80" creationId="{C0780ED6-79EA-4AF0-8606-355632A86890}"/>
          </ac:inkMkLst>
        </pc:inkChg>
        <pc:inkChg chg="add mod">
          <ac:chgData name="Aniket Chhabra" userId="598e0514-bef3-4e71-b6aa-f2edd6441cff" providerId="ADAL" clId="{A7CBF834-8346-4C1E-9628-5C7A1CBD8A83}" dt="2021-10-01T05:16:35.542" v="2916"/>
          <ac:inkMkLst>
            <pc:docMk/>
            <pc:sldMk cId="2717547441" sldId="304"/>
            <ac:inkMk id="82" creationId="{969E53DF-3DFD-4873-8276-3FBCBE9DA019}"/>
          </ac:inkMkLst>
        </pc:inkChg>
        <pc:inkChg chg="add mod">
          <ac:chgData name="Aniket Chhabra" userId="598e0514-bef3-4e71-b6aa-f2edd6441cff" providerId="ADAL" clId="{A7CBF834-8346-4C1E-9628-5C7A1CBD8A83}" dt="2021-10-01T05:16:35.542" v="2916"/>
          <ac:inkMkLst>
            <pc:docMk/>
            <pc:sldMk cId="2717547441" sldId="304"/>
            <ac:inkMk id="83" creationId="{FF6946E9-25E9-4863-A9EF-2C6FD6178BF2}"/>
          </ac:inkMkLst>
        </pc:inkChg>
        <pc:inkChg chg="add mod">
          <ac:chgData name="Aniket Chhabra" userId="598e0514-bef3-4e71-b6aa-f2edd6441cff" providerId="ADAL" clId="{A7CBF834-8346-4C1E-9628-5C7A1CBD8A83}" dt="2021-10-01T05:16:42.095" v="2926"/>
          <ac:inkMkLst>
            <pc:docMk/>
            <pc:sldMk cId="2717547441" sldId="304"/>
            <ac:inkMk id="85" creationId="{018409A7-1925-47F2-AF3F-989877F1DFF8}"/>
          </ac:inkMkLst>
        </pc:inkChg>
        <pc:inkChg chg="add mod">
          <ac:chgData name="Aniket Chhabra" userId="598e0514-bef3-4e71-b6aa-f2edd6441cff" providerId="ADAL" clId="{A7CBF834-8346-4C1E-9628-5C7A1CBD8A83}" dt="2021-10-01T05:16:42.095" v="2926"/>
          <ac:inkMkLst>
            <pc:docMk/>
            <pc:sldMk cId="2717547441" sldId="304"/>
            <ac:inkMk id="86" creationId="{C049703C-1CBE-416A-B730-7F9470EBB21D}"/>
          </ac:inkMkLst>
        </pc:inkChg>
        <pc:inkChg chg="add mod">
          <ac:chgData name="Aniket Chhabra" userId="598e0514-bef3-4e71-b6aa-f2edd6441cff" providerId="ADAL" clId="{A7CBF834-8346-4C1E-9628-5C7A1CBD8A83}" dt="2021-10-01T05:16:42.095" v="2926"/>
          <ac:inkMkLst>
            <pc:docMk/>
            <pc:sldMk cId="2717547441" sldId="304"/>
            <ac:inkMk id="87" creationId="{4F1431AE-EEAD-49AD-A478-7242F8D86A8B}"/>
          </ac:inkMkLst>
        </pc:inkChg>
        <pc:inkChg chg="add mod">
          <ac:chgData name="Aniket Chhabra" userId="598e0514-bef3-4e71-b6aa-f2edd6441cff" providerId="ADAL" clId="{A7CBF834-8346-4C1E-9628-5C7A1CBD8A83}" dt="2021-10-01T05:16:42.095" v="2926"/>
          <ac:inkMkLst>
            <pc:docMk/>
            <pc:sldMk cId="2717547441" sldId="304"/>
            <ac:inkMk id="88" creationId="{304B6FF2-D79F-48DA-8A3B-1E37F3FA6625}"/>
          </ac:inkMkLst>
        </pc:inkChg>
        <pc:inkChg chg="add mod">
          <ac:chgData name="Aniket Chhabra" userId="598e0514-bef3-4e71-b6aa-f2edd6441cff" providerId="ADAL" clId="{A7CBF834-8346-4C1E-9628-5C7A1CBD8A83}" dt="2021-10-01T05:16:42.095" v="2926"/>
          <ac:inkMkLst>
            <pc:docMk/>
            <pc:sldMk cId="2717547441" sldId="304"/>
            <ac:inkMk id="89" creationId="{1535115E-9818-482B-9C71-560078BE8F1C}"/>
          </ac:inkMkLst>
        </pc:inkChg>
        <pc:inkChg chg="add mod">
          <ac:chgData name="Aniket Chhabra" userId="598e0514-bef3-4e71-b6aa-f2edd6441cff" providerId="ADAL" clId="{A7CBF834-8346-4C1E-9628-5C7A1CBD8A83}" dt="2021-10-01T05:16:42.095" v="2926"/>
          <ac:inkMkLst>
            <pc:docMk/>
            <pc:sldMk cId="2717547441" sldId="304"/>
            <ac:inkMk id="90" creationId="{B8556630-EB73-4D99-B90A-D29EE9BB4A49}"/>
          </ac:inkMkLst>
        </pc:inkChg>
        <pc:inkChg chg="add mod">
          <ac:chgData name="Aniket Chhabra" userId="598e0514-bef3-4e71-b6aa-f2edd6441cff" providerId="ADAL" clId="{A7CBF834-8346-4C1E-9628-5C7A1CBD8A83}" dt="2021-10-01T05:16:42.095" v="2926"/>
          <ac:inkMkLst>
            <pc:docMk/>
            <pc:sldMk cId="2717547441" sldId="304"/>
            <ac:inkMk id="91" creationId="{5F94F868-2DEF-474F-81D9-A6FBE37A70FD}"/>
          </ac:inkMkLst>
        </pc:inkChg>
        <pc:inkChg chg="add mod">
          <ac:chgData name="Aniket Chhabra" userId="598e0514-bef3-4e71-b6aa-f2edd6441cff" providerId="ADAL" clId="{A7CBF834-8346-4C1E-9628-5C7A1CBD8A83}" dt="2021-10-01T05:16:42.095" v="2926"/>
          <ac:inkMkLst>
            <pc:docMk/>
            <pc:sldMk cId="2717547441" sldId="304"/>
            <ac:inkMk id="92" creationId="{88FA1C34-6A04-4316-B001-8B1E10BD4B03}"/>
          </ac:inkMkLst>
        </pc:inkChg>
        <pc:inkChg chg="add mod">
          <ac:chgData name="Aniket Chhabra" userId="598e0514-bef3-4e71-b6aa-f2edd6441cff" providerId="ADAL" clId="{A7CBF834-8346-4C1E-9628-5C7A1CBD8A83}" dt="2021-10-01T05:16:42.095" v="2926"/>
          <ac:inkMkLst>
            <pc:docMk/>
            <pc:sldMk cId="2717547441" sldId="304"/>
            <ac:inkMk id="93" creationId="{C9F7BC76-3D08-490B-B61D-FF64C82B8CD2}"/>
          </ac:inkMkLst>
        </pc:inkChg>
        <pc:inkChg chg="add mod">
          <ac:chgData name="Aniket Chhabra" userId="598e0514-bef3-4e71-b6aa-f2edd6441cff" providerId="ADAL" clId="{A7CBF834-8346-4C1E-9628-5C7A1CBD8A83}" dt="2021-10-01T05:17:38.023" v="2982"/>
          <ac:inkMkLst>
            <pc:docMk/>
            <pc:sldMk cId="2717547441" sldId="304"/>
            <ac:inkMk id="95" creationId="{F01FCE55-4A8E-48EE-B4A9-2268CEE5F73A}"/>
          </ac:inkMkLst>
        </pc:inkChg>
        <pc:inkChg chg="add mod">
          <ac:chgData name="Aniket Chhabra" userId="598e0514-bef3-4e71-b6aa-f2edd6441cff" providerId="ADAL" clId="{A7CBF834-8346-4C1E-9628-5C7A1CBD8A83}" dt="2021-10-01T05:17:38.023" v="2982"/>
          <ac:inkMkLst>
            <pc:docMk/>
            <pc:sldMk cId="2717547441" sldId="304"/>
            <ac:inkMk id="96" creationId="{498C6CBD-F300-4880-B670-6619DCF4C212}"/>
          </ac:inkMkLst>
        </pc:inkChg>
        <pc:inkChg chg="add mod">
          <ac:chgData name="Aniket Chhabra" userId="598e0514-bef3-4e71-b6aa-f2edd6441cff" providerId="ADAL" clId="{A7CBF834-8346-4C1E-9628-5C7A1CBD8A83}" dt="2021-10-01T05:17:38.023" v="2982"/>
          <ac:inkMkLst>
            <pc:docMk/>
            <pc:sldMk cId="2717547441" sldId="304"/>
            <ac:inkMk id="97" creationId="{2BEDA28E-6F36-47C5-8E01-B57D24352273}"/>
          </ac:inkMkLst>
        </pc:inkChg>
        <pc:inkChg chg="add mod">
          <ac:chgData name="Aniket Chhabra" userId="598e0514-bef3-4e71-b6aa-f2edd6441cff" providerId="ADAL" clId="{A7CBF834-8346-4C1E-9628-5C7A1CBD8A83}" dt="2021-10-01T05:17:38.023" v="2982"/>
          <ac:inkMkLst>
            <pc:docMk/>
            <pc:sldMk cId="2717547441" sldId="304"/>
            <ac:inkMk id="98" creationId="{BA569A0F-2C23-47D5-9D0E-BF8A625DA919}"/>
          </ac:inkMkLst>
        </pc:inkChg>
        <pc:inkChg chg="add mod">
          <ac:chgData name="Aniket Chhabra" userId="598e0514-bef3-4e71-b6aa-f2edd6441cff" providerId="ADAL" clId="{A7CBF834-8346-4C1E-9628-5C7A1CBD8A83}" dt="2021-10-01T05:17:38.023" v="2982"/>
          <ac:inkMkLst>
            <pc:docMk/>
            <pc:sldMk cId="2717547441" sldId="304"/>
            <ac:inkMk id="99" creationId="{B8CCA838-5EDA-4D67-B387-C380C0E461F3}"/>
          </ac:inkMkLst>
        </pc:inkChg>
        <pc:inkChg chg="add mod">
          <ac:chgData name="Aniket Chhabra" userId="598e0514-bef3-4e71-b6aa-f2edd6441cff" providerId="ADAL" clId="{A7CBF834-8346-4C1E-9628-5C7A1CBD8A83}" dt="2021-10-01T05:17:38.023" v="2982"/>
          <ac:inkMkLst>
            <pc:docMk/>
            <pc:sldMk cId="2717547441" sldId="304"/>
            <ac:inkMk id="100" creationId="{65DD72E3-4958-49E3-B42C-8031B6A2038C}"/>
          </ac:inkMkLst>
        </pc:inkChg>
        <pc:inkChg chg="add mod">
          <ac:chgData name="Aniket Chhabra" userId="598e0514-bef3-4e71-b6aa-f2edd6441cff" providerId="ADAL" clId="{A7CBF834-8346-4C1E-9628-5C7A1CBD8A83}" dt="2021-10-01T05:17:38.023" v="2982"/>
          <ac:inkMkLst>
            <pc:docMk/>
            <pc:sldMk cId="2717547441" sldId="304"/>
            <ac:inkMk id="101" creationId="{F133BEA6-7353-49CE-8A35-AF2A6E1494D7}"/>
          </ac:inkMkLst>
        </pc:inkChg>
        <pc:inkChg chg="add mod">
          <ac:chgData name="Aniket Chhabra" userId="598e0514-bef3-4e71-b6aa-f2edd6441cff" providerId="ADAL" clId="{A7CBF834-8346-4C1E-9628-5C7A1CBD8A83}" dt="2021-10-01T05:17:38.023" v="2982"/>
          <ac:inkMkLst>
            <pc:docMk/>
            <pc:sldMk cId="2717547441" sldId="304"/>
            <ac:inkMk id="102" creationId="{79242E04-0BA3-4366-9233-E67D580D83E6}"/>
          </ac:inkMkLst>
        </pc:inkChg>
        <pc:inkChg chg="add mod">
          <ac:chgData name="Aniket Chhabra" userId="598e0514-bef3-4e71-b6aa-f2edd6441cff" providerId="ADAL" clId="{A7CBF834-8346-4C1E-9628-5C7A1CBD8A83}" dt="2021-10-01T05:17:38.023" v="2982"/>
          <ac:inkMkLst>
            <pc:docMk/>
            <pc:sldMk cId="2717547441" sldId="304"/>
            <ac:inkMk id="103" creationId="{0B55B624-D2B4-4CDD-9230-78721FB13F3F}"/>
          </ac:inkMkLst>
        </pc:inkChg>
        <pc:inkChg chg="add mod">
          <ac:chgData name="Aniket Chhabra" userId="598e0514-bef3-4e71-b6aa-f2edd6441cff" providerId="ADAL" clId="{A7CBF834-8346-4C1E-9628-5C7A1CBD8A83}" dt="2021-10-01T05:17:38.023" v="2982"/>
          <ac:inkMkLst>
            <pc:docMk/>
            <pc:sldMk cId="2717547441" sldId="304"/>
            <ac:inkMk id="104" creationId="{BE9FDF33-B06A-4667-898E-8C54223F3484}"/>
          </ac:inkMkLst>
        </pc:inkChg>
        <pc:inkChg chg="add mod">
          <ac:chgData name="Aniket Chhabra" userId="598e0514-bef3-4e71-b6aa-f2edd6441cff" providerId="ADAL" clId="{A7CBF834-8346-4C1E-9628-5C7A1CBD8A83}" dt="2021-10-01T05:17:38.023" v="2982"/>
          <ac:inkMkLst>
            <pc:docMk/>
            <pc:sldMk cId="2717547441" sldId="304"/>
            <ac:inkMk id="105" creationId="{6D6BE2EB-2607-4248-9C27-397D67DAE5F7}"/>
          </ac:inkMkLst>
        </pc:inkChg>
        <pc:inkChg chg="add mod">
          <ac:chgData name="Aniket Chhabra" userId="598e0514-bef3-4e71-b6aa-f2edd6441cff" providerId="ADAL" clId="{A7CBF834-8346-4C1E-9628-5C7A1CBD8A83}" dt="2021-10-01T05:17:38.023" v="2982"/>
          <ac:inkMkLst>
            <pc:docMk/>
            <pc:sldMk cId="2717547441" sldId="304"/>
            <ac:inkMk id="106" creationId="{7C14EDD5-0280-41AC-98D0-128F499FBF02}"/>
          </ac:inkMkLst>
        </pc:inkChg>
        <pc:inkChg chg="add mod">
          <ac:chgData name="Aniket Chhabra" userId="598e0514-bef3-4e71-b6aa-f2edd6441cff" providerId="ADAL" clId="{A7CBF834-8346-4C1E-9628-5C7A1CBD8A83}" dt="2021-10-01T05:17:38.023" v="2982"/>
          <ac:inkMkLst>
            <pc:docMk/>
            <pc:sldMk cId="2717547441" sldId="304"/>
            <ac:inkMk id="108" creationId="{482C1A7B-AC83-46AF-A78E-6B970CD2B4E7}"/>
          </ac:inkMkLst>
        </pc:inkChg>
        <pc:inkChg chg="add mod">
          <ac:chgData name="Aniket Chhabra" userId="598e0514-bef3-4e71-b6aa-f2edd6441cff" providerId="ADAL" clId="{A7CBF834-8346-4C1E-9628-5C7A1CBD8A83}" dt="2021-10-01T05:17:38.023" v="2982"/>
          <ac:inkMkLst>
            <pc:docMk/>
            <pc:sldMk cId="2717547441" sldId="304"/>
            <ac:inkMk id="109" creationId="{DE68184F-549F-467C-A976-ABA79CAD1EB3}"/>
          </ac:inkMkLst>
        </pc:inkChg>
        <pc:inkChg chg="add del">
          <ac:chgData name="Aniket Chhabra" userId="598e0514-bef3-4e71-b6aa-f2edd6441cff" providerId="ADAL" clId="{A7CBF834-8346-4C1E-9628-5C7A1CBD8A83}" dt="2021-10-01T05:17:17.398" v="2949"/>
          <ac:inkMkLst>
            <pc:docMk/>
            <pc:sldMk cId="2717547441" sldId="304"/>
            <ac:inkMk id="110" creationId="{457FE967-06A0-4545-9B08-2E2C5A2CBABE}"/>
          </ac:inkMkLst>
        </pc:inkChg>
        <pc:inkChg chg="add del">
          <ac:chgData name="Aniket Chhabra" userId="598e0514-bef3-4e71-b6aa-f2edd6441cff" providerId="ADAL" clId="{A7CBF834-8346-4C1E-9628-5C7A1CBD8A83}" dt="2021-10-01T05:17:17.397" v="2947"/>
          <ac:inkMkLst>
            <pc:docMk/>
            <pc:sldMk cId="2717547441" sldId="304"/>
            <ac:inkMk id="111" creationId="{0B0572BF-3A2C-4BA8-9988-F1BBC70F4DF4}"/>
          </ac:inkMkLst>
        </pc:inkChg>
        <pc:inkChg chg="add del">
          <ac:chgData name="Aniket Chhabra" userId="598e0514-bef3-4e71-b6aa-f2edd6441cff" providerId="ADAL" clId="{A7CBF834-8346-4C1E-9628-5C7A1CBD8A83}" dt="2021-10-01T05:17:17.397" v="2948"/>
          <ac:inkMkLst>
            <pc:docMk/>
            <pc:sldMk cId="2717547441" sldId="304"/>
            <ac:inkMk id="112" creationId="{612AE2A9-0692-476A-9A5E-F2AE185E7C48}"/>
          </ac:inkMkLst>
        </pc:inkChg>
        <pc:inkChg chg="add del">
          <ac:chgData name="Aniket Chhabra" userId="598e0514-bef3-4e71-b6aa-f2edd6441cff" providerId="ADAL" clId="{A7CBF834-8346-4C1E-9628-5C7A1CBD8A83}" dt="2021-10-01T05:17:17.395" v="2946"/>
          <ac:inkMkLst>
            <pc:docMk/>
            <pc:sldMk cId="2717547441" sldId="304"/>
            <ac:inkMk id="113" creationId="{C39A5077-777B-4430-BB9E-EFB75CDB306B}"/>
          </ac:inkMkLst>
        </pc:inkChg>
        <pc:inkChg chg="add mod">
          <ac:chgData name="Aniket Chhabra" userId="598e0514-bef3-4e71-b6aa-f2edd6441cff" providerId="ADAL" clId="{A7CBF834-8346-4C1E-9628-5C7A1CBD8A83}" dt="2021-10-01T05:17:38.023" v="2982"/>
          <ac:inkMkLst>
            <pc:docMk/>
            <pc:sldMk cId="2717547441" sldId="304"/>
            <ac:inkMk id="115" creationId="{C41343D1-DAA5-483A-93A5-2389F50F7339}"/>
          </ac:inkMkLst>
        </pc:inkChg>
        <pc:inkChg chg="add mod">
          <ac:chgData name="Aniket Chhabra" userId="598e0514-bef3-4e71-b6aa-f2edd6441cff" providerId="ADAL" clId="{A7CBF834-8346-4C1E-9628-5C7A1CBD8A83}" dt="2021-10-01T05:17:38.023" v="2982"/>
          <ac:inkMkLst>
            <pc:docMk/>
            <pc:sldMk cId="2717547441" sldId="304"/>
            <ac:inkMk id="116" creationId="{DF44EEAA-15BB-4DD7-A527-8080083C7D07}"/>
          </ac:inkMkLst>
        </pc:inkChg>
        <pc:inkChg chg="add mod">
          <ac:chgData name="Aniket Chhabra" userId="598e0514-bef3-4e71-b6aa-f2edd6441cff" providerId="ADAL" clId="{A7CBF834-8346-4C1E-9628-5C7A1CBD8A83}" dt="2021-10-01T05:17:38.023" v="2982"/>
          <ac:inkMkLst>
            <pc:docMk/>
            <pc:sldMk cId="2717547441" sldId="304"/>
            <ac:inkMk id="117" creationId="{5E937079-3FFF-42CE-BA87-7348E7AB85E7}"/>
          </ac:inkMkLst>
        </pc:inkChg>
        <pc:inkChg chg="add mod">
          <ac:chgData name="Aniket Chhabra" userId="598e0514-bef3-4e71-b6aa-f2edd6441cff" providerId="ADAL" clId="{A7CBF834-8346-4C1E-9628-5C7A1CBD8A83}" dt="2021-10-01T05:17:38.023" v="2982"/>
          <ac:inkMkLst>
            <pc:docMk/>
            <pc:sldMk cId="2717547441" sldId="304"/>
            <ac:inkMk id="118" creationId="{B647F28B-CBC1-450C-9DC5-B8DF74D9EC2D}"/>
          </ac:inkMkLst>
        </pc:inkChg>
        <pc:inkChg chg="add mod">
          <ac:chgData name="Aniket Chhabra" userId="598e0514-bef3-4e71-b6aa-f2edd6441cff" providerId="ADAL" clId="{A7CBF834-8346-4C1E-9628-5C7A1CBD8A83}" dt="2021-10-01T05:17:38.023" v="2982"/>
          <ac:inkMkLst>
            <pc:docMk/>
            <pc:sldMk cId="2717547441" sldId="304"/>
            <ac:inkMk id="119" creationId="{E7AE5AAF-4E6B-4676-8F6C-906682CA65A9}"/>
          </ac:inkMkLst>
        </pc:inkChg>
        <pc:inkChg chg="add mod">
          <ac:chgData name="Aniket Chhabra" userId="598e0514-bef3-4e71-b6aa-f2edd6441cff" providerId="ADAL" clId="{A7CBF834-8346-4C1E-9628-5C7A1CBD8A83}" dt="2021-10-01T05:17:38.023" v="2982"/>
          <ac:inkMkLst>
            <pc:docMk/>
            <pc:sldMk cId="2717547441" sldId="304"/>
            <ac:inkMk id="120" creationId="{889798C2-2876-4FF7-BB71-394127029A30}"/>
          </ac:inkMkLst>
        </pc:inkChg>
        <pc:inkChg chg="add del">
          <ac:chgData name="Aniket Chhabra" userId="598e0514-bef3-4e71-b6aa-f2edd6441cff" providerId="ADAL" clId="{A7CBF834-8346-4C1E-9628-5C7A1CBD8A83}" dt="2021-10-01T05:17:22.638" v="2961"/>
          <ac:inkMkLst>
            <pc:docMk/>
            <pc:sldMk cId="2717547441" sldId="304"/>
            <ac:inkMk id="121" creationId="{D7273F79-FEE3-4653-8963-63D7F0850D02}"/>
          </ac:inkMkLst>
        </pc:inkChg>
        <pc:inkChg chg="add del">
          <ac:chgData name="Aniket Chhabra" userId="598e0514-bef3-4e71-b6aa-f2edd6441cff" providerId="ADAL" clId="{A7CBF834-8346-4C1E-9628-5C7A1CBD8A83}" dt="2021-10-01T05:17:22.637" v="2960"/>
          <ac:inkMkLst>
            <pc:docMk/>
            <pc:sldMk cId="2717547441" sldId="304"/>
            <ac:inkMk id="122" creationId="{E13A0CA7-618E-44E8-932E-4A6FBC037F24}"/>
          </ac:inkMkLst>
        </pc:inkChg>
        <pc:inkChg chg="add mod">
          <ac:chgData name="Aniket Chhabra" userId="598e0514-bef3-4e71-b6aa-f2edd6441cff" providerId="ADAL" clId="{A7CBF834-8346-4C1E-9628-5C7A1CBD8A83}" dt="2021-10-01T05:17:38.023" v="2982"/>
          <ac:inkMkLst>
            <pc:docMk/>
            <pc:sldMk cId="2717547441" sldId="304"/>
            <ac:inkMk id="123" creationId="{947FBE78-F199-41CC-B669-AC3CF26C1594}"/>
          </ac:inkMkLst>
        </pc:inkChg>
        <pc:inkChg chg="add mod">
          <ac:chgData name="Aniket Chhabra" userId="598e0514-bef3-4e71-b6aa-f2edd6441cff" providerId="ADAL" clId="{A7CBF834-8346-4C1E-9628-5C7A1CBD8A83}" dt="2021-10-01T05:17:38.023" v="2982"/>
          <ac:inkMkLst>
            <pc:docMk/>
            <pc:sldMk cId="2717547441" sldId="304"/>
            <ac:inkMk id="125" creationId="{8A922347-9849-44E1-90A9-8E1A0432451B}"/>
          </ac:inkMkLst>
        </pc:inkChg>
        <pc:inkChg chg="add mod">
          <ac:chgData name="Aniket Chhabra" userId="598e0514-bef3-4e71-b6aa-f2edd6441cff" providerId="ADAL" clId="{A7CBF834-8346-4C1E-9628-5C7A1CBD8A83}" dt="2021-10-01T05:17:38.023" v="2982"/>
          <ac:inkMkLst>
            <pc:docMk/>
            <pc:sldMk cId="2717547441" sldId="304"/>
            <ac:inkMk id="126" creationId="{DD246F0A-ADCE-4EC0-9FCD-B9D283C66952}"/>
          </ac:inkMkLst>
        </pc:inkChg>
        <pc:inkChg chg="add mod">
          <ac:chgData name="Aniket Chhabra" userId="598e0514-bef3-4e71-b6aa-f2edd6441cff" providerId="ADAL" clId="{A7CBF834-8346-4C1E-9628-5C7A1CBD8A83}" dt="2021-10-01T05:17:38.023" v="2982"/>
          <ac:inkMkLst>
            <pc:docMk/>
            <pc:sldMk cId="2717547441" sldId="304"/>
            <ac:inkMk id="127" creationId="{3E5A7AB6-009F-4C77-8681-7C3C7F6EA1F9}"/>
          </ac:inkMkLst>
        </pc:inkChg>
        <pc:inkChg chg="add mod">
          <ac:chgData name="Aniket Chhabra" userId="598e0514-bef3-4e71-b6aa-f2edd6441cff" providerId="ADAL" clId="{A7CBF834-8346-4C1E-9628-5C7A1CBD8A83}" dt="2021-10-01T05:17:38.023" v="2982"/>
          <ac:inkMkLst>
            <pc:docMk/>
            <pc:sldMk cId="2717547441" sldId="304"/>
            <ac:inkMk id="128" creationId="{6CBC0DE2-E782-4B85-A076-0D313B5D1CF9}"/>
          </ac:inkMkLst>
        </pc:inkChg>
        <pc:inkChg chg="add mod">
          <ac:chgData name="Aniket Chhabra" userId="598e0514-bef3-4e71-b6aa-f2edd6441cff" providerId="ADAL" clId="{A7CBF834-8346-4C1E-9628-5C7A1CBD8A83}" dt="2021-10-01T05:17:38.023" v="2982"/>
          <ac:inkMkLst>
            <pc:docMk/>
            <pc:sldMk cId="2717547441" sldId="304"/>
            <ac:inkMk id="129" creationId="{ACBA84F1-949A-4228-9B18-BC60F26F03F6}"/>
          </ac:inkMkLst>
        </pc:inkChg>
        <pc:inkChg chg="add mod">
          <ac:chgData name="Aniket Chhabra" userId="598e0514-bef3-4e71-b6aa-f2edd6441cff" providerId="ADAL" clId="{A7CBF834-8346-4C1E-9628-5C7A1CBD8A83}" dt="2021-10-01T05:17:38.023" v="2982"/>
          <ac:inkMkLst>
            <pc:docMk/>
            <pc:sldMk cId="2717547441" sldId="304"/>
            <ac:inkMk id="130" creationId="{C1B1117A-97B5-49B9-AD49-FBF0330D4BAE}"/>
          </ac:inkMkLst>
        </pc:inkChg>
        <pc:inkChg chg="add mod">
          <ac:chgData name="Aniket Chhabra" userId="598e0514-bef3-4e71-b6aa-f2edd6441cff" providerId="ADAL" clId="{A7CBF834-8346-4C1E-9628-5C7A1CBD8A83}" dt="2021-10-01T05:17:38.023" v="2982"/>
          <ac:inkMkLst>
            <pc:docMk/>
            <pc:sldMk cId="2717547441" sldId="304"/>
            <ac:inkMk id="131" creationId="{7C90B6AD-4B12-4158-9041-896A6B16730C}"/>
          </ac:inkMkLst>
        </pc:inkChg>
        <pc:inkChg chg="add mod">
          <ac:chgData name="Aniket Chhabra" userId="598e0514-bef3-4e71-b6aa-f2edd6441cff" providerId="ADAL" clId="{A7CBF834-8346-4C1E-9628-5C7A1CBD8A83}" dt="2021-10-01T05:17:38.023" v="2982"/>
          <ac:inkMkLst>
            <pc:docMk/>
            <pc:sldMk cId="2717547441" sldId="304"/>
            <ac:inkMk id="132" creationId="{65572CC1-BC9E-44FE-B3CC-6F4E4C2917F0}"/>
          </ac:inkMkLst>
        </pc:inkChg>
        <pc:inkChg chg="add mod">
          <ac:chgData name="Aniket Chhabra" userId="598e0514-bef3-4e71-b6aa-f2edd6441cff" providerId="ADAL" clId="{A7CBF834-8346-4C1E-9628-5C7A1CBD8A83}" dt="2021-10-01T05:17:38.023" v="2982"/>
          <ac:inkMkLst>
            <pc:docMk/>
            <pc:sldMk cId="2717547441" sldId="304"/>
            <ac:inkMk id="133" creationId="{D48A3712-0192-412C-A067-6708F23CC497}"/>
          </ac:inkMkLst>
        </pc:inkChg>
        <pc:inkChg chg="add mod">
          <ac:chgData name="Aniket Chhabra" userId="598e0514-bef3-4e71-b6aa-f2edd6441cff" providerId="ADAL" clId="{A7CBF834-8346-4C1E-9628-5C7A1CBD8A83}" dt="2021-10-01T05:17:38.023" v="2982"/>
          <ac:inkMkLst>
            <pc:docMk/>
            <pc:sldMk cId="2717547441" sldId="304"/>
            <ac:inkMk id="135" creationId="{5927CD23-2793-4F57-A775-44310C6CB994}"/>
          </ac:inkMkLst>
        </pc:inkChg>
        <pc:inkChg chg="add mod">
          <ac:chgData name="Aniket Chhabra" userId="598e0514-bef3-4e71-b6aa-f2edd6441cff" providerId="ADAL" clId="{A7CBF834-8346-4C1E-9628-5C7A1CBD8A83}" dt="2021-10-01T05:17:38.023" v="2982"/>
          <ac:inkMkLst>
            <pc:docMk/>
            <pc:sldMk cId="2717547441" sldId="304"/>
            <ac:inkMk id="136" creationId="{AA8740E5-76DA-4D60-9875-190D7678E685}"/>
          </ac:inkMkLst>
        </pc:inkChg>
        <pc:inkChg chg="add mod">
          <ac:chgData name="Aniket Chhabra" userId="598e0514-bef3-4e71-b6aa-f2edd6441cff" providerId="ADAL" clId="{A7CBF834-8346-4C1E-9628-5C7A1CBD8A83}" dt="2021-10-01T05:17:38.023" v="2982"/>
          <ac:inkMkLst>
            <pc:docMk/>
            <pc:sldMk cId="2717547441" sldId="304"/>
            <ac:inkMk id="137" creationId="{AC9A7738-72AD-43C2-8482-9144C8DEA927}"/>
          </ac:inkMkLst>
        </pc:inkChg>
        <pc:inkChg chg="add mod">
          <ac:chgData name="Aniket Chhabra" userId="598e0514-bef3-4e71-b6aa-f2edd6441cff" providerId="ADAL" clId="{A7CBF834-8346-4C1E-9628-5C7A1CBD8A83}" dt="2021-10-01T05:17:38.023" v="2982"/>
          <ac:inkMkLst>
            <pc:docMk/>
            <pc:sldMk cId="2717547441" sldId="304"/>
            <ac:inkMk id="138" creationId="{9E8060DB-BF37-477F-89BF-DD083D2A2970}"/>
          </ac:inkMkLst>
        </pc:inkChg>
        <pc:inkChg chg="add mod">
          <ac:chgData name="Aniket Chhabra" userId="598e0514-bef3-4e71-b6aa-f2edd6441cff" providerId="ADAL" clId="{A7CBF834-8346-4C1E-9628-5C7A1CBD8A83}" dt="2021-10-01T05:17:38.023" v="2982"/>
          <ac:inkMkLst>
            <pc:docMk/>
            <pc:sldMk cId="2717547441" sldId="304"/>
            <ac:inkMk id="139" creationId="{A80340E8-15C7-43C1-BAAF-3851FF271BA3}"/>
          </ac:inkMkLst>
        </pc:inkChg>
        <pc:inkChg chg="add mod">
          <ac:chgData name="Aniket Chhabra" userId="598e0514-bef3-4e71-b6aa-f2edd6441cff" providerId="ADAL" clId="{A7CBF834-8346-4C1E-9628-5C7A1CBD8A83}" dt="2021-10-01T05:17:38.023" v="2982"/>
          <ac:inkMkLst>
            <pc:docMk/>
            <pc:sldMk cId="2717547441" sldId="304"/>
            <ac:inkMk id="140" creationId="{C0B73C00-0FDB-459F-BDCF-8AF8F6520488}"/>
          </ac:inkMkLst>
        </pc:inkChg>
        <pc:inkChg chg="add mod">
          <ac:chgData name="Aniket Chhabra" userId="598e0514-bef3-4e71-b6aa-f2edd6441cff" providerId="ADAL" clId="{A7CBF834-8346-4C1E-9628-5C7A1CBD8A83}" dt="2021-10-01T05:17:38.023" v="2982"/>
          <ac:inkMkLst>
            <pc:docMk/>
            <pc:sldMk cId="2717547441" sldId="304"/>
            <ac:inkMk id="142" creationId="{55B48014-72AB-457E-974F-781492F495D5}"/>
          </ac:inkMkLst>
        </pc:inkChg>
        <pc:inkChg chg="add mod">
          <ac:chgData name="Aniket Chhabra" userId="598e0514-bef3-4e71-b6aa-f2edd6441cff" providerId="ADAL" clId="{A7CBF834-8346-4C1E-9628-5C7A1CBD8A83}" dt="2021-10-01T05:17:38.023" v="2982"/>
          <ac:inkMkLst>
            <pc:docMk/>
            <pc:sldMk cId="2717547441" sldId="304"/>
            <ac:inkMk id="143" creationId="{B923E4E7-E16B-4E6E-B963-74101690B74A}"/>
          </ac:inkMkLst>
        </pc:inkChg>
        <pc:inkChg chg="add">
          <ac:chgData name="Aniket Chhabra" userId="598e0514-bef3-4e71-b6aa-f2edd6441cff" providerId="ADAL" clId="{A7CBF834-8346-4C1E-9628-5C7A1CBD8A83}" dt="2021-10-01T05:17:59.863" v="2983" actId="9405"/>
          <ac:inkMkLst>
            <pc:docMk/>
            <pc:sldMk cId="2717547441" sldId="304"/>
            <ac:inkMk id="145" creationId="{597DE346-ED5D-4171-8F99-94E07652E0A1}"/>
          </ac:inkMkLst>
        </pc:inkChg>
      </pc:sldChg>
      <pc:sldChg chg="addSp delSp modSp new add mod">
        <pc:chgData name="Aniket Chhabra" userId="598e0514-bef3-4e71-b6aa-f2edd6441cff" providerId="ADAL" clId="{A7CBF834-8346-4C1E-9628-5C7A1CBD8A83}" dt="2021-10-02T03:46:51.273" v="3325"/>
        <pc:sldMkLst>
          <pc:docMk/>
          <pc:sldMk cId="2661879559" sldId="305"/>
        </pc:sldMkLst>
        <pc:spChg chg="del">
          <ac:chgData name="Aniket Chhabra" userId="598e0514-bef3-4e71-b6aa-f2edd6441cff" providerId="ADAL" clId="{A7CBF834-8346-4C1E-9628-5C7A1CBD8A83}" dt="2021-10-01T05:21:29.473" v="2986" actId="478"/>
          <ac:spMkLst>
            <pc:docMk/>
            <pc:sldMk cId="2661879559" sldId="305"/>
            <ac:spMk id="2" creationId="{AB303877-4BCE-4250-BFA5-D67DB4BDCCE9}"/>
          </ac:spMkLst>
        </pc:spChg>
        <pc:spChg chg="del">
          <ac:chgData name="Aniket Chhabra" userId="598e0514-bef3-4e71-b6aa-f2edd6441cff" providerId="ADAL" clId="{A7CBF834-8346-4C1E-9628-5C7A1CBD8A83}" dt="2021-10-01T05:21:29.473" v="2986" actId="478"/>
          <ac:spMkLst>
            <pc:docMk/>
            <pc:sldMk cId="2661879559" sldId="305"/>
            <ac:spMk id="3" creationId="{60E0551C-DFC5-414F-A574-717F4CD33480}"/>
          </ac:spMkLst>
        </pc:spChg>
        <pc:spChg chg="add del mod modVis">
          <ac:chgData name="Aniket Chhabra" userId="598e0514-bef3-4e71-b6aa-f2edd6441cff" providerId="ADAL" clId="{A7CBF834-8346-4C1E-9628-5C7A1CBD8A83}" dt="2021-10-02T03:46:14.433" v="3074"/>
          <ac:spMkLst>
            <pc:docMk/>
            <pc:sldMk cId="2661879559" sldId="305"/>
            <ac:spMk id="4" creationId="{DD851D0B-5813-491D-A1D0-CEB3FF6D363A}"/>
          </ac:spMkLst>
        </pc:spChg>
        <pc:spChg chg="add del">
          <ac:chgData name="Aniket Chhabra" userId="598e0514-bef3-4e71-b6aa-f2edd6441cff" providerId="ADAL" clId="{A7CBF834-8346-4C1E-9628-5C7A1CBD8A83}" dt="2021-10-02T03:45:59.411" v="3025" actId="22"/>
          <ac:spMkLst>
            <pc:docMk/>
            <pc:sldMk cId="2661879559" sldId="305"/>
            <ac:spMk id="7" creationId="{3B253C3A-1F3F-442C-BD2B-3BC10B113046}"/>
          </ac:spMkLst>
        </pc:spChg>
        <pc:spChg chg="add del">
          <ac:chgData name="Aniket Chhabra" userId="598e0514-bef3-4e71-b6aa-f2edd6441cff" providerId="ADAL" clId="{A7CBF834-8346-4C1E-9628-5C7A1CBD8A83}" dt="2021-10-02T03:46:02.058" v="3029" actId="22"/>
          <ac:spMkLst>
            <pc:docMk/>
            <pc:sldMk cId="2661879559" sldId="305"/>
            <ac:spMk id="8" creationId="{B26E2439-848D-4113-A2B9-4E5EE83785A1}"/>
          </ac:spMkLst>
        </pc:spChg>
        <pc:spChg chg="add mod">
          <ac:chgData name="Aniket Chhabra" userId="598e0514-bef3-4e71-b6aa-f2edd6441cff" providerId="ADAL" clId="{A7CBF834-8346-4C1E-9628-5C7A1CBD8A83}" dt="2021-10-02T03:46:51.183" v="3269" actId="948"/>
          <ac:spMkLst>
            <pc:docMk/>
            <pc:sldMk cId="2661879559" sldId="305"/>
            <ac:spMk id="9" creationId="{40882883-0C60-435B-B98E-3344681A347A}"/>
          </ac:spMkLst>
        </pc:spChg>
        <pc:spChg chg="add del mod modVis">
          <ac:chgData name="Aniket Chhabra" userId="598e0514-bef3-4e71-b6aa-f2edd6441cff" providerId="ADAL" clId="{A7CBF834-8346-4C1E-9628-5C7A1CBD8A83}" dt="2021-10-02T03:46:15.466" v="3120"/>
          <ac:spMkLst>
            <pc:docMk/>
            <pc:sldMk cId="2661879559" sldId="305"/>
            <ac:spMk id="10" creationId="{E21BF704-2288-4305-9564-0297375DD7FA}"/>
          </ac:spMkLst>
        </pc:spChg>
        <pc:spChg chg="add del mod modVis">
          <ac:chgData name="Aniket Chhabra" userId="598e0514-bef3-4e71-b6aa-f2edd6441cff" providerId="ADAL" clId="{A7CBF834-8346-4C1E-9628-5C7A1CBD8A83}" dt="2021-10-02T03:46:17.276" v="3187"/>
          <ac:spMkLst>
            <pc:docMk/>
            <pc:sldMk cId="2661879559" sldId="305"/>
            <ac:spMk id="11" creationId="{BC21445D-8B1F-4C25-920B-1B4E3ECD7ACA}"/>
          </ac:spMkLst>
        </pc:spChg>
        <pc:spChg chg="add del mod modVis">
          <ac:chgData name="Aniket Chhabra" userId="598e0514-bef3-4e71-b6aa-f2edd6441cff" providerId="ADAL" clId="{A7CBF834-8346-4C1E-9628-5C7A1CBD8A83}" dt="2021-10-02T03:46:49.597" v="3265"/>
          <ac:spMkLst>
            <pc:docMk/>
            <pc:sldMk cId="2661879559" sldId="305"/>
            <ac:spMk id="14" creationId="{A95B8BEC-85F1-4A2A-8058-2D54F955A2C4}"/>
          </ac:spMkLst>
        </pc:spChg>
        <pc:spChg chg="add del mod modVis">
          <ac:chgData name="Aniket Chhabra" userId="598e0514-bef3-4e71-b6aa-f2edd6441cff" providerId="ADAL" clId="{A7CBF834-8346-4C1E-9628-5C7A1CBD8A83}" dt="2021-10-02T03:46:51.270" v="3323"/>
          <ac:spMkLst>
            <pc:docMk/>
            <pc:sldMk cId="2661879559" sldId="305"/>
            <ac:spMk id="15" creationId="{8E0368DE-D8F1-419D-822F-83C4802C054F}"/>
          </ac:spMkLst>
        </pc:spChg>
        <pc:graphicFrameChg chg="add mod ord modVis">
          <ac:chgData name="Aniket Chhabra" userId="598e0514-bef3-4e71-b6aa-f2edd6441cff" providerId="ADAL" clId="{A7CBF834-8346-4C1E-9628-5C7A1CBD8A83}" dt="2021-10-02T03:46:51.273" v="3325"/>
          <ac:graphicFrameMkLst>
            <pc:docMk/>
            <pc:sldMk cId="2661879559" sldId="305"/>
            <ac:graphicFrameMk id="6" creationId="{44F15E3A-8312-4AC3-8658-B9C05D402579}"/>
          </ac:graphicFrameMkLst>
        </pc:graphicFrameChg>
        <pc:picChg chg="add del mod">
          <ac:chgData name="Aniket Chhabra" userId="598e0514-bef3-4e71-b6aa-f2edd6441cff" providerId="ADAL" clId="{A7CBF834-8346-4C1E-9628-5C7A1CBD8A83}" dt="2021-10-02T03:46:33.070" v="3192" actId="478"/>
          <ac:picMkLst>
            <pc:docMk/>
            <pc:sldMk cId="2661879559" sldId="305"/>
            <ac:picMk id="5" creationId="{029A46E1-BDCC-44E3-89EF-6467AEA9965C}"/>
          </ac:picMkLst>
        </pc:picChg>
        <pc:picChg chg="add mod">
          <ac:chgData name="Aniket Chhabra" userId="598e0514-bef3-4e71-b6aa-f2edd6441cff" providerId="ADAL" clId="{A7CBF834-8346-4C1E-9628-5C7A1CBD8A83}" dt="2021-10-02T03:46:46.061" v="3202" actId="14100"/>
          <ac:picMkLst>
            <pc:docMk/>
            <pc:sldMk cId="2661879559" sldId="305"/>
            <ac:picMk id="13" creationId="{E0ADF6E9-13DD-4A63-BB79-3EA370579303}"/>
          </ac:picMkLst>
        </pc:picChg>
      </pc:sldChg>
      <pc:sldChg chg="addSp delSp modSp new add mod">
        <pc:chgData name="Aniket Chhabra" userId="598e0514-bef3-4e71-b6aa-f2edd6441cff" providerId="ADAL" clId="{A7CBF834-8346-4C1E-9628-5C7A1CBD8A83}" dt="2021-10-02T03:55:58.124" v="3348" actId="1036"/>
        <pc:sldMkLst>
          <pc:docMk/>
          <pc:sldMk cId="131509210" sldId="306"/>
        </pc:sldMkLst>
        <pc:spChg chg="del">
          <ac:chgData name="Aniket Chhabra" userId="598e0514-bef3-4e71-b6aa-f2edd6441cff" providerId="ADAL" clId="{A7CBF834-8346-4C1E-9628-5C7A1CBD8A83}" dt="2021-10-02T03:45:47.858" v="3006" actId="478"/>
          <ac:spMkLst>
            <pc:docMk/>
            <pc:sldMk cId="131509210" sldId="306"/>
            <ac:spMk id="2" creationId="{0F7B4C92-EB22-4D2B-A66B-76C81C55D437}"/>
          </ac:spMkLst>
        </pc:spChg>
        <pc:spChg chg="del">
          <ac:chgData name="Aniket Chhabra" userId="598e0514-bef3-4e71-b6aa-f2edd6441cff" providerId="ADAL" clId="{A7CBF834-8346-4C1E-9628-5C7A1CBD8A83}" dt="2021-10-02T03:45:47.858" v="3006" actId="478"/>
          <ac:spMkLst>
            <pc:docMk/>
            <pc:sldMk cId="131509210" sldId="306"/>
            <ac:spMk id="3" creationId="{96267046-15A2-4104-B5BD-07CA1954E713}"/>
          </ac:spMkLst>
        </pc:spChg>
        <pc:spChg chg="add mod">
          <ac:chgData name="Aniket Chhabra" userId="598e0514-bef3-4e71-b6aa-f2edd6441cff" providerId="ADAL" clId="{A7CBF834-8346-4C1E-9628-5C7A1CBD8A83}" dt="2021-10-02T03:46:57.214" v="3326"/>
          <ac:spMkLst>
            <pc:docMk/>
            <pc:sldMk cId="131509210" sldId="306"/>
            <ac:spMk id="5" creationId="{57153FE8-31BE-4A96-B911-A9D8B3F88B1F}"/>
          </ac:spMkLst>
        </pc:spChg>
        <pc:spChg chg="add mod">
          <ac:chgData name="Aniket Chhabra" userId="598e0514-bef3-4e71-b6aa-f2edd6441cff" providerId="ADAL" clId="{A7CBF834-8346-4C1E-9628-5C7A1CBD8A83}" dt="2021-10-02T03:55:58.124" v="3348" actId="1036"/>
          <ac:spMkLst>
            <pc:docMk/>
            <pc:sldMk cId="131509210" sldId="306"/>
            <ac:spMk id="8" creationId="{F1D8A449-920C-4D66-B2B9-6238E54E8D97}"/>
          </ac:spMkLst>
        </pc:spChg>
        <pc:grpChg chg="add mod">
          <ac:chgData name="Aniket Chhabra" userId="598e0514-bef3-4e71-b6aa-f2edd6441cff" providerId="ADAL" clId="{A7CBF834-8346-4C1E-9628-5C7A1CBD8A83}" dt="2021-10-02T03:55:50.302" v="3344" actId="14100"/>
          <ac:grpSpMkLst>
            <pc:docMk/>
            <pc:sldMk cId="131509210" sldId="306"/>
            <ac:grpSpMk id="9" creationId="{774972C1-617B-49C0-8EF2-07400743B6A3}"/>
          </ac:grpSpMkLst>
        </pc:grpChg>
        <pc:graphicFrameChg chg="add mod modVis">
          <ac:chgData name="Aniket Chhabra" userId="598e0514-bef3-4e71-b6aa-f2edd6441cff" providerId="ADAL" clId="{A7CBF834-8346-4C1E-9628-5C7A1CBD8A83}" dt="2021-10-02T03:45:48.409" v="3019"/>
          <ac:graphicFrameMkLst>
            <pc:docMk/>
            <pc:sldMk cId="131509210" sldId="306"/>
            <ac:graphicFrameMk id="4" creationId="{01F6D3A7-C7DE-4401-864C-A3338048D47E}"/>
          </ac:graphicFrameMkLst>
        </pc:graphicFrameChg>
        <pc:picChg chg="add mod">
          <ac:chgData name="Aniket Chhabra" userId="598e0514-bef3-4e71-b6aa-f2edd6441cff" providerId="ADAL" clId="{A7CBF834-8346-4C1E-9628-5C7A1CBD8A83}" dt="2021-10-02T03:55:41.538" v="3341" actId="164"/>
          <ac:picMkLst>
            <pc:docMk/>
            <pc:sldMk cId="131509210" sldId="306"/>
            <ac:picMk id="7" creationId="{B5F3F80B-F92A-443C-9376-9390E33B699A}"/>
          </ac:picMkLst>
        </pc:picChg>
      </pc:sldChg>
      <pc:sldChg chg="addSp delSp modSp new add mod">
        <pc:chgData name="Aniket Chhabra" userId="598e0514-bef3-4e71-b6aa-f2edd6441cff" providerId="ADAL" clId="{A7CBF834-8346-4C1E-9628-5C7A1CBD8A83}" dt="2021-10-02T04:07:55.362" v="3377" actId="14100"/>
        <pc:sldMkLst>
          <pc:docMk/>
          <pc:sldMk cId="2663015752" sldId="307"/>
        </pc:sldMkLst>
        <pc:spChg chg="del">
          <ac:chgData name="Aniket Chhabra" userId="598e0514-bef3-4e71-b6aa-f2edd6441cff" providerId="ADAL" clId="{A7CBF834-8346-4C1E-9628-5C7A1CBD8A83}" dt="2021-10-02T03:58:12.153" v="3351" actId="478"/>
          <ac:spMkLst>
            <pc:docMk/>
            <pc:sldMk cId="2663015752" sldId="307"/>
            <ac:spMk id="2" creationId="{311BE2F5-5B3D-4C26-B1B7-073C154F4271}"/>
          </ac:spMkLst>
        </pc:spChg>
        <pc:spChg chg="del">
          <ac:chgData name="Aniket Chhabra" userId="598e0514-bef3-4e71-b6aa-f2edd6441cff" providerId="ADAL" clId="{A7CBF834-8346-4C1E-9628-5C7A1CBD8A83}" dt="2021-10-02T03:58:12.153" v="3351" actId="478"/>
          <ac:spMkLst>
            <pc:docMk/>
            <pc:sldMk cId="2663015752" sldId="307"/>
            <ac:spMk id="3" creationId="{5128B2AF-65A3-4474-A237-02BA02587FEA}"/>
          </ac:spMkLst>
        </pc:spChg>
        <pc:spChg chg="add mod">
          <ac:chgData name="Aniket Chhabra" userId="598e0514-bef3-4e71-b6aa-f2edd6441cff" providerId="ADAL" clId="{A7CBF834-8346-4C1E-9628-5C7A1CBD8A83}" dt="2021-10-02T03:58:19.141" v="3365"/>
          <ac:spMkLst>
            <pc:docMk/>
            <pc:sldMk cId="2663015752" sldId="307"/>
            <ac:spMk id="5" creationId="{62CBC8C9-C680-4C1B-9F4E-888CDD3E9EB9}"/>
          </ac:spMkLst>
        </pc:spChg>
        <pc:spChg chg="mod">
          <ac:chgData name="Aniket Chhabra" userId="598e0514-bef3-4e71-b6aa-f2edd6441cff" providerId="ADAL" clId="{A7CBF834-8346-4C1E-9628-5C7A1CBD8A83}" dt="2021-10-02T03:58:19.141" v="3365"/>
          <ac:spMkLst>
            <pc:docMk/>
            <pc:sldMk cId="2663015752" sldId="307"/>
            <ac:spMk id="8" creationId="{ECDEE575-2302-4DD6-B146-40B345EEFD1A}"/>
          </ac:spMkLst>
        </pc:spChg>
        <pc:grpChg chg="add del mod">
          <ac:chgData name="Aniket Chhabra" userId="598e0514-bef3-4e71-b6aa-f2edd6441cff" providerId="ADAL" clId="{A7CBF834-8346-4C1E-9628-5C7A1CBD8A83}" dt="2021-10-02T03:58:21.587" v="3366" actId="478"/>
          <ac:grpSpMkLst>
            <pc:docMk/>
            <pc:sldMk cId="2663015752" sldId="307"/>
            <ac:grpSpMk id="6" creationId="{5F65942D-C9A8-4058-8842-87F4C28F95D7}"/>
          </ac:grpSpMkLst>
        </pc:grpChg>
        <pc:graphicFrameChg chg="add mod modVis">
          <ac:chgData name="Aniket Chhabra" userId="598e0514-bef3-4e71-b6aa-f2edd6441cff" providerId="ADAL" clId="{A7CBF834-8346-4C1E-9628-5C7A1CBD8A83}" dt="2021-10-02T03:58:12.688" v="3364"/>
          <ac:graphicFrameMkLst>
            <pc:docMk/>
            <pc:sldMk cId="2663015752" sldId="307"/>
            <ac:graphicFrameMk id="4" creationId="{B0E937F8-6151-4BBC-9414-0A650B5AFD8E}"/>
          </ac:graphicFrameMkLst>
        </pc:graphicFrameChg>
        <pc:picChg chg="mod">
          <ac:chgData name="Aniket Chhabra" userId="598e0514-bef3-4e71-b6aa-f2edd6441cff" providerId="ADAL" clId="{A7CBF834-8346-4C1E-9628-5C7A1CBD8A83}" dt="2021-10-02T03:58:19.141" v="3365"/>
          <ac:picMkLst>
            <pc:docMk/>
            <pc:sldMk cId="2663015752" sldId="307"/>
            <ac:picMk id="7" creationId="{4A667819-5028-445C-A38B-7407F6EE72D9}"/>
          </ac:picMkLst>
        </pc:picChg>
        <pc:picChg chg="add del">
          <ac:chgData name="Aniket Chhabra" userId="598e0514-bef3-4e71-b6aa-f2edd6441cff" providerId="ADAL" clId="{A7CBF834-8346-4C1E-9628-5C7A1CBD8A83}" dt="2021-10-02T04:07:45.335" v="3369" actId="478"/>
          <ac:picMkLst>
            <pc:docMk/>
            <pc:sldMk cId="2663015752" sldId="307"/>
            <ac:picMk id="10" creationId="{0232B428-6668-468E-AD4A-DEC42708E51C}"/>
          </ac:picMkLst>
        </pc:picChg>
        <pc:picChg chg="add mod">
          <ac:chgData name="Aniket Chhabra" userId="598e0514-bef3-4e71-b6aa-f2edd6441cff" providerId="ADAL" clId="{A7CBF834-8346-4C1E-9628-5C7A1CBD8A83}" dt="2021-10-02T04:07:55.362" v="3377" actId="14100"/>
          <ac:picMkLst>
            <pc:docMk/>
            <pc:sldMk cId="2663015752" sldId="307"/>
            <ac:picMk id="12" creationId="{F963778D-6A90-45E6-A02B-B1D6BAD238A6}"/>
          </ac:picMkLst>
        </pc:picChg>
      </pc:sldChg>
      <pc:sldChg chg="addSp delSp modSp new add mod">
        <pc:chgData name="Aniket Chhabra" userId="598e0514-bef3-4e71-b6aa-f2edd6441cff" providerId="ADAL" clId="{A7CBF834-8346-4C1E-9628-5C7A1CBD8A83}" dt="2021-10-02T04:13:54.006" v="3481" actId="164"/>
        <pc:sldMkLst>
          <pc:docMk/>
          <pc:sldMk cId="1567074216" sldId="308"/>
        </pc:sldMkLst>
        <pc:spChg chg="del">
          <ac:chgData name="Aniket Chhabra" userId="598e0514-bef3-4e71-b6aa-f2edd6441cff" providerId="ADAL" clId="{A7CBF834-8346-4C1E-9628-5C7A1CBD8A83}" dt="2021-10-02T04:13:00.750" v="3380" actId="478"/>
          <ac:spMkLst>
            <pc:docMk/>
            <pc:sldMk cId="1567074216" sldId="308"/>
            <ac:spMk id="2" creationId="{1D796DB0-98B1-4277-B6D7-4B86C9B17F67}"/>
          </ac:spMkLst>
        </pc:spChg>
        <pc:spChg chg="del">
          <ac:chgData name="Aniket Chhabra" userId="598e0514-bef3-4e71-b6aa-f2edd6441cff" providerId="ADAL" clId="{A7CBF834-8346-4C1E-9628-5C7A1CBD8A83}" dt="2021-10-02T04:13:00.750" v="3380" actId="478"/>
          <ac:spMkLst>
            <pc:docMk/>
            <pc:sldMk cId="1567074216" sldId="308"/>
            <ac:spMk id="3" creationId="{84A15ECD-1F2C-46A6-A772-3CC35A2D0CFF}"/>
          </ac:spMkLst>
        </pc:spChg>
        <pc:spChg chg="add mod">
          <ac:chgData name="Aniket Chhabra" userId="598e0514-bef3-4e71-b6aa-f2edd6441cff" providerId="ADAL" clId="{A7CBF834-8346-4C1E-9628-5C7A1CBD8A83}" dt="2021-10-02T04:13:32.732" v="3416" actId="948"/>
          <ac:spMkLst>
            <pc:docMk/>
            <pc:sldMk cId="1567074216" sldId="308"/>
            <ac:spMk id="9" creationId="{66ADE1A1-52EF-4570-8520-096CC07D0B49}"/>
          </ac:spMkLst>
        </pc:spChg>
        <pc:spChg chg="add del mod modVis">
          <ac:chgData name="Aniket Chhabra" userId="598e0514-bef3-4e71-b6aa-f2edd6441cff" providerId="ADAL" clId="{A7CBF834-8346-4C1E-9628-5C7A1CBD8A83}" dt="2021-10-02T04:13:32.815" v="3470"/>
          <ac:spMkLst>
            <pc:docMk/>
            <pc:sldMk cId="1567074216" sldId="308"/>
            <ac:spMk id="10" creationId="{44DA10B2-6CF3-478B-8A2C-C4F78EB55A95}"/>
          </ac:spMkLst>
        </pc:spChg>
        <pc:spChg chg="add mod">
          <ac:chgData name="Aniket Chhabra" userId="598e0514-bef3-4e71-b6aa-f2edd6441cff" providerId="ADAL" clId="{A7CBF834-8346-4C1E-9628-5C7A1CBD8A83}" dt="2021-10-02T04:13:54.006" v="3481" actId="164"/>
          <ac:spMkLst>
            <pc:docMk/>
            <pc:sldMk cId="1567074216" sldId="308"/>
            <ac:spMk id="11" creationId="{EDE2CF65-C9F2-471F-B5C3-3E4EFA529AA4}"/>
          </ac:spMkLst>
        </pc:spChg>
        <pc:grpChg chg="add mod">
          <ac:chgData name="Aniket Chhabra" userId="598e0514-bef3-4e71-b6aa-f2edd6441cff" providerId="ADAL" clId="{A7CBF834-8346-4C1E-9628-5C7A1CBD8A83}" dt="2021-10-02T04:13:54.006" v="3481" actId="164"/>
          <ac:grpSpMkLst>
            <pc:docMk/>
            <pc:sldMk cId="1567074216" sldId="308"/>
            <ac:grpSpMk id="12" creationId="{6D8EBD5F-74F0-4ACB-B262-09479676BADF}"/>
          </ac:grpSpMkLst>
        </pc:grpChg>
        <pc:graphicFrameChg chg="add mod ord modVis">
          <ac:chgData name="Aniket Chhabra" userId="598e0514-bef3-4e71-b6aa-f2edd6441cff" providerId="ADAL" clId="{A7CBF834-8346-4C1E-9628-5C7A1CBD8A83}" dt="2021-10-02T04:13:32.818" v="3472"/>
          <ac:graphicFrameMkLst>
            <pc:docMk/>
            <pc:sldMk cId="1567074216" sldId="308"/>
            <ac:graphicFrameMk id="6" creationId="{00164811-2196-4BCF-9C02-93890D66D2AE}"/>
          </ac:graphicFrameMkLst>
        </pc:graphicFrameChg>
        <pc:picChg chg="add del">
          <ac:chgData name="Aniket Chhabra" userId="598e0514-bef3-4e71-b6aa-f2edd6441cff" providerId="ADAL" clId="{A7CBF834-8346-4C1E-9628-5C7A1CBD8A83}" dt="2021-10-02T04:13:16.373" v="3398" actId="478"/>
          <ac:picMkLst>
            <pc:docMk/>
            <pc:sldMk cId="1567074216" sldId="308"/>
            <ac:picMk id="5" creationId="{6ED75D7A-73C9-4FF5-99F1-213BAF100643}"/>
          </ac:picMkLst>
        </pc:picChg>
        <pc:picChg chg="add mod">
          <ac:chgData name="Aniket Chhabra" userId="598e0514-bef3-4e71-b6aa-f2edd6441cff" providerId="ADAL" clId="{A7CBF834-8346-4C1E-9628-5C7A1CBD8A83}" dt="2021-10-02T04:13:54.006" v="3481" actId="164"/>
          <ac:picMkLst>
            <pc:docMk/>
            <pc:sldMk cId="1567074216" sldId="308"/>
            <ac:picMk id="8" creationId="{6F6F375C-DC1D-4D4F-8DB2-6EC15C9EF983}"/>
          </ac:picMkLst>
        </pc:picChg>
      </pc:sldChg>
      <pc:sldChg chg="addSp delSp modSp new add mod">
        <pc:chgData name="Aniket Chhabra" userId="598e0514-bef3-4e71-b6aa-f2edd6441cff" providerId="ADAL" clId="{A7CBF834-8346-4C1E-9628-5C7A1CBD8A83}" dt="2021-10-02T04:15:55.047" v="3510" actId="164"/>
        <pc:sldMkLst>
          <pc:docMk/>
          <pc:sldMk cId="3711463564" sldId="309"/>
        </pc:sldMkLst>
        <pc:spChg chg="del">
          <ac:chgData name="Aniket Chhabra" userId="598e0514-bef3-4e71-b6aa-f2edd6441cff" providerId="ADAL" clId="{A7CBF834-8346-4C1E-9628-5C7A1CBD8A83}" dt="2021-10-02T04:15:06.183" v="3484" actId="478"/>
          <ac:spMkLst>
            <pc:docMk/>
            <pc:sldMk cId="3711463564" sldId="309"/>
            <ac:spMk id="2" creationId="{8694CC2C-2DD7-4E97-A5CB-7760BCE4D920}"/>
          </ac:spMkLst>
        </pc:spChg>
        <pc:spChg chg="del">
          <ac:chgData name="Aniket Chhabra" userId="598e0514-bef3-4e71-b6aa-f2edd6441cff" providerId="ADAL" clId="{A7CBF834-8346-4C1E-9628-5C7A1CBD8A83}" dt="2021-10-02T04:15:06.183" v="3484" actId="478"/>
          <ac:spMkLst>
            <pc:docMk/>
            <pc:sldMk cId="3711463564" sldId="309"/>
            <ac:spMk id="3" creationId="{028DC8DA-A86E-4918-881A-744BBBE62220}"/>
          </ac:spMkLst>
        </pc:spChg>
        <pc:spChg chg="add mod">
          <ac:chgData name="Aniket Chhabra" userId="598e0514-bef3-4e71-b6aa-f2edd6441cff" providerId="ADAL" clId="{A7CBF834-8346-4C1E-9628-5C7A1CBD8A83}" dt="2021-10-02T04:15:36.885" v="3507"/>
          <ac:spMkLst>
            <pc:docMk/>
            <pc:sldMk cId="3711463564" sldId="309"/>
            <ac:spMk id="9" creationId="{4BFDAFAC-8FB3-41BF-BB5E-543143EE088B}"/>
          </ac:spMkLst>
        </pc:spChg>
        <pc:spChg chg="add mod">
          <ac:chgData name="Aniket Chhabra" userId="598e0514-bef3-4e71-b6aa-f2edd6441cff" providerId="ADAL" clId="{A7CBF834-8346-4C1E-9628-5C7A1CBD8A83}" dt="2021-10-02T04:15:55.047" v="3510" actId="164"/>
          <ac:spMkLst>
            <pc:docMk/>
            <pc:sldMk cId="3711463564" sldId="309"/>
            <ac:spMk id="10" creationId="{C9C71BE1-C7BB-4A9A-822D-FD60534B6F53}"/>
          </ac:spMkLst>
        </pc:spChg>
        <pc:grpChg chg="add mod">
          <ac:chgData name="Aniket Chhabra" userId="598e0514-bef3-4e71-b6aa-f2edd6441cff" providerId="ADAL" clId="{A7CBF834-8346-4C1E-9628-5C7A1CBD8A83}" dt="2021-10-02T04:15:55.047" v="3510" actId="164"/>
          <ac:grpSpMkLst>
            <pc:docMk/>
            <pc:sldMk cId="3711463564" sldId="309"/>
            <ac:grpSpMk id="11" creationId="{843E2F6E-6850-49E0-A1F5-061EFCE3C8BA}"/>
          </ac:grpSpMkLst>
        </pc:grpChg>
        <pc:graphicFrameChg chg="add mod modVis">
          <ac:chgData name="Aniket Chhabra" userId="598e0514-bef3-4e71-b6aa-f2edd6441cff" providerId="ADAL" clId="{A7CBF834-8346-4C1E-9628-5C7A1CBD8A83}" dt="2021-10-02T04:15:06.722" v="3497"/>
          <ac:graphicFrameMkLst>
            <pc:docMk/>
            <pc:sldMk cId="3711463564" sldId="309"/>
            <ac:graphicFrameMk id="4" creationId="{8FA61480-B387-42CE-99A6-D2320B7E49F9}"/>
          </ac:graphicFrameMkLst>
        </pc:graphicFrameChg>
        <pc:picChg chg="add del">
          <ac:chgData name="Aniket Chhabra" userId="598e0514-bef3-4e71-b6aa-f2edd6441cff" providerId="ADAL" clId="{A7CBF834-8346-4C1E-9628-5C7A1CBD8A83}" dt="2021-10-02T04:15:22.920" v="3500" actId="478"/>
          <ac:picMkLst>
            <pc:docMk/>
            <pc:sldMk cId="3711463564" sldId="309"/>
            <ac:picMk id="6" creationId="{D8DE11D5-1AE6-4CD9-BEDF-9CD35518F024}"/>
          </ac:picMkLst>
        </pc:picChg>
        <pc:picChg chg="add mod">
          <ac:chgData name="Aniket Chhabra" userId="598e0514-bef3-4e71-b6aa-f2edd6441cff" providerId="ADAL" clId="{A7CBF834-8346-4C1E-9628-5C7A1CBD8A83}" dt="2021-10-02T04:15:55.047" v="3510" actId="164"/>
          <ac:picMkLst>
            <pc:docMk/>
            <pc:sldMk cId="3711463564" sldId="309"/>
            <ac:picMk id="8" creationId="{7879A7C6-92B2-4E67-B46B-D5D09203E8AD}"/>
          </ac:picMkLst>
        </pc:picChg>
      </pc:sldChg>
      <pc:sldChg chg="addSp delSp modSp new add mod">
        <pc:chgData name="Aniket Chhabra" userId="598e0514-bef3-4e71-b6aa-f2edd6441cff" providerId="ADAL" clId="{A7CBF834-8346-4C1E-9628-5C7A1CBD8A83}" dt="2021-10-02T04:18:24.958" v="3537" actId="164"/>
        <pc:sldMkLst>
          <pc:docMk/>
          <pc:sldMk cId="631277948" sldId="310"/>
        </pc:sldMkLst>
        <pc:spChg chg="del">
          <ac:chgData name="Aniket Chhabra" userId="598e0514-bef3-4e71-b6aa-f2edd6441cff" providerId="ADAL" clId="{A7CBF834-8346-4C1E-9628-5C7A1CBD8A83}" dt="2021-10-02T04:18:05.414" v="3513" actId="478"/>
          <ac:spMkLst>
            <pc:docMk/>
            <pc:sldMk cId="631277948" sldId="310"/>
            <ac:spMk id="2" creationId="{2675716B-DAAB-4E87-B72F-CB0F139CC51E}"/>
          </ac:spMkLst>
        </pc:spChg>
        <pc:spChg chg="del">
          <ac:chgData name="Aniket Chhabra" userId="598e0514-bef3-4e71-b6aa-f2edd6441cff" providerId="ADAL" clId="{A7CBF834-8346-4C1E-9628-5C7A1CBD8A83}" dt="2021-10-02T04:18:05.414" v="3513" actId="478"/>
          <ac:spMkLst>
            <pc:docMk/>
            <pc:sldMk cId="631277948" sldId="310"/>
            <ac:spMk id="3" creationId="{217E4030-5A2D-48ED-82FE-CE6CD848C76F}"/>
          </ac:spMkLst>
        </pc:spChg>
        <pc:spChg chg="add mod">
          <ac:chgData name="Aniket Chhabra" userId="598e0514-bef3-4e71-b6aa-f2edd6441cff" providerId="ADAL" clId="{A7CBF834-8346-4C1E-9628-5C7A1CBD8A83}" dt="2021-10-02T04:18:24.958" v="3537" actId="164"/>
          <ac:spMkLst>
            <pc:docMk/>
            <pc:sldMk cId="631277948" sldId="310"/>
            <ac:spMk id="7" creationId="{4DD5C3DD-C5E0-4EAA-8C67-C7A2E7D10896}"/>
          </ac:spMkLst>
        </pc:spChg>
        <pc:grpChg chg="add mod">
          <ac:chgData name="Aniket Chhabra" userId="598e0514-bef3-4e71-b6aa-f2edd6441cff" providerId="ADAL" clId="{A7CBF834-8346-4C1E-9628-5C7A1CBD8A83}" dt="2021-10-02T04:18:24.958" v="3537" actId="164"/>
          <ac:grpSpMkLst>
            <pc:docMk/>
            <pc:sldMk cId="631277948" sldId="310"/>
            <ac:grpSpMk id="8" creationId="{6CB6EFF1-42A9-4009-9B71-85BAFC87E65A}"/>
          </ac:grpSpMkLst>
        </pc:grpChg>
        <pc:graphicFrameChg chg="add mod ord modVis">
          <ac:chgData name="Aniket Chhabra" userId="598e0514-bef3-4e71-b6aa-f2edd6441cff" providerId="ADAL" clId="{A7CBF834-8346-4C1E-9628-5C7A1CBD8A83}" dt="2021-10-02T04:18:06.008" v="3530"/>
          <ac:graphicFrameMkLst>
            <pc:docMk/>
            <pc:sldMk cId="631277948" sldId="310"/>
            <ac:graphicFrameMk id="6" creationId="{78EB0FB4-E515-4F8E-999C-39AA25A3675F}"/>
          </ac:graphicFrameMkLst>
        </pc:graphicFrameChg>
        <pc:picChg chg="add mod">
          <ac:chgData name="Aniket Chhabra" userId="598e0514-bef3-4e71-b6aa-f2edd6441cff" providerId="ADAL" clId="{A7CBF834-8346-4C1E-9628-5C7A1CBD8A83}" dt="2021-10-02T04:18:24.958" v="3537" actId="164"/>
          <ac:picMkLst>
            <pc:docMk/>
            <pc:sldMk cId="631277948" sldId="310"/>
            <ac:picMk id="5" creationId="{57F2A394-0FDA-4663-9ACA-1A152E0EF7F8}"/>
          </ac:picMkLst>
        </pc:picChg>
      </pc:sldChg>
      <pc:sldChg chg="addSp delSp modSp new add mod ord">
        <pc:chgData name="Aniket Chhabra" userId="598e0514-bef3-4e71-b6aa-f2edd6441cff" providerId="ADAL" clId="{A7CBF834-8346-4C1E-9628-5C7A1CBD8A83}" dt="2021-12-19T02:15:08.387" v="3581" actId="1076"/>
        <pc:sldMkLst>
          <pc:docMk/>
          <pc:sldMk cId="2897796289" sldId="311"/>
        </pc:sldMkLst>
        <pc:spChg chg="del">
          <ac:chgData name="Aniket Chhabra" userId="598e0514-bef3-4e71-b6aa-f2edd6441cff" providerId="ADAL" clId="{A7CBF834-8346-4C1E-9628-5C7A1CBD8A83}" dt="2021-12-19T02:15:05.488" v="3565" actId="478"/>
          <ac:spMkLst>
            <pc:docMk/>
            <pc:sldMk cId="2897796289" sldId="311"/>
            <ac:spMk id="2" creationId="{B99708E4-64E4-43C1-AC8E-04FB6D3CA8A3}"/>
          </ac:spMkLst>
        </pc:spChg>
        <pc:spChg chg="mod">
          <ac:chgData name="Aniket Chhabra" userId="598e0514-bef3-4e71-b6aa-f2edd6441cff" providerId="ADAL" clId="{A7CBF834-8346-4C1E-9628-5C7A1CBD8A83}" dt="2021-12-19T02:15:08.387" v="3581" actId="1076"/>
          <ac:spMkLst>
            <pc:docMk/>
            <pc:sldMk cId="2897796289" sldId="311"/>
            <ac:spMk id="3" creationId="{6B8166F4-60DF-4C18-992B-22E35D1B52C5}"/>
          </ac:spMkLst>
        </pc:spChg>
        <pc:graphicFrameChg chg="add mod ord modVis">
          <ac:chgData name="Aniket Chhabra" userId="598e0514-bef3-4e71-b6aa-f2edd6441cff" providerId="ADAL" clId="{A7CBF834-8346-4C1E-9628-5C7A1CBD8A83}" dt="2021-12-19T02:15:06.036" v="3580"/>
          <ac:graphicFrameMkLst>
            <pc:docMk/>
            <pc:sldMk cId="2897796289" sldId="311"/>
            <ac:graphicFrameMk id="4" creationId="{30160FAE-98C4-4E41-A4D2-9ED6F06CD4BB}"/>
          </ac:graphicFrameMkLst>
        </pc:graphicFrameChg>
      </pc:sldChg>
      <pc:sldChg chg="new add del">
        <pc:chgData name="Aniket Chhabra" userId="598e0514-bef3-4e71-b6aa-f2edd6441cff" providerId="ADAL" clId="{A7CBF834-8346-4C1E-9628-5C7A1CBD8A83}" dt="2022-04-09T02:51:28.571" v="3612" actId="47"/>
        <pc:sldMkLst>
          <pc:docMk/>
          <pc:sldMk cId="499658214" sldId="312"/>
        </pc:sldMkLst>
      </pc:sldChg>
    </pc:docChg>
  </pc:docChgLst>
  <pc:docChgLst>
    <pc:chgData name="Aniket Chhabra" userId="598e0514-bef3-4e71-b6aa-f2edd6441cff" providerId="ADAL" clId="{BEA2F687-CD5D-42D8-AE89-CEDDE2665B30}"/>
    <pc:docChg chg="undo custSel addSld delSld modSld sldOrd modSection">
      <pc:chgData name="Aniket Chhabra" userId="598e0514-bef3-4e71-b6aa-f2edd6441cff" providerId="ADAL" clId="{BEA2F687-CD5D-42D8-AE89-CEDDE2665B30}" dt="2021-05-15T08:52:03.539" v="11713" actId="20577"/>
      <pc:docMkLst>
        <pc:docMk/>
      </pc:docMkLst>
      <pc:sldChg chg="addSp delSp modSp mod">
        <pc:chgData name="Aniket Chhabra" userId="598e0514-bef3-4e71-b6aa-f2edd6441cff" providerId="ADAL" clId="{BEA2F687-CD5D-42D8-AE89-CEDDE2665B30}" dt="2021-05-15T00:52:29.096" v="304"/>
        <pc:sldMkLst>
          <pc:docMk/>
          <pc:sldMk cId="748387421" sldId="256"/>
        </pc:sldMkLst>
        <pc:spChg chg="mod">
          <ac:chgData name="Aniket Chhabra" userId="598e0514-bef3-4e71-b6aa-f2edd6441cff" providerId="ADAL" clId="{BEA2F687-CD5D-42D8-AE89-CEDDE2665B30}" dt="2021-05-15T00:52:29.045" v="263" actId="948"/>
          <ac:spMkLst>
            <pc:docMk/>
            <pc:sldMk cId="748387421" sldId="256"/>
            <ac:spMk id="2" creationId="{8D06459B-BCBD-4585-9A52-58E1D4BA8255}"/>
          </ac:spMkLst>
        </pc:spChg>
        <pc:spChg chg="add del mod modVis">
          <ac:chgData name="Aniket Chhabra" userId="598e0514-bef3-4e71-b6aa-f2edd6441cff" providerId="ADAL" clId="{BEA2F687-CD5D-42D8-AE89-CEDDE2665B30}" dt="2021-05-15T00:52:22.886" v="70"/>
          <ac:spMkLst>
            <pc:docMk/>
            <pc:sldMk cId="748387421" sldId="256"/>
            <ac:spMk id="4" creationId="{317AE66F-3EFF-45A9-91D9-03903E29A9DA}"/>
          </ac:spMkLst>
        </pc:spChg>
        <pc:spChg chg="add del mod modVis">
          <ac:chgData name="Aniket Chhabra" userId="598e0514-bef3-4e71-b6aa-f2edd6441cff" providerId="ADAL" clId="{BEA2F687-CD5D-42D8-AE89-CEDDE2665B30}" dt="2021-05-15T00:52:23.788" v="113"/>
          <ac:spMkLst>
            <pc:docMk/>
            <pc:sldMk cId="748387421" sldId="256"/>
            <ac:spMk id="6" creationId="{2F9B1B40-ED60-43E9-A4DB-4D34684445EA}"/>
          </ac:spMkLst>
        </pc:spChg>
        <pc:spChg chg="add del mod modVis">
          <ac:chgData name="Aniket Chhabra" userId="598e0514-bef3-4e71-b6aa-f2edd6441cff" providerId="ADAL" clId="{BEA2F687-CD5D-42D8-AE89-CEDDE2665B30}" dt="2021-05-15T00:52:24.995" v="157"/>
          <ac:spMkLst>
            <pc:docMk/>
            <pc:sldMk cId="748387421" sldId="256"/>
            <ac:spMk id="7" creationId="{85552276-9BF7-4820-B4C2-9AE5910119B2}"/>
          </ac:spMkLst>
        </pc:spChg>
        <pc:spChg chg="add del mod modVis">
          <ac:chgData name="Aniket Chhabra" userId="598e0514-bef3-4e71-b6aa-f2edd6441cff" providerId="ADAL" clId="{BEA2F687-CD5D-42D8-AE89-CEDDE2665B30}" dt="2021-05-15T00:52:25.642" v="203"/>
          <ac:spMkLst>
            <pc:docMk/>
            <pc:sldMk cId="748387421" sldId="256"/>
            <ac:spMk id="8" creationId="{72A5190B-82F0-4643-8E90-87E62E3BF400}"/>
          </ac:spMkLst>
        </pc:spChg>
        <pc:spChg chg="add del mod modVis">
          <ac:chgData name="Aniket Chhabra" userId="598e0514-bef3-4e71-b6aa-f2edd6441cff" providerId="ADAL" clId="{BEA2F687-CD5D-42D8-AE89-CEDDE2665B30}" dt="2021-05-15T00:52:27.646" v="255"/>
          <ac:spMkLst>
            <pc:docMk/>
            <pc:sldMk cId="748387421" sldId="256"/>
            <ac:spMk id="9" creationId="{FD521CEB-BDD0-4308-8B5C-E5918844F7B4}"/>
          </ac:spMkLst>
        </pc:spChg>
        <pc:spChg chg="add del mod modVis">
          <ac:chgData name="Aniket Chhabra" userId="598e0514-bef3-4e71-b6aa-f2edd6441cff" providerId="ADAL" clId="{BEA2F687-CD5D-42D8-AE89-CEDDE2665B30}" dt="2021-05-15T00:52:29.096" v="302"/>
          <ac:spMkLst>
            <pc:docMk/>
            <pc:sldMk cId="748387421" sldId="256"/>
            <ac:spMk id="10" creationId="{CAD54E71-698F-4D6A-9789-76B1180BB1B9}"/>
          </ac:spMkLst>
        </pc:spChg>
        <pc:graphicFrameChg chg="mod">
          <ac:chgData name="Aniket Chhabra" userId="598e0514-bef3-4e71-b6aa-f2edd6441cff" providerId="ADAL" clId="{BEA2F687-CD5D-42D8-AE89-CEDDE2665B30}" dt="2021-05-15T00:52:29.096" v="304"/>
          <ac:graphicFrameMkLst>
            <pc:docMk/>
            <pc:sldMk cId="748387421" sldId="256"/>
            <ac:graphicFrameMk id="5" creationId="{78479633-7C2A-4CC3-ACF3-6285A0A3AE7B}"/>
          </ac:graphicFrameMkLst>
        </pc:graphicFrameChg>
      </pc:sldChg>
      <pc:sldChg chg="addSp delSp modSp del mod">
        <pc:chgData name="Aniket Chhabra" userId="598e0514-bef3-4e71-b6aa-f2edd6441cff" providerId="ADAL" clId="{BEA2F687-CD5D-42D8-AE89-CEDDE2665B30}" dt="2021-05-15T07:24:09.785" v="10982" actId="47"/>
        <pc:sldMkLst>
          <pc:docMk/>
          <pc:sldMk cId="3488577701" sldId="257"/>
        </pc:sldMkLst>
        <pc:spChg chg="mod">
          <ac:chgData name="Aniket Chhabra" userId="598e0514-bef3-4e71-b6aa-f2edd6441cff" providerId="ADAL" clId="{BEA2F687-CD5D-42D8-AE89-CEDDE2665B30}" dt="2021-05-15T01:02:48.921" v="805" actId="948"/>
          <ac:spMkLst>
            <pc:docMk/>
            <pc:sldMk cId="3488577701" sldId="257"/>
            <ac:spMk id="2" creationId="{7183013F-CCFC-4588-B693-22F514492FED}"/>
          </ac:spMkLst>
        </pc:spChg>
        <pc:spChg chg="add del mod modVis">
          <ac:chgData name="Aniket Chhabra" userId="598e0514-bef3-4e71-b6aa-f2edd6441cff" providerId="ADAL" clId="{BEA2F687-CD5D-42D8-AE89-CEDDE2665B30}" dt="2021-05-15T00:52:35" v="349"/>
          <ac:spMkLst>
            <pc:docMk/>
            <pc:sldMk cId="3488577701" sldId="257"/>
            <ac:spMk id="3" creationId="{72EA24C2-F9F5-4294-A6DF-642979F6B4AF}"/>
          </ac:spMkLst>
        </pc:spChg>
        <pc:spChg chg="del">
          <ac:chgData name="Aniket Chhabra" userId="598e0514-bef3-4e71-b6aa-f2edd6441cff" providerId="ADAL" clId="{BEA2F687-CD5D-42D8-AE89-CEDDE2665B30}" dt="2021-05-15T07:19:32.522" v="10981" actId="478"/>
          <ac:spMkLst>
            <pc:docMk/>
            <pc:sldMk cId="3488577701" sldId="257"/>
            <ac:spMk id="4" creationId="{F3807A01-B17C-42BF-AA7E-CF5C43C3B75F}"/>
          </ac:spMkLst>
        </pc:spChg>
        <pc:spChg chg="del">
          <ac:chgData name="Aniket Chhabra" userId="598e0514-bef3-4e71-b6aa-f2edd6441cff" providerId="ADAL" clId="{BEA2F687-CD5D-42D8-AE89-CEDDE2665B30}" dt="2021-05-15T07:19:32.522" v="10981" actId="478"/>
          <ac:spMkLst>
            <pc:docMk/>
            <pc:sldMk cId="3488577701" sldId="257"/>
            <ac:spMk id="5" creationId="{E414F076-81AF-4B04-A4B4-CD61BD34F93D}"/>
          </ac:spMkLst>
        </pc:spChg>
        <pc:spChg chg="del">
          <ac:chgData name="Aniket Chhabra" userId="598e0514-bef3-4e71-b6aa-f2edd6441cff" providerId="ADAL" clId="{BEA2F687-CD5D-42D8-AE89-CEDDE2665B30}" dt="2021-05-15T07:19:32.522" v="10981" actId="478"/>
          <ac:spMkLst>
            <pc:docMk/>
            <pc:sldMk cId="3488577701" sldId="257"/>
            <ac:spMk id="7" creationId="{146CE9CF-C344-42AA-93B1-EEA38DE31CA2}"/>
          </ac:spMkLst>
        </pc:spChg>
        <pc:spChg chg="del">
          <ac:chgData name="Aniket Chhabra" userId="598e0514-bef3-4e71-b6aa-f2edd6441cff" providerId="ADAL" clId="{BEA2F687-CD5D-42D8-AE89-CEDDE2665B30}" dt="2021-05-15T07:19:32.522" v="10981" actId="478"/>
          <ac:spMkLst>
            <pc:docMk/>
            <pc:sldMk cId="3488577701" sldId="257"/>
            <ac:spMk id="8" creationId="{681EB6FC-C508-4391-B5BD-CD2EF97DBC4D}"/>
          </ac:spMkLst>
        </pc:spChg>
        <pc:spChg chg="del">
          <ac:chgData name="Aniket Chhabra" userId="598e0514-bef3-4e71-b6aa-f2edd6441cff" providerId="ADAL" clId="{BEA2F687-CD5D-42D8-AE89-CEDDE2665B30}" dt="2021-05-15T07:19:32.522" v="10981" actId="478"/>
          <ac:spMkLst>
            <pc:docMk/>
            <pc:sldMk cId="3488577701" sldId="257"/>
            <ac:spMk id="9" creationId="{9F944C8C-941B-4D9A-8A8E-104458ED8E9C}"/>
          </ac:spMkLst>
        </pc:spChg>
        <pc:spChg chg="del">
          <ac:chgData name="Aniket Chhabra" userId="598e0514-bef3-4e71-b6aa-f2edd6441cff" providerId="ADAL" clId="{BEA2F687-CD5D-42D8-AE89-CEDDE2665B30}" dt="2021-05-15T07:19:32.522" v="10981" actId="478"/>
          <ac:spMkLst>
            <pc:docMk/>
            <pc:sldMk cId="3488577701" sldId="257"/>
            <ac:spMk id="10" creationId="{4A6DF01E-B6F8-462D-836A-F72BEBEAA248}"/>
          </ac:spMkLst>
        </pc:spChg>
        <pc:spChg chg="del">
          <ac:chgData name="Aniket Chhabra" userId="598e0514-bef3-4e71-b6aa-f2edd6441cff" providerId="ADAL" clId="{BEA2F687-CD5D-42D8-AE89-CEDDE2665B30}" dt="2021-05-15T07:19:32.522" v="10981" actId="478"/>
          <ac:spMkLst>
            <pc:docMk/>
            <pc:sldMk cId="3488577701" sldId="257"/>
            <ac:spMk id="11" creationId="{134AF28D-413E-411D-9AC4-202C96B56681}"/>
          </ac:spMkLst>
        </pc:spChg>
        <pc:spChg chg="add del mod modVis">
          <ac:chgData name="Aniket Chhabra" userId="598e0514-bef3-4e71-b6aa-f2edd6441cff" providerId="ADAL" clId="{BEA2F687-CD5D-42D8-AE89-CEDDE2665B30}" dt="2021-05-15T00:52:35.839" v="406"/>
          <ac:spMkLst>
            <pc:docMk/>
            <pc:sldMk cId="3488577701" sldId="257"/>
            <ac:spMk id="12" creationId="{CBB08EE7-F8BB-44FE-9CA3-08A39E6E7DDD}"/>
          </ac:spMkLst>
        </pc:spChg>
        <pc:spChg chg="add del mod modVis">
          <ac:chgData name="Aniket Chhabra" userId="598e0514-bef3-4e71-b6aa-f2edd6441cff" providerId="ADAL" clId="{BEA2F687-CD5D-42D8-AE89-CEDDE2665B30}" dt="2021-05-15T00:52:37.288" v="452"/>
          <ac:spMkLst>
            <pc:docMk/>
            <pc:sldMk cId="3488577701" sldId="257"/>
            <ac:spMk id="13" creationId="{7821F0BD-7D90-4D61-991C-72DBB49E468A}"/>
          </ac:spMkLst>
        </pc:spChg>
        <pc:spChg chg="add del mod modVis">
          <ac:chgData name="Aniket Chhabra" userId="598e0514-bef3-4e71-b6aa-f2edd6441cff" providerId="ADAL" clId="{BEA2F687-CD5D-42D8-AE89-CEDDE2665B30}" dt="2021-05-15T00:52:38.231" v="497"/>
          <ac:spMkLst>
            <pc:docMk/>
            <pc:sldMk cId="3488577701" sldId="257"/>
            <ac:spMk id="14" creationId="{2C20C3EF-3170-4E0E-985B-290188678641}"/>
          </ac:spMkLst>
        </pc:spChg>
        <pc:spChg chg="add del mod modVis">
          <ac:chgData name="Aniket Chhabra" userId="598e0514-bef3-4e71-b6aa-f2edd6441cff" providerId="ADAL" clId="{BEA2F687-CD5D-42D8-AE89-CEDDE2665B30}" dt="2021-05-15T00:52:39.559" v="545"/>
          <ac:spMkLst>
            <pc:docMk/>
            <pc:sldMk cId="3488577701" sldId="257"/>
            <ac:spMk id="15" creationId="{998E7B73-869C-4CDA-B2AF-5D5FE07AD778}"/>
          </ac:spMkLst>
        </pc:spChg>
        <pc:spChg chg="add del mod modVis">
          <ac:chgData name="Aniket Chhabra" userId="598e0514-bef3-4e71-b6aa-f2edd6441cff" providerId="ADAL" clId="{BEA2F687-CD5D-42D8-AE89-CEDDE2665B30}" dt="2021-05-15T01:02:48.989" v="844"/>
          <ac:spMkLst>
            <pc:docMk/>
            <pc:sldMk cId="3488577701" sldId="257"/>
            <ac:spMk id="16" creationId="{E48AB28E-46DB-462B-BCA9-2D7552E4A784}"/>
          </ac:spMkLst>
        </pc:spChg>
        <pc:graphicFrameChg chg="add mod ord modVis">
          <ac:chgData name="Aniket Chhabra" userId="598e0514-bef3-4e71-b6aa-f2edd6441cff" providerId="ADAL" clId="{BEA2F687-CD5D-42D8-AE89-CEDDE2665B30}" dt="2021-05-15T01:02:48.992" v="846"/>
          <ac:graphicFrameMkLst>
            <pc:docMk/>
            <pc:sldMk cId="3488577701" sldId="257"/>
            <ac:graphicFrameMk id="6" creationId="{D9F5E603-548B-4576-BBB6-A50532C3D243}"/>
          </ac:graphicFrameMkLst>
        </pc:graphicFrameChg>
      </pc:sldChg>
      <pc:sldChg chg="addSp del mod">
        <pc:chgData name="Aniket Chhabra" userId="598e0514-bef3-4e71-b6aa-f2edd6441cff" providerId="ADAL" clId="{BEA2F687-CD5D-42D8-AE89-CEDDE2665B30}" dt="2021-05-15T03:27:29.351" v="5974" actId="47"/>
        <pc:sldMkLst>
          <pc:docMk/>
          <pc:sldMk cId="883722326" sldId="258"/>
        </pc:sldMkLst>
        <pc:picChg chg="add">
          <ac:chgData name="Aniket Chhabra" userId="598e0514-bef3-4e71-b6aa-f2edd6441cff" providerId="ADAL" clId="{BEA2F687-CD5D-42D8-AE89-CEDDE2665B30}" dt="2021-05-15T03:24:41.410" v="5558"/>
          <ac:picMkLst>
            <pc:docMk/>
            <pc:sldMk cId="883722326" sldId="258"/>
            <ac:picMk id="4" creationId="{98D6F4AB-3C4B-46AF-9387-32C180A0D46F}"/>
          </ac:picMkLst>
        </pc:picChg>
      </pc:sldChg>
      <pc:sldChg chg="del">
        <pc:chgData name="Aniket Chhabra" userId="598e0514-bef3-4e71-b6aa-f2edd6441cff" providerId="ADAL" clId="{BEA2F687-CD5D-42D8-AE89-CEDDE2665B30}" dt="2021-05-15T03:27:20.710" v="5973" actId="47"/>
        <pc:sldMkLst>
          <pc:docMk/>
          <pc:sldMk cId="2455168547" sldId="260"/>
        </pc:sldMkLst>
      </pc:sldChg>
      <pc:sldChg chg="del">
        <pc:chgData name="Aniket Chhabra" userId="598e0514-bef3-4e71-b6aa-f2edd6441cff" providerId="ADAL" clId="{BEA2F687-CD5D-42D8-AE89-CEDDE2665B30}" dt="2021-05-15T03:27:20.710" v="5973" actId="47"/>
        <pc:sldMkLst>
          <pc:docMk/>
          <pc:sldMk cId="2330712525" sldId="261"/>
        </pc:sldMkLst>
      </pc:sldChg>
      <pc:sldChg chg="del">
        <pc:chgData name="Aniket Chhabra" userId="598e0514-bef3-4e71-b6aa-f2edd6441cff" providerId="ADAL" clId="{BEA2F687-CD5D-42D8-AE89-CEDDE2665B30}" dt="2021-05-15T03:27:20.710" v="5973" actId="47"/>
        <pc:sldMkLst>
          <pc:docMk/>
          <pc:sldMk cId="983064528" sldId="262"/>
        </pc:sldMkLst>
      </pc:sldChg>
      <pc:sldChg chg="del">
        <pc:chgData name="Aniket Chhabra" userId="598e0514-bef3-4e71-b6aa-f2edd6441cff" providerId="ADAL" clId="{BEA2F687-CD5D-42D8-AE89-CEDDE2665B30}" dt="2021-05-15T03:27:20.710" v="5973" actId="47"/>
        <pc:sldMkLst>
          <pc:docMk/>
          <pc:sldMk cId="3191205605" sldId="263"/>
        </pc:sldMkLst>
      </pc:sldChg>
      <pc:sldChg chg="del">
        <pc:chgData name="Aniket Chhabra" userId="598e0514-bef3-4e71-b6aa-f2edd6441cff" providerId="ADAL" clId="{BEA2F687-CD5D-42D8-AE89-CEDDE2665B30}" dt="2021-05-15T03:27:20.710" v="5973" actId="47"/>
        <pc:sldMkLst>
          <pc:docMk/>
          <pc:sldMk cId="1623957952" sldId="264"/>
        </pc:sldMkLst>
      </pc:sldChg>
      <pc:sldChg chg="del">
        <pc:chgData name="Aniket Chhabra" userId="598e0514-bef3-4e71-b6aa-f2edd6441cff" providerId="ADAL" clId="{BEA2F687-CD5D-42D8-AE89-CEDDE2665B30}" dt="2021-05-15T03:27:20.710" v="5973" actId="47"/>
        <pc:sldMkLst>
          <pc:docMk/>
          <pc:sldMk cId="3984249581" sldId="265"/>
        </pc:sldMkLst>
      </pc:sldChg>
      <pc:sldChg chg="del">
        <pc:chgData name="Aniket Chhabra" userId="598e0514-bef3-4e71-b6aa-f2edd6441cff" providerId="ADAL" clId="{BEA2F687-CD5D-42D8-AE89-CEDDE2665B30}" dt="2021-05-15T03:27:20.710" v="5973" actId="47"/>
        <pc:sldMkLst>
          <pc:docMk/>
          <pc:sldMk cId="371788107" sldId="266"/>
        </pc:sldMkLst>
      </pc:sldChg>
      <pc:sldChg chg="del">
        <pc:chgData name="Aniket Chhabra" userId="598e0514-bef3-4e71-b6aa-f2edd6441cff" providerId="ADAL" clId="{BEA2F687-CD5D-42D8-AE89-CEDDE2665B30}" dt="2021-05-15T03:27:20.710" v="5973" actId="47"/>
        <pc:sldMkLst>
          <pc:docMk/>
          <pc:sldMk cId="3787768608" sldId="267"/>
        </pc:sldMkLst>
      </pc:sldChg>
      <pc:sldChg chg="del">
        <pc:chgData name="Aniket Chhabra" userId="598e0514-bef3-4e71-b6aa-f2edd6441cff" providerId="ADAL" clId="{BEA2F687-CD5D-42D8-AE89-CEDDE2665B30}" dt="2021-05-15T03:27:20.710" v="5973" actId="47"/>
        <pc:sldMkLst>
          <pc:docMk/>
          <pc:sldMk cId="2367509862" sldId="270"/>
        </pc:sldMkLst>
      </pc:sldChg>
      <pc:sldChg chg="del">
        <pc:chgData name="Aniket Chhabra" userId="598e0514-bef3-4e71-b6aa-f2edd6441cff" providerId="ADAL" clId="{BEA2F687-CD5D-42D8-AE89-CEDDE2665B30}" dt="2021-05-15T03:27:20.710" v="5973" actId="47"/>
        <pc:sldMkLst>
          <pc:docMk/>
          <pc:sldMk cId="441586831" sldId="271"/>
        </pc:sldMkLst>
      </pc:sldChg>
      <pc:sldChg chg="del">
        <pc:chgData name="Aniket Chhabra" userId="598e0514-bef3-4e71-b6aa-f2edd6441cff" providerId="ADAL" clId="{BEA2F687-CD5D-42D8-AE89-CEDDE2665B30}" dt="2021-05-15T03:27:20.710" v="5973" actId="47"/>
        <pc:sldMkLst>
          <pc:docMk/>
          <pc:sldMk cId="3946291041" sldId="272"/>
        </pc:sldMkLst>
      </pc:sldChg>
      <pc:sldChg chg="del">
        <pc:chgData name="Aniket Chhabra" userId="598e0514-bef3-4e71-b6aa-f2edd6441cff" providerId="ADAL" clId="{BEA2F687-CD5D-42D8-AE89-CEDDE2665B30}" dt="2021-05-15T03:27:20.710" v="5973" actId="47"/>
        <pc:sldMkLst>
          <pc:docMk/>
          <pc:sldMk cId="2721962650" sldId="273"/>
        </pc:sldMkLst>
      </pc:sldChg>
      <pc:sldChg chg="del">
        <pc:chgData name="Aniket Chhabra" userId="598e0514-bef3-4e71-b6aa-f2edd6441cff" providerId="ADAL" clId="{BEA2F687-CD5D-42D8-AE89-CEDDE2665B30}" dt="2021-05-15T03:27:20.710" v="5973" actId="47"/>
        <pc:sldMkLst>
          <pc:docMk/>
          <pc:sldMk cId="500321756" sldId="274"/>
        </pc:sldMkLst>
      </pc:sldChg>
      <pc:sldChg chg="del">
        <pc:chgData name="Aniket Chhabra" userId="598e0514-bef3-4e71-b6aa-f2edd6441cff" providerId="ADAL" clId="{BEA2F687-CD5D-42D8-AE89-CEDDE2665B30}" dt="2021-05-15T03:27:20.710" v="5973" actId="47"/>
        <pc:sldMkLst>
          <pc:docMk/>
          <pc:sldMk cId="4003175818" sldId="275"/>
        </pc:sldMkLst>
      </pc:sldChg>
      <pc:sldChg chg="del">
        <pc:chgData name="Aniket Chhabra" userId="598e0514-bef3-4e71-b6aa-f2edd6441cff" providerId="ADAL" clId="{BEA2F687-CD5D-42D8-AE89-CEDDE2665B30}" dt="2021-05-15T03:27:20.710" v="5973" actId="47"/>
        <pc:sldMkLst>
          <pc:docMk/>
          <pc:sldMk cId="4289157764" sldId="276"/>
        </pc:sldMkLst>
      </pc:sldChg>
      <pc:sldChg chg="del">
        <pc:chgData name="Aniket Chhabra" userId="598e0514-bef3-4e71-b6aa-f2edd6441cff" providerId="ADAL" clId="{BEA2F687-CD5D-42D8-AE89-CEDDE2665B30}" dt="2021-05-15T03:27:20.710" v="5973" actId="47"/>
        <pc:sldMkLst>
          <pc:docMk/>
          <pc:sldMk cId="727025018" sldId="277"/>
        </pc:sldMkLst>
      </pc:sldChg>
      <pc:sldChg chg="del">
        <pc:chgData name="Aniket Chhabra" userId="598e0514-bef3-4e71-b6aa-f2edd6441cff" providerId="ADAL" clId="{BEA2F687-CD5D-42D8-AE89-CEDDE2665B30}" dt="2021-05-15T03:27:20.710" v="5973" actId="47"/>
        <pc:sldMkLst>
          <pc:docMk/>
          <pc:sldMk cId="3761000135" sldId="278"/>
        </pc:sldMkLst>
      </pc:sldChg>
      <pc:sldChg chg="del">
        <pc:chgData name="Aniket Chhabra" userId="598e0514-bef3-4e71-b6aa-f2edd6441cff" providerId="ADAL" clId="{BEA2F687-CD5D-42D8-AE89-CEDDE2665B30}" dt="2021-05-15T03:27:20.710" v="5973" actId="47"/>
        <pc:sldMkLst>
          <pc:docMk/>
          <pc:sldMk cId="3891235838" sldId="279"/>
        </pc:sldMkLst>
      </pc:sldChg>
      <pc:sldChg chg="addSp delSp modSp new add del mod">
        <pc:chgData name="Aniket Chhabra" userId="598e0514-bef3-4e71-b6aa-f2edd6441cff" providerId="ADAL" clId="{BEA2F687-CD5D-42D8-AE89-CEDDE2665B30}" dt="2021-05-15T00:55:18.060" v="655" actId="47"/>
        <pc:sldMkLst>
          <pc:docMk/>
          <pc:sldMk cId="1730758312" sldId="280"/>
        </pc:sldMkLst>
        <pc:spChg chg="mod">
          <ac:chgData name="Aniket Chhabra" userId="598e0514-bef3-4e71-b6aa-f2edd6441cff" providerId="ADAL" clId="{BEA2F687-CD5D-42D8-AE89-CEDDE2665B30}" dt="2021-05-15T00:55:16.060" v="654" actId="20577"/>
          <ac:spMkLst>
            <pc:docMk/>
            <pc:sldMk cId="1730758312" sldId="280"/>
            <ac:spMk id="2" creationId="{32387E3D-CEEB-4A56-9C02-22B7A2A88701}"/>
          </ac:spMkLst>
        </pc:spChg>
        <pc:spChg chg="add del mod modVis">
          <ac:chgData name="Aniket Chhabra" userId="598e0514-bef3-4e71-b6aa-f2edd6441cff" providerId="ADAL" clId="{BEA2F687-CD5D-42D8-AE89-CEDDE2665B30}" dt="2021-05-15T00:55:16.058" v="652" actId="962"/>
          <ac:spMkLst>
            <pc:docMk/>
            <pc:sldMk cId="1730758312" sldId="280"/>
            <ac:spMk id="4" creationId="{E2E1FBD0-8D74-4087-9257-31553F9D3793}"/>
          </ac:spMkLst>
        </pc:spChg>
        <pc:graphicFrameChg chg="add mod ord modVis">
          <ac:chgData name="Aniket Chhabra" userId="598e0514-bef3-4e71-b6aa-f2edd6441cff" providerId="ADAL" clId="{BEA2F687-CD5D-42D8-AE89-CEDDE2665B30}" dt="2021-05-15T00:55:16.041" v="616" actId="14100"/>
          <ac:graphicFrameMkLst>
            <pc:docMk/>
            <pc:sldMk cId="1730758312" sldId="280"/>
            <ac:graphicFrameMk id="5" creationId="{1AF5E36D-BF58-4FDD-A389-80958D94F299}"/>
          </ac:graphicFrameMkLst>
        </pc:graphicFrameChg>
      </pc:sldChg>
      <pc:sldChg chg="addSp delSp modSp add del mod modNotesTx">
        <pc:chgData name="Aniket Chhabra" userId="598e0514-bef3-4e71-b6aa-f2edd6441cff" providerId="ADAL" clId="{BEA2F687-CD5D-42D8-AE89-CEDDE2665B30}" dt="2021-05-15T07:46:40.075" v="11679" actId="20577"/>
        <pc:sldMkLst>
          <pc:docMk/>
          <pc:sldMk cId="3497284152" sldId="280"/>
        </pc:sldMkLst>
        <pc:spChg chg="mod">
          <ac:chgData name="Aniket Chhabra" userId="598e0514-bef3-4e71-b6aa-f2edd6441cff" providerId="ADAL" clId="{BEA2F687-CD5D-42D8-AE89-CEDDE2665B30}" dt="2021-05-15T01:58:46.059" v="2074" actId="948"/>
          <ac:spMkLst>
            <pc:docMk/>
            <pc:sldMk cId="3497284152" sldId="280"/>
            <ac:spMk id="2" creationId="{7183013F-CCFC-4588-B693-22F514492FED}"/>
          </ac:spMkLst>
        </pc:spChg>
        <pc:spChg chg="add del mod modVis">
          <ac:chgData name="Aniket Chhabra" userId="598e0514-bef3-4e71-b6aa-f2edd6441cff" providerId="ADAL" clId="{BEA2F687-CD5D-42D8-AE89-CEDDE2665B30}" dt="2021-05-15T00:55:26.671" v="711"/>
          <ac:spMkLst>
            <pc:docMk/>
            <pc:sldMk cId="3497284152" sldId="280"/>
            <ac:spMk id="3" creationId="{2C0BEEBC-7FB5-4DF7-9148-13B25DE8A919}"/>
          </ac:spMkLst>
        </pc:spChg>
        <pc:spChg chg="del">
          <ac:chgData name="Aniket Chhabra" userId="598e0514-bef3-4e71-b6aa-f2edd6441cff" providerId="ADAL" clId="{BEA2F687-CD5D-42D8-AE89-CEDDE2665B30}" dt="2021-05-15T01:02:41.667" v="760" actId="478"/>
          <ac:spMkLst>
            <pc:docMk/>
            <pc:sldMk cId="3497284152" sldId="280"/>
            <ac:spMk id="4" creationId="{F3807A01-B17C-42BF-AA7E-CF5C43C3B75F}"/>
          </ac:spMkLst>
        </pc:spChg>
        <pc:spChg chg="del">
          <ac:chgData name="Aniket Chhabra" userId="598e0514-bef3-4e71-b6aa-f2edd6441cff" providerId="ADAL" clId="{BEA2F687-CD5D-42D8-AE89-CEDDE2665B30}" dt="2021-05-15T01:02:41.667" v="760" actId="478"/>
          <ac:spMkLst>
            <pc:docMk/>
            <pc:sldMk cId="3497284152" sldId="280"/>
            <ac:spMk id="5" creationId="{E414F076-81AF-4B04-A4B4-CD61BD34F93D}"/>
          </ac:spMkLst>
        </pc:spChg>
        <pc:spChg chg="del mod">
          <ac:chgData name="Aniket Chhabra" userId="598e0514-bef3-4e71-b6aa-f2edd6441cff" providerId="ADAL" clId="{BEA2F687-CD5D-42D8-AE89-CEDDE2665B30}" dt="2021-05-15T01:02:38.713" v="759" actId="478"/>
          <ac:spMkLst>
            <pc:docMk/>
            <pc:sldMk cId="3497284152" sldId="280"/>
            <ac:spMk id="7" creationId="{146CE9CF-C344-42AA-93B1-EEA38DE31CA2}"/>
          </ac:spMkLst>
        </pc:spChg>
        <pc:spChg chg="del">
          <ac:chgData name="Aniket Chhabra" userId="598e0514-bef3-4e71-b6aa-f2edd6441cff" providerId="ADAL" clId="{BEA2F687-CD5D-42D8-AE89-CEDDE2665B30}" dt="2021-05-15T01:02:41.667" v="760" actId="478"/>
          <ac:spMkLst>
            <pc:docMk/>
            <pc:sldMk cId="3497284152" sldId="280"/>
            <ac:spMk id="8" creationId="{681EB6FC-C508-4391-B5BD-CD2EF97DBC4D}"/>
          </ac:spMkLst>
        </pc:spChg>
        <pc:spChg chg="del">
          <ac:chgData name="Aniket Chhabra" userId="598e0514-bef3-4e71-b6aa-f2edd6441cff" providerId="ADAL" clId="{BEA2F687-CD5D-42D8-AE89-CEDDE2665B30}" dt="2021-05-15T01:02:41.667" v="760" actId="478"/>
          <ac:spMkLst>
            <pc:docMk/>
            <pc:sldMk cId="3497284152" sldId="280"/>
            <ac:spMk id="9" creationId="{9F944C8C-941B-4D9A-8A8E-104458ED8E9C}"/>
          </ac:spMkLst>
        </pc:spChg>
        <pc:spChg chg="del">
          <ac:chgData name="Aniket Chhabra" userId="598e0514-bef3-4e71-b6aa-f2edd6441cff" providerId="ADAL" clId="{BEA2F687-CD5D-42D8-AE89-CEDDE2665B30}" dt="2021-05-15T01:02:41.667" v="760" actId="478"/>
          <ac:spMkLst>
            <pc:docMk/>
            <pc:sldMk cId="3497284152" sldId="280"/>
            <ac:spMk id="10" creationId="{4A6DF01E-B6F8-462D-836A-F72BEBEAA248}"/>
          </ac:spMkLst>
        </pc:spChg>
        <pc:spChg chg="del">
          <ac:chgData name="Aniket Chhabra" userId="598e0514-bef3-4e71-b6aa-f2edd6441cff" providerId="ADAL" clId="{BEA2F687-CD5D-42D8-AE89-CEDDE2665B30}" dt="2021-05-15T01:02:41.667" v="760" actId="478"/>
          <ac:spMkLst>
            <pc:docMk/>
            <pc:sldMk cId="3497284152" sldId="280"/>
            <ac:spMk id="11" creationId="{134AF28D-413E-411D-9AC4-202C96B56681}"/>
          </ac:spMkLst>
        </pc:spChg>
        <pc:spChg chg="add del mod modVis">
          <ac:chgData name="Aniket Chhabra" userId="598e0514-bef3-4e71-b6aa-f2edd6441cff" providerId="ADAL" clId="{BEA2F687-CD5D-42D8-AE89-CEDDE2665B30}" dt="2021-05-15T01:02:35.018" v="755"/>
          <ac:spMkLst>
            <pc:docMk/>
            <pc:sldMk cId="3497284152" sldId="280"/>
            <ac:spMk id="12" creationId="{33694290-7007-49FE-A9C2-F838395C0766}"/>
          </ac:spMkLst>
        </pc:spChg>
        <pc:spChg chg="add del mod modVis">
          <ac:chgData name="Aniket Chhabra" userId="598e0514-bef3-4e71-b6aa-f2edd6441cff" providerId="ADAL" clId="{BEA2F687-CD5D-42D8-AE89-CEDDE2665B30}" dt="2021-05-15T01:02:45.420" v="801"/>
          <ac:spMkLst>
            <pc:docMk/>
            <pc:sldMk cId="3497284152" sldId="280"/>
            <ac:spMk id="13" creationId="{4808C9BF-F708-4597-BD7F-90BA60B35965}"/>
          </ac:spMkLst>
        </pc:spChg>
        <pc:spChg chg="add mod">
          <ac:chgData name="Aniket Chhabra" userId="598e0514-bef3-4e71-b6aa-f2edd6441cff" providerId="ADAL" clId="{BEA2F687-CD5D-42D8-AE89-CEDDE2665B30}" dt="2021-05-15T01:58:20.097" v="1873" actId="12"/>
          <ac:spMkLst>
            <pc:docMk/>
            <pc:sldMk cId="3497284152" sldId="280"/>
            <ac:spMk id="18" creationId="{4425FF8B-756D-49D7-87E3-5408603CACE1}"/>
          </ac:spMkLst>
        </pc:spChg>
        <pc:spChg chg="add del mod modVis">
          <ac:chgData name="Aniket Chhabra" userId="598e0514-bef3-4e71-b6aa-f2edd6441cff" providerId="ADAL" clId="{BEA2F687-CD5D-42D8-AE89-CEDDE2665B30}" dt="2021-05-15T01:56:10.989" v="1200"/>
          <ac:spMkLst>
            <pc:docMk/>
            <pc:sldMk cId="3497284152" sldId="280"/>
            <ac:spMk id="19" creationId="{8F74A115-AECF-4E10-BB18-361A3AE5A864}"/>
          </ac:spMkLst>
        </pc:spChg>
        <pc:spChg chg="add del mod modVis">
          <ac:chgData name="Aniket Chhabra" userId="598e0514-bef3-4e71-b6aa-f2edd6441cff" providerId="ADAL" clId="{BEA2F687-CD5D-42D8-AE89-CEDDE2665B30}" dt="2021-05-15T01:56:11.582" v="1244"/>
          <ac:spMkLst>
            <pc:docMk/>
            <pc:sldMk cId="3497284152" sldId="280"/>
            <ac:spMk id="20" creationId="{E4B7F8F6-0FB8-432D-AE98-4DBB415DD4F4}"/>
          </ac:spMkLst>
        </pc:spChg>
        <pc:spChg chg="add del mod modVis">
          <ac:chgData name="Aniket Chhabra" userId="598e0514-bef3-4e71-b6aa-f2edd6441cff" providerId="ADAL" clId="{BEA2F687-CD5D-42D8-AE89-CEDDE2665B30}" dt="2021-05-15T01:56:15.135" v="1298"/>
          <ac:spMkLst>
            <pc:docMk/>
            <pc:sldMk cId="3497284152" sldId="280"/>
            <ac:spMk id="21" creationId="{AE253E35-AA56-42C2-8D3A-5CA20889543F}"/>
          </ac:spMkLst>
        </pc:spChg>
        <pc:spChg chg="add del mod modVis">
          <ac:chgData name="Aniket Chhabra" userId="598e0514-bef3-4e71-b6aa-f2edd6441cff" providerId="ADAL" clId="{BEA2F687-CD5D-42D8-AE89-CEDDE2665B30}" dt="2021-05-15T01:56:16.581" v="1342"/>
          <ac:spMkLst>
            <pc:docMk/>
            <pc:sldMk cId="3497284152" sldId="280"/>
            <ac:spMk id="22" creationId="{4EA614F5-92E8-4E4C-9298-C9A1ECB35ABE}"/>
          </ac:spMkLst>
        </pc:spChg>
        <pc:spChg chg="add del mod modVis">
          <ac:chgData name="Aniket Chhabra" userId="598e0514-bef3-4e71-b6aa-f2edd6441cff" providerId="ADAL" clId="{BEA2F687-CD5D-42D8-AE89-CEDDE2665B30}" dt="2021-05-15T01:56:17.146" v="1385"/>
          <ac:spMkLst>
            <pc:docMk/>
            <pc:sldMk cId="3497284152" sldId="280"/>
            <ac:spMk id="23" creationId="{0BF13D93-5320-4FF6-817A-B39F1A8E9157}"/>
          </ac:spMkLst>
        </pc:spChg>
        <pc:spChg chg="add del mod modVis">
          <ac:chgData name="Aniket Chhabra" userId="598e0514-bef3-4e71-b6aa-f2edd6441cff" providerId="ADAL" clId="{BEA2F687-CD5D-42D8-AE89-CEDDE2665B30}" dt="2021-05-15T01:56:18.940" v="1433"/>
          <ac:spMkLst>
            <pc:docMk/>
            <pc:sldMk cId="3497284152" sldId="280"/>
            <ac:spMk id="24" creationId="{2D2B088B-9261-44E8-AB65-A8396AD975FC}"/>
          </ac:spMkLst>
        </pc:spChg>
        <pc:spChg chg="add del mod modVis">
          <ac:chgData name="Aniket Chhabra" userId="598e0514-bef3-4e71-b6aa-f2edd6441cff" providerId="ADAL" clId="{BEA2F687-CD5D-42D8-AE89-CEDDE2665B30}" dt="2021-05-15T01:56:20.499" v="1491"/>
          <ac:spMkLst>
            <pc:docMk/>
            <pc:sldMk cId="3497284152" sldId="280"/>
            <ac:spMk id="25" creationId="{4A3F7E87-3C00-445A-986A-79033341BE4C}"/>
          </ac:spMkLst>
        </pc:spChg>
        <pc:spChg chg="add del mod modVis">
          <ac:chgData name="Aniket Chhabra" userId="598e0514-bef3-4e71-b6aa-f2edd6441cff" providerId="ADAL" clId="{BEA2F687-CD5D-42D8-AE89-CEDDE2665B30}" dt="2021-05-15T01:56:24.938" v="1559"/>
          <ac:spMkLst>
            <pc:docMk/>
            <pc:sldMk cId="3497284152" sldId="280"/>
            <ac:spMk id="26" creationId="{EEC3864E-4C4E-44CF-B68B-67AFC8631F47}"/>
          </ac:spMkLst>
        </pc:spChg>
        <pc:spChg chg="add del mod modVis">
          <ac:chgData name="Aniket Chhabra" userId="598e0514-bef3-4e71-b6aa-f2edd6441cff" providerId="ADAL" clId="{BEA2F687-CD5D-42D8-AE89-CEDDE2665B30}" dt="2021-05-15T01:57:27.483" v="1683" actId="962"/>
          <ac:spMkLst>
            <pc:docMk/>
            <pc:sldMk cId="3497284152" sldId="280"/>
            <ac:spMk id="27" creationId="{C17D4E67-2980-444A-80F4-3CB816AAF902}"/>
          </ac:spMkLst>
        </pc:spChg>
        <pc:spChg chg="add del mod modVis">
          <ac:chgData name="Aniket Chhabra" userId="598e0514-bef3-4e71-b6aa-f2edd6441cff" providerId="ADAL" clId="{BEA2F687-CD5D-42D8-AE89-CEDDE2665B30}" dt="2021-05-15T01:57:30.391" v="1797" actId="962"/>
          <ac:spMkLst>
            <pc:docMk/>
            <pc:sldMk cId="3497284152" sldId="280"/>
            <ac:spMk id="28" creationId="{D3CC51D8-6A1E-4AEC-B5B8-2CDEAF3190CC}"/>
          </ac:spMkLst>
        </pc:spChg>
        <pc:spChg chg="add del mod modVis">
          <ac:chgData name="Aniket Chhabra" userId="598e0514-bef3-4e71-b6aa-f2edd6441cff" providerId="ADAL" clId="{BEA2F687-CD5D-42D8-AE89-CEDDE2665B30}" dt="2021-05-15T01:57:34.764" v="1857"/>
          <ac:spMkLst>
            <pc:docMk/>
            <pc:sldMk cId="3497284152" sldId="280"/>
            <ac:spMk id="29" creationId="{71593B82-F29D-4C57-A00E-2AC30CA843F5}"/>
          </ac:spMkLst>
        </pc:spChg>
        <pc:spChg chg="add del mod">
          <ac:chgData name="Aniket Chhabra" userId="598e0514-bef3-4e71-b6aa-f2edd6441cff" providerId="ADAL" clId="{BEA2F687-CD5D-42D8-AE89-CEDDE2665B30}" dt="2021-05-15T02:05:46.791" v="2142" actId="478"/>
          <ac:spMkLst>
            <pc:docMk/>
            <pc:sldMk cId="3497284152" sldId="280"/>
            <ac:spMk id="30" creationId="{29D77AFD-54DA-4C7A-B52A-64AAAA07C9CB}"/>
          </ac:spMkLst>
        </pc:spChg>
        <pc:spChg chg="add del mod modVis">
          <ac:chgData name="Aniket Chhabra" userId="598e0514-bef3-4e71-b6aa-f2edd6441cff" providerId="ADAL" clId="{BEA2F687-CD5D-42D8-AE89-CEDDE2665B30}" dt="2021-05-15T01:58:40.077" v="1948"/>
          <ac:spMkLst>
            <pc:docMk/>
            <pc:sldMk cId="3497284152" sldId="280"/>
            <ac:spMk id="31" creationId="{AF015759-4DE5-46F3-91E1-B2AD4B801EEB}"/>
          </ac:spMkLst>
        </pc:spChg>
        <pc:spChg chg="add del mod modVis">
          <ac:chgData name="Aniket Chhabra" userId="598e0514-bef3-4e71-b6aa-f2edd6441cff" providerId="ADAL" clId="{BEA2F687-CD5D-42D8-AE89-CEDDE2665B30}" dt="2021-05-15T01:58:43.870" v="2006"/>
          <ac:spMkLst>
            <pc:docMk/>
            <pc:sldMk cId="3497284152" sldId="280"/>
            <ac:spMk id="32" creationId="{2D1BD0E7-3CC3-4111-911A-FC93C70316C5}"/>
          </ac:spMkLst>
        </pc:spChg>
        <pc:spChg chg="add del mod modVis">
          <ac:chgData name="Aniket Chhabra" userId="598e0514-bef3-4e71-b6aa-f2edd6441cff" providerId="ADAL" clId="{BEA2F687-CD5D-42D8-AE89-CEDDE2665B30}" dt="2021-05-15T01:58:44.534" v="2065"/>
          <ac:spMkLst>
            <pc:docMk/>
            <pc:sldMk cId="3497284152" sldId="280"/>
            <ac:spMk id="33" creationId="{780F397D-3D90-47A7-8E56-4CDAA0F4B1EE}"/>
          </ac:spMkLst>
        </pc:spChg>
        <pc:spChg chg="add del mod modVis">
          <ac:chgData name="Aniket Chhabra" userId="598e0514-bef3-4e71-b6aa-f2edd6441cff" providerId="ADAL" clId="{BEA2F687-CD5D-42D8-AE89-CEDDE2665B30}" dt="2021-05-15T01:58:46.119" v="2128"/>
          <ac:spMkLst>
            <pc:docMk/>
            <pc:sldMk cId="3497284152" sldId="280"/>
            <ac:spMk id="34" creationId="{C85EA57E-D6E6-416B-BA4D-103C339A14A3}"/>
          </ac:spMkLst>
        </pc:spChg>
        <pc:graphicFrameChg chg="mod">
          <ac:chgData name="Aniket Chhabra" userId="598e0514-bef3-4e71-b6aa-f2edd6441cff" providerId="ADAL" clId="{BEA2F687-CD5D-42D8-AE89-CEDDE2665B30}" dt="2021-05-15T07:24:11.145" v="10986"/>
          <ac:graphicFrameMkLst>
            <pc:docMk/>
            <pc:sldMk cId="3497284152" sldId="280"/>
            <ac:graphicFrameMk id="6" creationId="{D9F5E603-548B-4576-BBB6-A50532C3D243}"/>
          </ac:graphicFrameMkLst>
        </pc:graphicFrameChg>
        <pc:picChg chg="add del">
          <ac:chgData name="Aniket Chhabra" userId="598e0514-bef3-4e71-b6aa-f2edd6441cff" providerId="ADAL" clId="{BEA2F687-CD5D-42D8-AE89-CEDDE2665B30}" dt="2021-05-15T01:05:27.254" v="849" actId="478"/>
          <ac:picMkLst>
            <pc:docMk/>
            <pc:sldMk cId="3497284152" sldId="280"/>
            <ac:picMk id="15" creationId="{C2DEFA09-474D-4453-8D67-FBB65860A543}"/>
          </ac:picMkLst>
        </pc:picChg>
        <pc:picChg chg="add mod">
          <ac:chgData name="Aniket Chhabra" userId="598e0514-bef3-4e71-b6aa-f2edd6441cff" providerId="ADAL" clId="{BEA2F687-CD5D-42D8-AE89-CEDDE2665B30}" dt="2021-05-15T02:15:13.556" v="2702" actId="1076"/>
          <ac:picMkLst>
            <pc:docMk/>
            <pc:sldMk cId="3497284152" sldId="280"/>
            <ac:picMk id="17" creationId="{35FCABD3-2B0F-4627-A7DE-900F6EBBD725}"/>
          </ac:picMkLst>
        </pc:picChg>
      </pc:sldChg>
      <pc:sldChg chg="addSp delSp modSp add mod">
        <pc:chgData name="Aniket Chhabra" userId="598e0514-bef3-4e71-b6aa-f2edd6441cff" providerId="ADAL" clId="{BEA2F687-CD5D-42D8-AE89-CEDDE2665B30}" dt="2021-05-15T02:15:19.020" v="2703" actId="1076"/>
        <pc:sldMkLst>
          <pc:docMk/>
          <pc:sldMk cId="302558819" sldId="281"/>
        </pc:sldMkLst>
        <pc:spChg chg="mod">
          <ac:chgData name="Aniket Chhabra" userId="598e0514-bef3-4e71-b6aa-f2edd6441cff" providerId="ADAL" clId="{BEA2F687-CD5D-42D8-AE89-CEDDE2665B30}" dt="2021-05-15T02:07:31.418" v="2218" actId="948"/>
          <ac:spMkLst>
            <pc:docMk/>
            <pc:sldMk cId="302558819" sldId="281"/>
            <ac:spMk id="2" creationId="{7183013F-CCFC-4588-B693-22F514492FED}"/>
          </ac:spMkLst>
        </pc:spChg>
        <pc:spChg chg="add del mod modVis">
          <ac:chgData name="Aniket Chhabra" userId="598e0514-bef3-4e71-b6aa-f2edd6441cff" providerId="ADAL" clId="{BEA2F687-CD5D-42D8-AE89-CEDDE2665B30}" dt="2021-05-15T02:07:30.907" v="2214"/>
          <ac:spMkLst>
            <pc:docMk/>
            <pc:sldMk cId="302558819" sldId="281"/>
            <ac:spMk id="8" creationId="{66CC033B-4483-42ED-B117-C9201F1F99B8}"/>
          </ac:spMkLst>
        </pc:spChg>
        <pc:spChg chg="add del mod modVis">
          <ac:chgData name="Aniket Chhabra" userId="598e0514-bef3-4e71-b6aa-f2edd6441cff" providerId="ADAL" clId="{BEA2F687-CD5D-42D8-AE89-CEDDE2665B30}" dt="2021-05-15T02:07:31.484" v="2272"/>
          <ac:spMkLst>
            <pc:docMk/>
            <pc:sldMk cId="302558819" sldId="281"/>
            <ac:spMk id="9" creationId="{D2844D1B-BEC4-48BB-B997-057D3FB7F01F}"/>
          </ac:spMkLst>
        </pc:spChg>
        <pc:spChg chg="mod">
          <ac:chgData name="Aniket Chhabra" userId="598e0514-bef3-4e71-b6aa-f2edd6441cff" providerId="ADAL" clId="{BEA2F687-CD5D-42D8-AE89-CEDDE2665B30}" dt="2021-05-15T02:11:57.107" v="2685" actId="20577"/>
          <ac:spMkLst>
            <pc:docMk/>
            <pc:sldMk cId="302558819" sldId="281"/>
            <ac:spMk id="18" creationId="{4425FF8B-756D-49D7-87E3-5408603CACE1}"/>
          </ac:spMkLst>
        </pc:spChg>
        <pc:spChg chg="add del">
          <ac:chgData name="Aniket Chhabra" userId="598e0514-bef3-4e71-b6aa-f2edd6441cff" providerId="ADAL" clId="{BEA2F687-CD5D-42D8-AE89-CEDDE2665B30}" dt="2021-05-15T02:12:03.811" v="2688" actId="22"/>
          <ac:spMkLst>
            <pc:docMk/>
            <pc:sldMk cId="302558819" sldId="281"/>
            <ac:spMk id="19" creationId="{AA639429-32FC-4AE6-9CD0-AD14C46DE44C}"/>
          </ac:spMkLst>
        </pc:spChg>
        <pc:spChg chg="del">
          <ac:chgData name="Aniket Chhabra" userId="598e0514-bef3-4e71-b6aa-f2edd6441cff" providerId="ADAL" clId="{BEA2F687-CD5D-42D8-AE89-CEDDE2665B30}" dt="2021-05-15T02:07:01.956" v="2143" actId="478"/>
          <ac:spMkLst>
            <pc:docMk/>
            <pc:sldMk cId="302558819" sldId="281"/>
            <ac:spMk id="30" creationId="{29D77AFD-54DA-4C7A-B52A-64AAAA07C9CB}"/>
          </ac:spMkLst>
        </pc:spChg>
        <pc:graphicFrameChg chg="mod">
          <ac:chgData name="Aniket Chhabra" userId="598e0514-bef3-4e71-b6aa-f2edd6441cff" providerId="ADAL" clId="{BEA2F687-CD5D-42D8-AE89-CEDDE2665B30}" dt="2021-05-15T02:07:31.487" v="2274"/>
          <ac:graphicFrameMkLst>
            <pc:docMk/>
            <pc:sldMk cId="302558819" sldId="281"/>
            <ac:graphicFrameMk id="6" creationId="{D9F5E603-548B-4576-BBB6-A50532C3D243}"/>
          </ac:graphicFrameMkLst>
        </pc:graphicFrameChg>
        <pc:picChg chg="add del">
          <ac:chgData name="Aniket Chhabra" userId="598e0514-bef3-4e71-b6aa-f2edd6441cff" providerId="ADAL" clId="{BEA2F687-CD5D-42D8-AE89-CEDDE2665B30}" dt="2021-05-15T02:07:15.013" v="2146" actId="478"/>
          <ac:picMkLst>
            <pc:docMk/>
            <pc:sldMk cId="302558819" sldId="281"/>
            <ac:picMk id="4" creationId="{2D5265BA-9562-4962-9839-CAF2A6CD0070}"/>
          </ac:picMkLst>
        </pc:picChg>
        <pc:picChg chg="add del mod">
          <ac:chgData name="Aniket Chhabra" userId="598e0514-bef3-4e71-b6aa-f2edd6441cff" providerId="ADAL" clId="{BEA2F687-CD5D-42D8-AE89-CEDDE2665B30}" dt="2021-05-15T02:09:08.262" v="2340" actId="478"/>
          <ac:picMkLst>
            <pc:docMk/>
            <pc:sldMk cId="302558819" sldId="281"/>
            <ac:picMk id="7" creationId="{75BA877E-CAA1-4F69-ABA4-FF49854AE825}"/>
          </ac:picMkLst>
        </pc:picChg>
        <pc:picChg chg="add del">
          <ac:chgData name="Aniket Chhabra" userId="598e0514-bef3-4e71-b6aa-f2edd6441cff" providerId="ADAL" clId="{BEA2F687-CD5D-42D8-AE89-CEDDE2665B30}" dt="2021-05-15T02:09:22.448" v="2343" actId="478"/>
          <ac:picMkLst>
            <pc:docMk/>
            <pc:sldMk cId="302558819" sldId="281"/>
            <ac:picMk id="11" creationId="{C0F7CAAD-F92D-4968-92B8-6EF9411A87B2}"/>
          </ac:picMkLst>
        </pc:picChg>
        <pc:picChg chg="add mod">
          <ac:chgData name="Aniket Chhabra" userId="598e0514-bef3-4e71-b6aa-f2edd6441cff" providerId="ADAL" clId="{BEA2F687-CD5D-42D8-AE89-CEDDE2665B30}" dt="2021-05-15T02:15:19.020" v="2703" actId="1076"/>
          <ac:picMkLst>
            <pc:docMk/>
            <pc:sldMk cId="302558819" sldId="281"/>
            <ac:picMk id="13" creationId="{06DE953C-A3BC-4BEA-94CA-51F55236EC13}"/>
          </ac:picMkLst>
        </pc:picChg>
        <pc:picChg chg="del">
          <ac:chgData name="Aniket Chhabra" userId="598e0514-bef3-4e71-b6aa-f2edd6441cff" providerId="ADAL" clId="{BEA2F687-CD5D-42D8-AE89-CEDDE2665B30}" dt="2021-05-15T02:05:38.513" v="2135" actId="478"/>
          <ac:picMkLst>
            <pc:docMk/>
            <pc:sldMk cId="302558819" sldId="281"/>
            <ac:picMk id="17" creationId="{35FCABD3-2B0F-4627-A7DE-900F6EBBD725}"/>
          </ac:picMkLst>
        </pc:picChg>
      </pc:sldChg>
      <pc:sldChg chg="new add del">
        <pc:chgData name="Aniket Chhabra" userId="598e0514-bef3-4e71-b6aa-f2edd6441cff" providerId="ADAL" clId="{BEA2F687-CD5D-42D8-AE89-CEDDE2665B30}" dt="2021-05-15T01:58:54.815" v="2133" actId="680"/>
        <pc:sldMkLst>
          <pc:docMk/>
          <pc:sldMk cId="358002378" sldId="281"/>
        </pc:sldMkLst>
      </pc:sldChg>
      <pc:sldChg chg="addSp delSp modSp add mod">
        <pc:chgData name="Aniket Chhabra" userId="598e0514-bef3-4e71-b6aa-f2edd6441cff" providerId="ADAL" clId="{BEA2F687-CD5D-42D8-AE89-CEDDE2665B30}" dt="2021-05-15T02:16:21.227" v="2828" actId="1076"/>
        <pc:sldMkLst>
          <pc:docMk/>
          <pc:sldMk cId="1702735194" sldId="282"/>
        </pc:sldMkLst>
        <pc:spChg chg="mod">
          <ac:chgData name="Aniket Chhabra" userId="598e0514-bef3-4e71-b6aa-f2edd6441cff" providerId="ADAL" clId="{BEA2F687-CD5D-42D8-AE89-CEDDE2665B30}" dt="2021-05-15T02:16:14.376" v="2827" actId="1076"/>
          <ac:spMkLst>
            <pc:docMk/>
            <pc:sldMk cId="1702735194" sldId="282"/>
            <ac:spMk id="18" creationId="{4425FF8B-756D-49D7-87E3-5408603CACE1}"/>
          </ac:spMkLst>
        </pc:spChg>
        <pc:picChg chg="add del">
          <ac:chgData name="Aniket Chhabra" userId="598e0514-bef3-4e71-b6aa-f2edd6441cff" providerId="ADAL" clId="{BEA2F687-CD5D-42D8-AE89-CEDDE2665B30}" dt="2021-05-15T02:14:45.173" v="2693" actId="478"/>
          <ac:picMkLst>
            <pc:docMk/>
            <pc:sldMk cId="1702735194" sldId="282"/>
            <ac:picMk id="4" creationId="{2A86C83B-EC65-41B8-BD63-0799FE3B0420}"/>
          </ac:picMkLst>
        </pc:picChg>
        <pc:picChg chg="add mod">
          <ac:chgData name="Aniket Chhabra" userId="598e0514-bef3-4e71-b6aa-f2edd6441cff" providerId="ADAL" clId="{BEA2F687-CD5D-42D8-AE89-CEDDE2665B30}" dt="2021-05-15T02:16:21.227" v="2828" actId="1076"/>
          <ac:picMkLst>
            <pc:docMk/>
            <pc:sldMk cId="1702735194" sldId="282"/>
            <ac:picMk id="7" creationId="{755F9FF8-AC18-4D0D-9C06-8C8AE6902382}"/>
          </ac:picMkLst>
        </pc:picChg>
        <pc:picChg chg="del">
          <ac:chgData name="Aniket Chhabra" userId="598e0514-bef3-4e71-b6aa-f2edd6441cff" providerId="ADAL" clId="{BEA2F687-CD5D-42D8-AE89-CEDDE2665B30}" dt="2021-05-15T02:14:32.018" v="2690" actId="478"/>
          <ac:picMkLst>
            <pc:docMk/>
            <pc:sldMk cId="1702735194" sldId="282"/>
            <ac:picMk id="13" creationId="{06DE953C-A3BC-4BEA-94CA-51F55236EC13}"/>
          </ac:picMkLst>
        </pc:picChg>
      </pc:sldChg>
      <pc:sldChg chg="add del">
        <pc:chgData name="Aniket Chhabra" userId="598e0514-bef3-4e71-b6aa-f2edd6441cff" providerId="ADAL" clId="{BEA2F687-CD5D-42D8-AE89-CEDDE2665B30}" dt="2021-05-15T02:37:37.282" v="3052" actId="47"/>
        <pc:sldMkLst>
          <pc:docMk/>
          <pc:sldMk cId="3222931496" sldId="283"/>
        </pc:sldMkLst>
      </pc:sldChg>
      <pc:sldChg chg="addSp delSp modSp add mod">
        <pc:chgData name="Aniket Chhabra" userId="598e0514-bef3-4e71-b6aa-f2edd6441cff" providerId="ADAL" clId="{BEA2F687-CD5D-42D8-AE89-CEDDE2665B30}" dt="2021-05-15T07:45:12.485" v="11673"/>
        <pc:sldMkLst>
          <pc:docMk/>
          <pc:sldMk cId="2063328610" sldId="284"/>
        </pc:sldMkLst>
        <pc:spChg chg="mod">
          <ac:chgData name="Aniket Chhabra" userId="598e0514-bef3-4e71-b6aa-f2edd6441cff" providerId="ADAL" clId="{BEA2F687-CD5D-42D8-AE89-CEDDE2665B30}" dt="2021-05-15T07:45:12.439" v="11617" actId="948"/>
          <ac:spMkLst>
            <pc:docMk/>
            <pc:sldMk cId="2063328610" sldId="284"/>
            <ac:spMk id="2" creationId="{7183013F-CCFC-4588-B693-22F514492FED}"/>
          </ac:spMkLst>
        </pc:spChg>
        <pc:spChg chg="add del mod modVis">
          <ac:chgData name="Aniket Chhabra" userId="598e0514-bef3-4e71-b6aa-f2edd6441cff" providerId="ADAL" clId="{BEA2F687-CD5D-42D8-AE89-CEDDE2665B30}" dt="2021-05-15T02:37:16.671" v="2881"/>
          <ac:spMkLst>
            <pc:docMk/>
            <pc:sldMk cId="2063328610" sldId="284"/>
            <ac:spMk id="9" creationId="{59D1B176-2F43-4219-BA1C-6994B4AA18F7}"/>
          </ac:spMkLst>
        </pc:spChg>
        <pc:spChg chg="add del mod modVis">
          <ac:chgData name="Aniket Chhabra" userId="598e0514-bef3-4e71-b6aa-f2edd6441cff" providerId="ADAL" clId="{BEA2F687-CD5D-42D8-AE89-CEDDE2665B30}" dt="2021-05-15T02:37:17.688" v="2925"/>
          <ac:spMkLst>
            <pc:docMk/>
            <pc:sldMk cId="2063328610" sldId="284"/>
            <ac:spMk id="10" creationId="{A70DB032-A514-49F8-811A-2F7F5163613B}"/>
          </ac:spMkLst>
        </pc:spChg>
        <pc:spChg chg="add del mod modVis">
          <ac:chgData name="Aniket Chhabra" userId="598e0514-bef3-4e71-b6aa-f2edd6441cff" providerId="ADAL" clId="{BEA2F687-CD5D-42D8-AE89-CEDDE2665B30}" dt="2021-05-15T02:37:19.907" v="2991"/>
          <ac:spMkLst>
            <pc:docMk/>
            <pc:sldMk cId="2063328610" sldId="284"/>
            <ac:spMk id="11" creationId="{E0780DB1-0425-4BB3-89D1-5FD6E8CFD51C}"/>
          </ac:spMkLst>
        </pc:spChg>
        <pc:spChg chg="add del mod modVis">
          <ac:chgData name="Aniket Chhabra" userId="598e0514-bef3-4e71-b6aa-f2edd6441cff" providerId="ADAL" clId="{BEA2F687-CD5D-42D8-AE89-CEDDE2665B30}" dt="2021-05-15T02:37:20.568" v="3049"/>
          <ac:spMkLst>
            <pc:docMk/>
            <pc:sldMk cId="2063328610" sldId="284"/>
            <ac:spMk id="12" creationId="{8609F6EB-6C78-427B-B5A9-D6B7FC72CBFD}"/>
          </ac:spMkLst>
        </pc:spChg>
        <pc:spChg chg="add del mod modVis">
          <ac:chgData name="Aniket Chhabra" userId="598e0514-bef3-4e71-b6aa-f2edd6441cff" providerId="ADAL" clId="{BEA2F687-CD5D-42D8-AE89-CEDDE2665B30}" dt="2021-05-15T02:40:18.470" v="3332"/>
          <ac:spMkLst>
            <pc:docMk/>
            <pc:sldMk cId="2063328610" sldId="284"/>
            <ac:spMk id="13" creationId="{D3662BD0-D336-4FAE-A941-A2C49715C1EC}"/>
          </ac:spMkLst>
        </pc:spChg>
        <pc:spChg chg="add mod">
          <ac:chgData name="Aniket Chhabra" userId="598e0514-bef3-4e71-b6aa-f2edd6441cff" providerId="ADAL" clId="{BEA2F687-CD5D-42D8-AE89-CEDDE2665B30}" dt="2021-05-15T02:48:15.374" v="3779" actId="1076"/>
          <ac:spMkLst>
            <pc:docMk/>
            <pc:sldMk cId="2063328610" sldId="284"/>
            <ac:spMk id="14" creationId="{6E3CD9DD-2BB2-470D-9678-31654B8EDE3B}"/>
          </ac:spMkLst>
        </pc:spChg>
        <pc:spChg chg="add del mod modVis">
          <ac:chgData name="Aniket Chhabra" userId="598e0514-bef3-4e71-b6aa-f2edd6441cff" providerId="ADAL" clId="{BEA2F687-CD5D-42D8-AE89-CEDDE2665B30}" dt="2021-05-15T02:40:19.439" v="3391"/>
          <ac:spMkLst>
            <pc:docMk/>
            <pc:sldMk cId="2063328610" sldId="284"/>
            <ac:spMk id="15" creationId="{9710ACE2-2F72-4904-841A-6E2E2D538198}"/>
          </ac:spMkLst>
        </pc:spChg>
        <pc:spChg chg="add del mod modVis">
          <ac:chgData name="Aniket Chhabra" userId="598e0514-bef3-4e71-b6aa-f2edd6441cff" providerId="ADAL" clId="{BEA2F687-CD5D-42D8-AE89-CEDDE2665B30}" dt="2021-05-15T02:40:19.765" v="3449"/>
          <ac:spMkLst>
            <pc:docMk/>
            <pc:sldMk cId="2063328610" sldId="284"/>
            <ac:spMk id="16" creationId="{1445A0BA-7843-41B5-ABD3-25D9B17D2258}"/>
          </ac:spMkLst>
        </pc:spChg>
        <pc:spChg chg="add del mod modVis">
          <ac:chgData name="Aniket Chhabra" userId="598e0514-bef3-4e71-b6aa-f2edd6441cff" providerId="ADAL" clId="{BEA2F687-CD5D-42D8-AE89-CEDDE2665B30}" dt="2021-05-15T02:40:20.519" v="3508"/>
          <ac:spMkLst>
            <pc:docMk/>
            <pc:sldMk cId="2063328610" sldId="284"/>
            <ac:spMk id="17" creationId="{B06C527B-7D86-4067-B19A-207109A27919}"/>
          </ac:spMkLst>
        </pc:spChg>
        <pc:spChg chg="del">
          <ac:chgData name="Aniket Chhabra" userId="598e0514-bef3-4e71-b6aa-f2edd6441cff" providerId="ADAL" clId="{BEA2F687-CD5D-42D8-AE89-CEDDE2665B30}" dt="2021-05-15T02:37:39.984" v="3053" actId="478"/>
          <ac:spMkLst>
            <pc:docMk/>
            <pc:sldMk cId="2063328610" sldId="284"/>
            <ac:spMk id="18" creationId="{4425FF8B-756D-49D7-87E3-5408603CACE1}"/>
          </ac:spMkLst>
        </pc:spChg>
        <pc:spChg chg="add del mod modVis">
          <ac:chgData name="Aniket Chhabra" userId="598e0514-bef3-4e71-b6aa-f2edd6441cff" providerId="ADAL" clId="{BEA2F687-CD5D-42D8-AE89-CEDDE2665B30}" dt="2021-05-15T02:40:21.550" v="3566"/>
          <ac:spMkLst>
            <pc:docMk/>
            <pc:sldMk cId="2063328610" sldId="284"/>
            <ac:spMk id="19" creationId="{17D9F8D9-43A2-43E3-B857-FB2CFA847EE9}"/>
          </ac:spMkLst>
        </pc:spChg>
        <pc:spChg chg="add del mod modVis">
          <ac:chgData name="Aniket Chhabra" userId="598e0514-bef3-4e71-b6aa-f2edd6441cff" providerId="ADAL" clId="{BEA2F687-CD5D-42D8-AE89-CEDDE2665B30}" dt="2021-05-15T02:40:23.460" v="3624"/>
          <ac:spMkLst>
            <pc:docMk/>
            <pc:sldMk cId="2063328610" sldId="284"/>
            <ac:spMk id="20" creationId="{7EB3C7B8-6A9B-4EA4-94AC-2CEDB44CF4CD}"/>
          </ac:spMkLst>
        </pc:spChg>
        <pc:spChg chg="add del mod modVis">
          <ac:chgData name="Aniket Chhabra" userId="598e0514-bef3-4e71-b6aa-f2edd6441cff" providerId="ADAL" clId="{BEA2F687-CD5D-42D8-AE89-CEDDE2665B30}" dt="2021-05-15T07:44:51.500" v="11053"/>
          <ac:spMkLst>
            <pc:docMk/>
            <pc:sldMk cId="2063328610" sldId="284"/>
            <ac:spMk id="29" creationId="{81B55CD6-73F4-4E15-8AFF-DEB3E578085B}"/>
          </ac:spMkLst>
        </pc:spChg>
        <pc:spChg chg="add del mod modVis">
          <ac:chgData name="Aniket Chhabra" userId="598e0514-bef3-4e71-b6aa-f2edd6441cff" providerId="ADAL" clId="{BEA2F687-CD5D-42D8-AE89-CEDDE2665B30}" dt="2021-05-15T07:44:53.306" v="11118"/>
          <ac:spMkLst>
            <pc:docMk/>
            <pc:sldMk cId="2063328610" sldId="284"/>
            <ac:spMk id="30" creationId="{DD42A28B-0C8D-4C4D-9C23-0EB28DCC052F}"/>
          </ac:spMkLst>
        </pc:spChg>
        <pc:spChg chg="add del mod modVis">
          <ac:chgData name="Aniket Chhabra" userId="598e0514-bef3-4e71-b6aa-f2edd6441cff" providerId="ADAL" clId="{BEA2F687-CD5D-42D8-AE89-CEDDE2665B30}" dt="2021-05-15T07:44:54.059" v="11179"/>
          <ac:spMkLst>
            <pc:docMk/>
            <pc:sldMk cId="2063328610" sldId="284"/>
            <ac:spMk id="31" creationId="{77E46DCB-BC81-43C1-8A94-68DB9BFAF13F}"/>
          </ac:spMkLst>
        </pc:spChg>
        <pc:spChg chg="add del mod modVis">
          <ac:chgData name="Aniket Chhabra" userId="598e0514-bef3-4e71-b6aa-f2edd6441cff" providerId="ADAL" clId="{BEA2F687-CD5D-42D8-AE89-CEDDE2665B30}" dt="2021-05-15T07:44:54.622" v="11237"/>
          <ac:spMkLst>
            <pc:docMk/>
            <pc:sldMk cId="2063328610" sldId="284"/>
            <ac:spMk id="32" creationId="{750DC360-BBDC-4D2F-A390-95BABBF24524}"/>
          </ac:spMkLst>
        </pc:spChg>
        <pc:spChg chg="add del mod modVis">
          <ac:chgData name="Aniket Chhabra" userId="598e0514-bef3-4e71-b6aa-f2edd6441cff" providerId="ADAL" clId="{BEA2F687-CD5D-42D8-AE89-CEDDE2665B30}" dt="2021-05-15T07:44:55.766" v="11297"/>
          <ac:spMkLst>
            <pc:docMk/>
            <pc:sldMk cId="2063328610" sldId="284"/>
            <ac:spMk id="33" creationId="{701997C4-6A66-4D60-B380-24500056B4C2}"/>
          </ac:spMkLst>
        </pc:spChg>
        <pc:spChg chg="add del mod modVis">
          <ac:chgData name="Aniket Chhabra" userId="598e0514-bef3-4e71-b6aa-f2edd6441cff" providerId="ADAL" clId="{BEA2F687-CD5D-42D8-AE89-CEDDE2665B30}" dt="2021-05-15T07:44:58.155" v="11366"/>
          <ac:spMkLst>
            <pc:docMk/>
            <pc:sldMk cId="2063328610" sldId="284"/>
            <ac:spMk id="34" creationId="{9E90C18A-9906-4D80-A3C2-3CA20662F838}"/>
          </ac:spMkLst>
        </pc:spChg>
        <pc:spChg chg="add del mod modVis">
          <ac:chgData name="Aniket Chhabra" userId="598e0514-bef3-4e71-b6aa-f2edd6441cff" providerId="ADAL" clId="{BEA2F687-CD5D-42D8-AE89-CEDDE2665B30}" dt="2021-05-15T07:44:59.716" v="11428"/>
          <ac:spMkLst>
            <pc:docMk/>
            <pc:sldMk cId="2063328610" sldId="284"/>
            <ac:spMk id="35" creationId="{54D4B622-3831-44F0-AFBF-D5107C98F126}"/>
          </ac:spMkLst>
        </pc:spChg>
        <pc:spChg chg="add del mod modVis">
          <ac:chgData name="Aniket Chhabra" userId="598e0514-bef3-4e71-b6aa-f2edd6441cff" providerId="ADAL" clId="{BEA2F687-CD5D-42D8-AE89-CEDDE2665B30}" dt="2021-05-15T07:45:02.623" v="11495"/>
          <ac:spMkLst>
            <pc:docMk/>
            <pc:sldMk cId="2063328610" sldId="284"/>
            <ac:spMk id="36" creationId="{2592370E-D7C6-42ED-AC22-565D1F985CCD}"/>
          </ac:spMkLst>
        </pc:spChg>
        <pc:spChg chg="add del mod modVis">
          <ac:chgData name="Aniket Chhabra" userId="598e0514-bef3-4e71-b6aa-f2edd6441cff" providerId="ADAL" clId="{BEA2F687-CD5D-42D8-AE89-CEDDE2665B30}" dt="2021-05-15T07:45:03.960" v="11555"/>
          <ac:spMkLst>
            <pc:docMk/>
            <pc:sldMk cId="2063328610" sldId="284"/>
            <ac:spMk id="37" creationId="{4E3B5A60-2621-4A96-B86A-1BDAB7E98337}"/>
          </ac:spMkLst>
        </pc:spChg>
        <pc:spChg chg="add del mod modVis">
          <ac:chgData name="Aniket Chhabra" userId="598e0514-bef3-4e71-b6aa-f2edd6441cff" providerId="ADAL" clId="{BEA2F687-CD5D-42D8-AE89-CEDDE2665B30}" dt="2021-05-15T07:45:07.315" v="11613"/>
          <ac:spMkLst>
            <pc:docMk/>
            <pc:sldMk cId="2063328610" sldId="284"/>
            <ac:spMk id="38" creationId="{C777DAB1-2FAF-45A5-90D3-DCA455E76332}"/>
          </ac:spMkLst>
        </pc:spChg>
        <pc:spChg chg="add del mod modVis">
          <ac:chgData name="Aniket Chhabra" userId="598e0514-bef3-4e71-b6aa-f2edd6441cff" providerId="ADAL" clId="{BEA2F687-CD5D-42D8-AE89-CEDDE2665B30}" dt="2021-05-15T07:45:12.483" v="11671"/>
          <ac:spMkLst>
            <pc:docMk/>
            <pc:sldMk cId="2063328610" sldId="284"/>
            <ac:spMk id="39" creationId="{825B881F-5ED8-4ABA-B577-B537E26A8F42}"/>
          </ac:spMkLst>
        </pc:spChg>
        <pc:graphicFrameChg chg="mod">
          <ac:chgData name="Aniket Chhabra" userId="598e0514-bef3-4e71-b6aa-f2edd6441cff" providerId="ADAL" clId="{BEA2F687-CD5D-42D8-AE89-CEDDE2665B30}" dt="2021-05-15T07:45:12.485" v="11673"/>
          <ac:graphicFrameMkLst>
            <pc:docMk/>
            <pc:sldMk cId="2063328610" sldId="284"/>
            <ac:graphicFrameMk id="6" creationId="{D9F5E603-548B-4576-BBB6-A50532C3D243}"/>
          </ac:graphicFrameMkLst>
        </pc:graphicFrameChg>
        <pc:picChg chg="add del">
          <ac:chgData name="Aniket Chhabra" userId="598e0514-bef3-4e71-b6aa-f2edd6441cff" providerId="ADAL" clId="{BEA2F687-CD5D-42D8-AE89-CEDDE2665B30}" dt="2021-05-15T02:36:53.829" v="2834" actId="478"/>
          <ac:picMkLst>
            <pc:docMk/>
            <pc:sldMk cId="2063328610" sldId="284"/>
            <ac:picMk id="4" creationId="{358C1AD5-26AF-440E-9DF8-3AB8895F98FA}"/>
          </ac:picMkLst>
        </pc:picChg>
        <pc:picChg chg="del">
          <ac:chgData name="Aniket Chhabra" userId="598e0514-bef3-4e71-b6aa-f2edd6441cff" providerId="ADAL" clId="{BEA2F687-CD5D-42D8-AE89-CEDDE2665B30}" dt="2021-05-15T02:29:48.498" v="2831" actId="478"/>
          <ac:picMkLst>
            <pc:docMk/>
            <pc:sldMk cId="2063328610" sldId="284"/>
            <ac:picMk id="7" creationId="{755F9FF8-AC18-4D0D-9C06-8C8AE6902382}"/>
          </ac:picMkLst>
        </pc:picChg>
        <pc:picChg chg="add mod">
          <ac:chgData name="Aniket Chhabra" userId="598e0514-bef3-4e71-b6aa-f2edd6441cff" providerId="ADAL" clId="{BEA2F687-CD5D-42D8-AE89-CEDDE2665B30}" dt="2021-05-15T02:45:35.965" v="3764" actId="1036"/>
          <ac:picMkLst>
            <pc:docMk/>
            <pc:sldMk cId="2063328610" sldId="284"/>
            <ac:picMk id="8" creationId="{C586F807-B5E7-484A-A5EF-9B618820B02A}"/>
          </ac:picMkLst>
        </pc:picChg>
        <pc:picChg chg="add del">
          <ac:chgData name="Aniket Chhabra" userId="598e0514-bef3-4e71-b6aa-f2edd6441cff" providerId="ADAL" clId="{BEA2F687-CD5D-42D8-AE89-CEDDE2665B30}" dt="2021-05-15T02:44:56.399" v="3701" actId="478"/>
          <ac:picMkLst>
            <pc:docMk/>
            <pc:sldMk cId="2063328610" sldId="284"/>
            <ac:picMk id="22" creationId="{57FF5BD6-21F2-4352-B7F3-93145CF1EA0D}"/>
          </ac:picMkLst>
        </pc:picChg>
        <pc:picChg chg="add mod">
          <ac:chgData name="Aniket Chhabra" userId="598e0514-bef3-4e71-b6aa-f2edd6441cff" providerId="ADAL" clId="{BEA2F687-CD5D-42D8-AE89-CEDDE2665B30}" dt="2021-05-15T02:45:35.965" v="3764" actId="1036"/>
          <ac:picMkLst>
            <pc:docMk/>
            <pc:sldMk cId="2063328610" sldId="284"/>
            <ac:picMk id="24" creationId="{06486009-6307-4D67-9812-CB95EF8082C8}"/>
          </ac:picMkLst>
        </pc:picChg>
        <pc:picChg chg="add del">
          <ac:chgData name="Aniket Chhabra" userId="598e0514-bef3-4e71-b6aa-f2edd6441cff" providerId="ADAL" clId="{BEA2F687-CD5D-42D8-AE89-CEDDE2665B30}" dt="2021-05-15T02:47:58.594" v="3767" actId="478"/>
          <ac:picMkLst>
            <pc:docMk/>
            <pc:sldMk cId="2063328610" sldId="284"/>
            <ac:picMk id="26" creationId="{EB750FA6-26B7-4221-A40D-CA52B81B0A0C}"/>
          </ac:picMkLst>
        </pc:picChg>
        <pc:picChg chg="add mod">
          <ac:chgData name="Aniket Chhabra" userId="598e0514-bef3-4e71-b6aa-f2edd6441cff" providerId="ADAL" clId="{BEA2F687-CD5D-42D8-AE89-CEDDE2665B30}" dt="2021-05-15T02:48:22.815" v="3782" actId="14100"/>
          <ac:picMkLst>
            <pc:docMk/>
            <pc:sldMk cId="2063328610" sldId="284"/>
            <ac:picMk id="28" creationId="{D887BAF5-BBD6-4766-8A01-6E05150B2552}"/>
          </ac:picMkLst>
        </pc:picChg>
      </pc:sldChg>
      <pc:sldChg chg="addSp delSp modSp add mod modNotesTx">
        <pc:chgData name="Aniket Chhabra" userId="598e0514-bef3-4e71-b6aa-f2edd6441cff" providerId="ADAL" clId="{BEA2F687-CD5D-42D8-AE89-CEDDE2665B30}" dt="2021-05-15T03:19:31.913" v="5501" actId="1035"/>
        <pc:sldMkLst>
          <pc:docMk/>
          <pc:sldMk cId="1370836176" sldId="285"/>
        </pc:sldMkLst>
        <pc:spChg chg="mod">
          <ac:chgData name="Aniket Chhabra" userId="598e0514-bef3-4e71-b6aa-f2edd6441cff" providerId="ADAL" clId="{BEA2F687-CD5D-42D8-AE89-CEDDE2665B30}" dt="2021-05-15T03:00:08.063" v="4558" actId="948"/>
          <ac:spMkLst>
            <pc:docMk/>
            <pc:sldMk cId="1370836176" sldId="285"/>
            <ac:spMk id="2" creationId="{7183013F-CCFC-4588-B693-22F514492FED}"/>
          </ac:spMkLst>
        </pc:spChg>
        <pc:spChg chg="add del mod modVis">
          <ac:chgData name="Aniket Chhabra" userId="598e0514-bef3-4e71-b6aa-f2edd6441cff" providerId="ADAL" clId="{BEA2F687-CD5D-42D8-AE89-CEDDE2665B30}" dt="2021-05-15T02:52:34.085" v="3850"/>
          <ac:spMkLst>
            <pc:docMk/>
            <pc:sldMk cId="1370836176" sldId="285"/>
            <ac:spMk id="3" creationId="{7D5365C0-0B38-4F8C-B4CB-D395D76BC364}"/>
          </ac:spMkLst>
        </pc:spChg>
        <pc:spChg chg="add del mod modVis">
          <ac:chgData name="Aniket Chhabra" userId="598e0514-bef3-4e71-b6aa-f2edd6441cff" providerId="ADAL" clId="{BEA2F687-CD5D-42D8-AE89-CEDDE2665B30}" dt="2021-05-15T02:52:37.351" v="3908"/>
          <ac:spMkLst>
            <pc:docMk/>
            <pc:sldMk cId="1370836176" sldId="285"/>
            <ac:spMk id="4" creationId="{215A1EBA-EED5-4D31-AE18-485454AD23F0}"/>
          </ac:spMkLst>
        </pc:spChg>
        <pc:spChg chg="add del mod modVis">
          <ac:chgData name="Aniket Chhabra" userId="598e0514-bef3-4e71-b6aa-f2edd6441cff" providerId="ADAL" clId="{BEA2F687-CD5D-42D8-AE89-CEDDE2665B30}" dt="2021-05-15T02:52:37.657" v="3966"/>
          <ac:spMkLst>
            <pc:docMk/>
            <pc:sldMk cId="1370836176" sldId="285"/>
            <ac:spMk id="5" creationId="{343E8C77-9697-4F5C-BCB6-C243188C497E}"/>
          </ac:spMkLst>
        </pc:spChg>
        <pc:spChg chg="add del mod modVis">
          <ac:chgData name="Aniket Chhabra" userId="598e0514-bef3-4e71-b6aa-f2edd6441cff" providerId="ADAL" clId="{BEA2F687-CD5D-42D8-AE89-CEDDE2665B30}" dt="2021-05-15T02:52:38.601" v="4026"/>
          <ac:spMkLst>
            <pc:docMk/>
            <pc:sldMk cId="1370836176" sldId="285"/>
            <ac:spMk id="8" creationId="{0F470744-481B-410F-BA6D-5A882133A20B}"/>
          </ac:spMkLst>
        </pc:spChg>
        <pc:spChg chg="add del mod modVis">
          <ac:chgData name="Aniket Chhabra" userId="598e0514-bef3-4e71-b6aa-f2edd6441cff" providerId="ADAL" clId="{BEA2F687-CD5D-42D8-AE89-CEDDE2665B30}" dt="2021-05-15T02:54:25.340" v="4204"/>
          <ac:spMkLst>
            <pc:docMk/>
            <pc:sldMk cId="1370836176" sldId="285"/>
            <ac:spMk id="9" creationId="{D42159E0-EA6C-4891-806C-0ADB796E3523}"/>
          </ac:spMkLst>
        </pc:spChg>
        <pc:spChg chg="add mod">
          <ac:chgData name="Aniket Chhabra" userId="598e0514-bef3-4e71-b6aa-f2edd6441cff" providerId="ADAL" clId="{BEA2F687-CD5D-42D8-AE89-CEDDE2665B30}" dt="2021-05-15T02:53:27.022" v="4148" actId="20577"/>
          <ac:spMkLst>
            <pc:docMk/>
            <pc:sldMk cId="1370836176" sldId="285"/>
            <ac:spMk id="10" creationId="{0AA6D076-EB31-4A88-B4B8-1B52301DFD0C}"/>
          </ac:spMkLst>
        </pc:spChg>
        <pc:spChg chg="add del mod modVis">
          <ac:chgData name="Aniket Chhabra" userId="598e0514-bef3-4e71-b6aa-f2edd6441cff" providerId="ADAL" clId="{BEA2F687-CD5D-42D8-AE89-CEDDE2665B30}" dt="2021-05-15T02:54:26.142" v="4262"/>
          <ac:spMkLst>
            <pc:docMk/>
            <pc:sldMk cId="1370836176" sldId="285"/>
            <ac:spMk id="11" creationId="{EC6E27E2-63E1-4111-A49A-1949DA3F5DB8}"/>
          </ac:spMkLst>
        </pc:spChg>
        <pc:spChg chg="add del mod modVis">
          <ac:chgData name="Aniket Chhabra" userId="598e0514-bef3-4e71-b6aa-f2edd6441cff" providerId="ADAL" clId="{BEA2F687-CD5D-42D8-AE89-CEDDE2665B30}" dt="2021-05-15T02:54:26.856" v="4321"/>
          <ac:spMkLst>
            <pc:docMk/>
            <pc:sldMk cId="1370836176" sldId="285"/>
            <ac:spMk id="12" creationId="{9BD736E8-971C-4296-B32E-70524C89A984}"/>
          </ac:spMkLst>
        </pc:spChg>
        <pc:spChg chg="add del mod modVis">
          <ac:chgData name="Aniket Chhabra" userId="598e0514-bef3-4e71-b6aa-f2edd6441cff" providerId="ADAL" clId="{BEA2F687-CD5D-42D8-AE89-CEDDE2665B30}" dt="2021-05-15T02:54:28.207" v="4383"/>
          <ac:spMkLst>
            <pc:docMk/>
            <pc:sldMk cId="1370836176" sldId="285"/>
            <ac:spMk id="13" creationId="{AFA9E433-5076-4F56-B07C-205D604CF2C7}"/>
          </ac:spMkLst>
        </pc:spChg>
        <pc:spChg chg="del mod">
          <ac:chgData name="Aniket Chhabra" userId="598e0514-bef3-4e71-b6aa-f2edd6441cff" providerId="ADAL" clId="{BEA2F687-CD5D-42D8-AE89-CEDDE2665B30}" dt="2021-05-15T02:52:42.779" v="4030" actId="478"/>
          <ac:spMkLst>
            <pc:docMk/>
            <pc:sldMk cId="1370836176" sldId="285"/>
            <ac:spMk id="18" creationId="{4425FF8B-756D-49D7-87E3-5408603CACE1}"/>
          </ac:spMkLst>
        </pc:spChg>
        <pc:spChg chg="add mod">
          <ac:chgData name="Aniket Chhabra" userId="598e0514-bef3-4e71-b6aa-f2edd6441cff" providerId="ADAL" clId="{BEA2F687-CD5D-42D8-AE89-CEDDE2665B30}" dt="2021-05-15T03:19:31.913" v="5501" actId="1035"/>
          <ac:spMkLst>
            <pc:docMk/>
            <pc:sldMk cId="1370836176" sldId="285"/>
            <ac:spMk id="19" creationId="{58A59DC6-D3D0-4BB1-93BC-9ECA02D2F6F8}"/>
          </ac:spMkLst>
        </pc:spChg>
        <pc:spChg chg="add del mod modVis">
          <ac:chgData name="Aniket Chhabra" userId="598e0514-bef3-4e71-b6aa-f2edd6441cff" providerId="ADAL" clId="{BEA2F687-CD5D-42D8-AE89-CEDDE2665B30}" dt="2021-05-15T03:00:06.369" v="4554"/>
          <ac:spMkLst>
            <pc:docMk/>
            <pc:sldMk cId="1370836176" sldId="285"/>
            <ac:spMk id="20" creationId="{846B328F-C734-409F-B2DB-F914F0ED8D48}"/>
          </ac:spMkLst>
        </pc:spChg>
        <pc:spChg chg="add del mod modVis">
          <ac:chgData name="Aniket Chhabra" userId="598e0514-bef3-4e71-b6aa-f2edd6441cff" providerId="ADAL" clId="{BEA2F687-CD5D-42D8-AE89-CEDDE2665B30}" dt="2021-05-15T03:00:08.123" v="4612"/>
          <ac:spMkLst>
            <pc:docMk/>
            <pc:sldMk cId="1370836176" sldId="285"/>
            <ac:spMk id="21" creationId="{B5EBC800-B445-4B4F-8D41-BE05C519C093}"/>
          </ac:spMkLst>
        </pc:spChg>
        <pc:graphicFrameChg chg="mod">
          <ac:chgData name="Aniket Chhabra" userId="598e0514-bef3-4e71-b6aa-f2edd6441cff" providerId="ADAL" clId="{BEA2F687-CD5D-42D8-AE89-CEDDE2665B30}" dt="2021-05-15T03:00:08.125" v="4614"/>
          <ac:graphicFrameMkLst>
            <pc:docMk/>
            <pc:sldMk cId="1370836176" sldId="285"/>
            <ac:graphicFrameMk id="6" creationId="{D9F5E603-548B-4576-BBB6-A50532C3D243}"/>
          </ac:graphicFrameMkLst>
        </pc:graphicFrameChg>
        <pc:picChg chg="del">
          <ac:chgData name="Aniket Chhabra" userId="598e0514-bef3-4e71-b6aa-f2edd6441cff" providerId="ADAL" clId="{BEA2F687-CD5D-42D8-AE89-CEDDE2665B30}" dt="2021-05-15T02:52:28.419" v="3784" actId="478"/>
          <ac:picMkLst>
            <pc:docMk/>
            <pc:sldMk cId="1370836176" sldId="285"/>
            <ac:picMk id="7" creationId="{755F9FF8-AC18-4D0D-9C06-8C8AE6902382}"/>
          </ac:picMkLst>
        </pc:picChg>
        <pc:picChg chg="add del">
          <ac:chgData name="Aniket Chhabra" userId="598e0514-bef3-4e71-b6aa-f2edd6441cff" providerId="ADAL" clId="{BEA2F687-CD5D-42D8-AE89-CEDDE2665B30}" dt="2021-05-15T02:58:40.541" v="4388" actId="478"/>
          <ac:picMkLst>
            <pc:docMk/>
            <pc:sldMk cId="1370836176" sldId="285"/>
            <ac:picMk id="15" creationId="{5BEA688C-CBA5-434B-A8BF-E46CB5320AAA}"/>
          </ac:picMkLst>
        </pc:picChg>
        <pc:picChg chg="add mod">
          <ac:chgData name="Aniket Chhabra" userId="598e0514-bef3-4e71-b6aa-f2edd6441cff" providerId="ADAL" clId="{BEA2F687-CD5D-42D8-AE89-CEDDE2665B30}" dt="2021-05-15T02:58:52.189" v="4393" actId="1076"/>
          <ac:picMkLst>
            <pc:docMk/>
            <pc:sldMk cId="1370836176" sldId="285"/>
            <ac:picMk id="17" creationId="{1F35CF3F-9AE6-42CC-A955-02B06CF7CE90}"/>
          </ac:picMkLst>
        </pc:picChg>
      </pc:sldChg>
      <pc:sldChg chg="addSp delSp modSp add mod modNotesTx">
        <pc:chgData name="Aniket Chhabra" userId="598e0514-bef3-4e71-b6aa-f2edd6441cff" providerId="ADAL" clId="{BEA2F687-CD5D-42D8-AE89-CEDDE2665B30}" dt="2021-05-15T03:25:26.417" v="5580" actId="1036"/>
        <pc:sldMkLst>
          <pc:docMk/>
          <pc:sldMk cId="2691590533" sldId="286"/>
        </pc:sldMkLst>
        <pc:spChg chg="mod">
          <ac:chgData name="Aniket Chhabra" userId="598e0514-bef3-4e71-b6aa-f2edd6441cff" providerId="ADAL" clId="{BEA2F687-CD5D-42D8-AE89-CEDDE2665B30}" dt="2021-05-15T03:19:26.723" v="5442" actId="948"/>
          <ac:spMkLst>
            <pc:docMk/>
            <pc:sldMk cId="2691590533" sldId="286"/>
            <ac:spMk id="2" creationId="{7183013F-CCFC-4588-B693-22F514492FED}"/>
          </ac:spMkLst>
        </pc:spChg>
        <pc:spChg chg="add del mod modVis">
          <ac:chgData name="Aniket Chhabra" userId="598e0514-bef3-4e71-b6aa-f2edd6441cff" providerId="ADAL" clId="{BEA2F687-CD5D-42D8-AE89-CEDDE2665B30}" dt="2021-05-15T03:11:30.304" v="4692"/>
          <ac:spMkLst>
            <pc:docMk/>
            <pc:sldMk cId="2691590533" sldId="286"/>
            <ac:spMk id="9" creationId="{B735F43A-0D82-4288-BD37-67BA75116840}"/>
          </ac:spMkLst>
        </pc:spChg>
        <pc:spChg chg="add del mod modVis">
          <ac:chgData name="Aniket Chhabra" userId="598e0514-bef3-4e71-b6aa-f2edd6441cff" providerId="ADAL" clId="{BEA2F687-CD5D-42D8-AE89-CEDDE2665B30}" dt="2021-05-15T03:11:31.887" v="4755"/>
          <ac:spMkLst>
            <pc:docMk/>
            <pc:sldMk cId="2691590533" sldId="286"/>
            <ac:spMk id="10" creationId="{891731D8-10F6-4F62-AC6E-66D22D6AA2E2}"/>
          </ac:spMkLst>
        </pc:spChg>
        <pc:spChg chg="add del mod modVis">
          <ac:chgData name="Aniket Chhabra" userId="598e0514-bef3-4e71-b6aa-f2edd6441cff" providerId="ADAL" clId="{BEA2F687-CD5D-42D8-AE89-CEDDE2665B30}" dt="2021-05-15T03:11:32.509" v="4817"/>
          <ac:spMkLst>
            <pc:docMk/>
            <pc:sldMk cId="2691590533" sldId="286"/>
            <ac:spMk id="11" creationId="{EE021A9B-7E1D-47FB-BB1F-E9EE6EE89CB9}"/>
          </ac:spMkLst>
        </pc:spChg>
        <pc:spChg chg="add del mod modVis">
          <ac:chgData name="Aniket Chhabra" userId="598e0514-bef3-4e71-b6aa-f2edd6441cff" providerId="ADAL" clId="{BEA2F687-CD5D-42D8-AE89-CEDDE2665B30}" dt="2021-05-15T03:11:33.098" v="4875"/>
          <ac:spMkLst>
            <pc:docMk/>
            <pc:sldMk cId="2691590533" sldId="286"/>
            <ac:spMk id="12" creationId="{CDE3BE3B-25BF-46EB-B14C-4AFB8373C3EF}"/>
          </ac:spMkLst>
        </pc:spChg>
        <pc:spChg chg="add del mod modVis">
          <ac:chgData name="Aniket Chhabra" userId="598e0514-bef3-4e71-b6aa-f2edd6441cff" providerId="ADAL" clId="{BEA2F687-CD5D-42D8-AE89-CEDDE2665B30}" dt="2021-05-15T03:11:36.074" v="4943"/>
          <ac:spMkLst>
            <pc:docMk/>
            <pc:sldMk cId="2691590533" sldId="286"/>
            <ac:spMk id="13" creationId="{CAB2C3C8-0C9E-499A-9A31-B1C28DC93EAD}"/>
          </ac:spMkLst>
        </pc:spChg>
        <pc:spChg chg="add mod">
          <ac:chgData name="Aniket Chhabra" userId="598e0514-bef3-4e71-b6aa-f2edd6441cff" providerId="ADAL" clId="{BEA2F687-CD5D-42D8-AE89-CEDDE2665B30}" dt="2021-05-15T03:25:26.417" v="5580" actId="1036"/>
          <ac:spMkLst>
            <pc:docMk/>
            <pc:sldMk cId="2691590533" sldId="286"/>
            <ac:spMk id="15" creationId="{13BDB66B-F098-4CE2-AE85-805DFF1E13FD}"/>
          </ac:spMkLst>
        </pc:spChg>
        <pc:spChg chg="del">
          <ac:chgData name="Aniket Chhabra" userId="598e0514-bef3-4e71-b6aa-f2edd6441cff" providerId="ADAL" clId="{BEA2F687-CD5D-42D8-AE89-CEDDE2665B30}" dt="2021-05-15T03:00:24.535" v="4617" actId="478"/>
          <ac:spMkLst>
            <pc:docMk/>
            <pc:sldMk cId="2691590533" sldId="286"/>
            <ac:spMk id="18" creationId="{4425FF8B-756D-49D7-87E3-5408603CACE1}"/>
          </ac:spMkLst>
        </pc:spChg>
        <pc:spChg chg="add del mod modVis">
          <ac:chgData name="Aniket Chhabra" userId="598e0514-bef3-4e71-b6aa-f2edd6441cff" providerId="ADAL" clId="{BEA2F687-CD5D-42D8-AE89-CEDDE2665B30}" dt="2021-05-15T03:19:26.783" v="5496"/>
          <ac:spMkLst>
            <pc:docMk/>
            <pc:sldMk cId="2691590533" sldId="286"/>
            <ac:spMk id="22" creationId="{15E576B2-5BF8-48C7-894C-6097E9BAC7F7}"/>
          </ac:spMkLst>
        </pc:spChg>
        <pc:spChg chg="add mod">
          <ac:chgData name="Aniket Chhabra" userId="598e0514-bef3-4e71-b6aa-f2edd6441cff" providerId="ADAL" clId="{BEA2F687-CD5D-42D8-AE89-CEDDE2665B30}" dt="2021-05-15T03:25:26.417" v="5580" actId="1036"/>
          <ac:spMkLst>
            <pc:docMk/>
            <pc:sldMk cId="2691590533" sldId="286"/>
            <ac:spMk id="23" creationId="{FFADDA99-A930-450E-85FA-9566F393FF4A}"/>
          </ac:spMkLst>
        </pc:spChg>
        <pc:graphicFrameChg chg="mod">
          <ac:chgData name="Aniket Chhabra" userId="598e0514-bef3-4e71-b6aa-f2edd6441cff" providerId="ADAL" clId="{BEA2F687-CD5D-42D8-AE89-CEDDE2665B30}" dt="2021-05-15T03:19:26.785" v="5498"/>
          <ac:graphicFrameMkLst>
            <pc:docMk/>
            <pc:sldMk cId="2691590533" sldId="286"/>
            <ac:graphicFrameMk id="6" creationId="{D9F5E603-548B-4576-BBB6-A50532C3D243}"/>
          </ac:graphicFrameMkLst>
        </pc:graphicFrameChg>
        <pc:picChg chg="add del">
          <ac:chgData name="Aniket Chhabra" userId="598e0514-bef3-4e71-b6aa-f2edd6441cff" providerId="ADAL" clId="{BEA2F687-CD5D-42D8-AE89-CEDDE2665B30}" dt="2021-05-15T03:11:17.479" v="4620" actId="478"/>
          <ac:picMkLst>
            <pc:docMk/>
            <pc:sldMk cId="2691590533" sldId="286"/>
            <ac:picMk id="4" creationId="{89D0C4B1-3C5A-4F31-A2F0-701FCC54A727}"/>
          </ac:picMkLst>
        </pc:picChg>
        <pc:picChg chg="del">
          <ac:chgData name="Aniket Chhabra" userId="598e0514-bef3-4e71-b6aa-f2edd6441cff" providerId="ADAL" clId="{BEA2F687-CD5D-42D8-AE89-CEDDE2665B30}" dt="2021-05-15T03:00:22.776" v="4616" actId="478"/>
          <ac:picMkLst>
            <pc:docMk/>
            <pc:sldMk cId="2691590533" sldId="286"/>
            <ac:picMk id="7" creationId="{755F9FF8-AC18-4D0D-9C06-8C8AE6902382}"/>
          </ac:picMkLst>
        </pc:picChg>
        <pc:picChg chg="add del mod">
          <ac:chgData name="Aniket Chhabra" userId="598e0514-bef3-4e71-b6aa-f2edd6441cff" providerId="ADAL" clId="{BEA2F687-CD5D-42D8-AE89-CEDDE2665B30}" dt="2021-05-15T03:16:23.985" v="5424" actId="478"/>
          <ac:picMkLst>
            <pc:docMk/>
            <pc:sldMk cId="2691590533" sldId="286"/>
            <ac:picMk id="8" creationId="{868F7784-60E1-4238-8E4C-2DE99C53C3E2}"/>
          </ac:picMkLst>
        </pc:picChg>
        <pc:picChg chg="add del">
          <ac:chgData name="Aniket Chhabra" userId="598e0514-bef3-4e71-b6aa-f2edd6441cff" providerId="ADAL" clId="{BEA2F687-CD5D-42D8-AE89-CEDDE2665B30}" dt="2021-05-15T03:16:34.094" v="5427" actId="478"/>
          <ac:picMkLst>
            <pc:docMk/>
            <pc:sldMk cId="2691590533" sldId="286"/>
            <ac:picMk id="16" creationId="{1ACD8A8B-0191-401B-B46B-111D87C93ED3}"/>
          </ac:picMkLst>
        </pc:picChg>
        <pc:picChg chg="add del">
          <ac:chgData name="Aniket Chhabra" userId="598e0514-bef3-4e71-b6aa-f2edd6441cff" providerId="ADAL" clId="{BEA2F687-CD5D-42D8-AE89-CEDDE2665B30}" dt="2021-05-15T03:16:48.652" v="5430" actId="478"/>
          <ac:picMkLst>
            <pc:docMk/>
            <pc:sldMk cId="2691590533" sldId="286"/>
            <ac:picMk id="19" creationId="{DA36C545-8BAE-4367-A758-5E627459AE38}"/>
          </ac:picMkLst>
        </pc:picChg>
        <pc:picChg chg="add mod">
          <ac:chgData name="Aniket Chhabra" userId="598e0514-bef3-4e71-b6aa-f2edd6441cff" providerId="ADAL" clId="{BEA2F687-CD5D-42D8-AE89-CEDDE2665B30}" dt="2021-05-15T03:25:26.417" v="5580" actId="1036"/>
          <ac:picMkLst>
            <pc:docMk/>
            <pc:sldMk cId="2691590533" sldId="286"/>
            <ac:picMk id="21" creationId="{B67DAA16-EFCF-41BD-8205-9E289AFF056E}"/>
          </ac:picMkLst>
        </pc:picChg>
      </pc:sldChg>
      <pc:sldChg chg="addSp delSp modSp add mod">
        <pc:chgData name="Aniket Chhabra" userId="598e0514-bef3-4e71-b6aa-f2edd6441cff" providerId="ADAL" clId="{BEA2F687-CD5D-42D8-AE89-CEDDE2665B30}" dt="2021-05-15T08:49:52.206" v="11700" actId="1036"/>
        <pc:sldMkLst>
          <pc:docMk/>
          <pc:sldMk cId="3090271849" sldId="287"/>
        </pc:sldMkLst>
        <pc:spChg chg="mod">
          <ac:chgData name="Aniket Chhabra" userId="598e0514-bef3-4e71-b6aa-f2edd6441cff" providerId="ADAL" clId="{BEA2F687-CD5D-42D8-AE89-CEDDE2665B30}" dt="2021-05-15T03:30:08.777" v="6649" actId="948"/>
          <ac:spMkLst>
            <pc:docMk/>
            <pc:sldMk cId="3090271849" sldId="287"/>
            <ac:spMk id="2" creationId="{7183013F-CCFC-4588-B693-22F514492FED}"/>
          </ac:spMkLst>
        </pc:spChg>
        <pc:spChg chg="add del mod modVis">
          <ac:chgData name="Aniket Chhabra" userId="598e0514-bef3-4e71-b6aa-f2edd6441cff" providerId="ADAL" clId="{BEA2F687-CD5D-42D8-AE89-CEDDE2665B30}" dt="2021-05-15T03:25:37.525" v="5636"/>
          <ac:spMkLst>
            <pc:docMk/>
            <pc:sldMk cId="3090271849" sldId="287"/>
            <ac:spMk id="5" creationId="{1CFD6B83-301D-4A15-8CD6-F391F477F848}"/>
          </ac:spMkLst>
        </pc:spChg>
        <pc:spChg chg="add del mod modVis">
          <ac:chgData name="Aniket Chhabra" userId="598e0514-bef3-4e71-b6aa-f2edd6441cff" providerId="ADAL" clId="{BEA2F687-CD5D-42D8-AE89-CEDDE2665B30}" dt="2021-05-15T03:26:00.148" v="5703"/>
          <ac:spMkLst>
            <pc:docMk/>
            <pc:sldMk cId="3090271849" sldId="287"/>
            <ac:spMk id="7" creationId="{FBC3E80E-74C7-45B7-BB29-F9DB8DD4C178}"/>
          </ac:spMkLst>
        </pc:spChg>
        <pc:spChg chg="add del mod modVis">
          <ac:chgData name="Aniket Chhabra" userId="598e0514-bef3-4e71-b6aa-f2edd6441cff" providerId="ADAL" clId="{BEA2F687-CD5D-42D8-AE89-CEDDE2665B30}" dt="2021-05-15T03:26:01.072" v="5748"/>
          <ac:spMkLst>
            <pc:docMk/>
            <pc:sldMk cId="3090271849" sldId="287"/>
            <ac:spMk id="8" creationId="{997AA44D-3AD7-4424-AB20-11C02A1586EF}"/>
          </ac:spMkLst>
        </pc:spChg>
        <pc:spChg chg="add del mod modVis">
          <ac:chgData name="Aniket Chhabra" userId="598e0514-bef3-4e71-b6aa-f2edd6441cff" providerId="ADAL" clId="{BEA2F687-CD5D-42D8-AE89-CEDDE2665B30}" dt="2021-05-15T03:26:03.551" v="5816"/>
          <ac:spMkLst>
            <pc:docMk/>
            <pc:sldMk cId="3090271849" sldId="287"/>
            <ac:spMk id="9" creationId="{CF336E83-BDCE-40A1-BF66-848AD2ACC0CF}"/>
          </ac:spMkLst>
        </pc:spChg>
        <pc:spChg chg="del">
          <ac:chgData name="Aniket Chhabra" userId="598e0514-bef3-4e71-b6aa-f2edd6441cff" providerId="ADAL" clId="{BEA2F687-CD5D-42D8-AE89-CEDDE2665B30}" dt="2021-05-15T03:25:41.838" v="5639" actId="478"/>
          <ac:spMkLst>
            <pc:docMk/>
            <pc:sldMk cId="3090271849" sldId="287"/>
            <ac:spMk id="10" creationId="{0AA6D076-EB31-4A88-B4B8-1B52301DFD0C}"/>
          </ac:spMkLst>
        </pc:spChg>
        <pc:spChg chg="add del mod modVis">
          <ac:chgData name="Aniket Chhabra" userId="598e0514-bef3-4e71-b6aa-f2edd6441cff" providerId="ADAL" clId="{BEA2F687-CD5D-42D8-AE89-CEDDE2665B30}" dt="2021-05-15T03:26:07.661" v="5874"/>
          <ac:spMkLst>
            <pc:docMk/>
            <pc:sldMk cId="3090271849" sldId="287"/>
            <ac:spMk id="11" creationId="{9B339CF8-5631-4C1B-9267-4CEDD1484B4E}"/>
          </ac:spMkLst>
        </pc:spChg>
        <pc:spChg chg="add del mod modVis">
          <ac:chgData name="Aniket Chhabra" userId="598e0514-bef3-4e71-b6aa-f2edd6441cff" providerId="ADAL" clId="{BEA2F687-CD5D-42D8-AE89-CEDDE2665B30}" dt="2021-05-15T03:30:04.171" v="6587"/>
          <ac:spMkLst>
            <pc:docMk/>
            <pc:sldMk cId="3090271849" sldId="287"/>
            <ac:spMk id="12" creationId="{76C51A0F-110E-49B0-8738-ACB83F279380}"/>
          </ac:spMkLst>
        </pc:spChg>
        <pc:spChg chg="add del mod modVis">
          <ac:chgData name="Aniket Chhabra" userId="598e0514-bef3-4e71-b6aa-f2edd6441cff" providerId="ADAL" clId="{BEA2F687-CD5D-42D8-AE89-CEDDE2665B30}" dt="2021-05-15T03:30:04.941" v="6645"/>
          <ac:spMkLst>
            <pc:docMk/>
            <pc:sldMk cId="3090271849" sldId="287"/>
            <ac:spMk id="13" creationId="{1935E173-295D-4C48-83FF-E5DACE3C0E9B}"/>
          </ac:spMkLst>
        </pc:spChg>
        <pc:spChg chg="add del mod modVis">
          <ac:chgData name="Aniket Chhabra" userId="598e0514-bef3-4e71-b6aa-f2edd6441cff" providerId="ADAL" clId="{BEA2F687-CD5D-42D8-AE89-CEDDE2665B30}" dt="2021-05-15T03:30:08.857" v="6703"/>
          <ac:spMkLst>
            <pc:docMk/>
            <pc:sldMk cId="3090271849" sldId="287"/>
            <ac:spMk id="14" creationId="{2FA4DFC2-90BE-480F-B2E3-002831D06B53}"/>
          </ac:spMkLst>
        </pc:spChg>
        <pc:spChg chg="add mod">
          <ac:chgData name="Aniket Chhabra" userId="598e0514-bef3-4e71-b6aa-f2edd6441cff" providerId="ADAL" clId="{BEA2F687-CD5D-42D8-AE89-CEDDE2665B30}" dt="2021-05-15T08:49:52.206" v="11700" actId="1036"/>
          <ac:spMkLst>
            <pc:docMk/>
            <pc:sldMk cId="3090271849" sldId="287"/>
            <ac:spMk id="15" creationId="{A04CC799-8FE4-45BE-988F-82D3CBC8AE46}"/>
          </ac:spMkLst>
        </pc:spChg>
        <pc:spChg chg="mod">
          <ac:chgData name="Aniket Chhabra" userId="598e0514-bef3-4e71-b6aa-f2edd6441cff" providerId="ADAL" clId="{BEA2F687-CD5D-42D8-AE89-CEDDE2665B30}" dt="2021-05-15T08:49:52.206" v="11700" actId="1036"/>
          <ac:spMkLst>
            <pc:docMk/>
            <pc:sldMk cId="3090271849" sldId="287"/>
            <ac:spMk id="19" creationId="{58A59DC6-D3D0-4BB1-93BC-9ECA02D2F6F8}"/>
          </ac:spMkLst>
        </pc:spChg>
        <pc:graphicFrameChg chg="mod">
          <ac:chgData name="Aniket Chhabra" userId="598e0514-bef3-4e71-b6aa-f2edd6441cff" providerId="ADAL" clId="{BEA2F687-CD5D-42D8-AE89-CEDDE2665B30}" dt="2021-05-15T03:30:08.857" v="6705"/>
          <ac:graphicFrameMkLst>
            <pc:docMk/>
            <pc:sldMk cId="3090271849" sldId="287"/>
            <ac:graphicFrameMk id="6" creationId="{D9F5E603-548B-4576-BBB6-A50532C3D243}"/>
          </ac:graphicFrameMkLst>
        </pc:graphicFrameChg>
        <pc:picChg chg="add mod">
          <ac:chgData name="Aniket Chhabra" userId="598e0514-bef3-4e71-b6aa-f2edd6441cff" providerId="ADAL" clId="{BEA2F687-CD5D-42D8-AE89-CEDDE2665B30}" dt="2021-05-15T08:49:52.206" v="11700" actId="1036"/>
          <ac:picMkLst>
            <pc:docMk/>
            <pc:sldMk cId="3090271849" sldId="287"/>
            <ac:picMk id="4" creationId="{28DF1776-4688-4184-8056-D3B5204963E1}"/>
          </ac:picMkLst>
        </pc:picChg>
        <pc:picChg chg="del">
          <ac:chgData name="Aniket Chhabra" userId="598e0514-bef3-4e71-b6aa-f2edd6441cff" providerId="ADAL" clId="{BEA2F687-CD5D-42D8-AE89-CEDDE2665B30}" dt="2021-05-15T03:24:48.286" v="5560" actId="478"/>
          <ac:picMkLst>
            <pc:docMk/>
            <pc:sldMk cId="3090271849" sldId="287"/>
            <ac:picMk id="17" creationId="{1F35CF3F-9AE6-42CC-A955-02B06CF7CE90}"/>
          </ac:picMkLst>
        </pc:picChg>
        <pc:picChg chg="add mod">
          <ac:chgData name="Aniket Chhabra" userId="598e0514-bef3-4e71-b6aa-f2edd6441cff" providerId="ADAL" clId="{BEA2F687-CD5D-42D8-AE89-CEDDE2665B30}" dt="2021-05-15T08:49:52.206" v="11700" actId="1036"/>
          <ac:picMkLst>
            <pc:docMk/>
            <pc:sldMk cId="3090271849" sldId="287"/>
            <ac:picMk id="18" creationId="{9DF83ABF-6900-4058-A2C9-722B0190D2D4}"/>
          </ac:picMkLst>
        </pc:picChg>
        <pc:picChg chg="add del mod">
          <ac:chgData name="Aniket Chhabra" userId="598e0514-bef3-4e71-b6aa-f2edd6441cff" providerId="ADAL" clId="{BEA2F687-CD5D-42D8-AE89-CEDDE2665B30}" dt="2021-05-15T06:43:02.788" v="9669" actId="22"/>
          <ac:picMkLst>
            <pc:docMk/>
            <pc:sldMk cId="3090271849" sldId="287"/>
            <ac:picMk id="21" creationId="{EF354003-FC02-4026-8435-FBC2DCAA9790}"/>
          </ac:picMkLst>
        </pc:picChg>
      </pc:sldChg>
      <pc:sldChg chg="addSp delSp modSp add mod ord modNotesTx">
        <pc:chgData name="Aniket Chhabra" userId="598e0514-bef3-4e71-b6aa-f2edd6441cff" providerId="ADAL" clId="{BEA2F687-CD5D-42D8-AE89-CEDDE2665B30}" dt="2021-05-15T08:52:03.539" v="11713" actId="20577"/>
        <pc:sldMkLst>
          <pc:docMk/>
          <pc:sldMk cId="3369082074" sldId="288"/>
        </pc:sldMkLst>
        <pc:spChg chg="mod">
          <ac:chgData name="Aniket Chhabra" userId="598e0514-bef3-4e71-b6aa-f2edd6441cff" providerId="ADAL" clId="{BEA2F687-CD5D-42D8-AE89-CEDDE2665B30}" dt="2021-05-15T06:59:24.925" v="10739" actId="948"/>
          <ac:spMkLst>
            <pc:docMk/>
            <pc:sldMk cId="3369082074" sldId="288"/>
            <ac:spMk id="2" creationId="{7183013F-CCFC-4588-B693-22F514492FED}"/>
          </ac:spMkLst>
        </pc:spChg>
        <pc:spChg chg="add del mod modVis">
          <ac:chgData name="Aniket Chhabra" userId="598e0514-bef3-4e71-b6aa-f2edd6441cff" providerId="ADAL" clId="{BEA2F687-CD5D-42D8-AE89-CEDDE2665B30}" dt="2021-05-15T03:29:37.523" v="6052"/>
          <ac:spMkLst>
            <pc:docMk/>
            <pc:sldMk cId="3369082074" sldId="288"/>
            <ac:spMk id="3" creationId="{71371EAA-76FB-47BE-A26E-0681B1E2A969}"/>
          </ac:spMkLst>
        </pc:spChg>
        <pc:spChg chg="add del mod modVis">
          <ac:chgData name="Aniket Chhabra" userId="598e0514-bef3-4e71-b6aa-f2edd6441cff" providerId="ADAL" clId="{BEA2F687-CD5D-42D8-AE89-CEDDE2665B30}" dt="2021-05-15T03:29:38.438" v="6110"/>
          <ac:spMkLst>
            <pc:docMk/>
            <pc:sldMk cId="3369082074" sldId="288"/>
            <ac:spMk id="5" creationId="{84F11DC2-03A5-45C6-A380-A3F3A4CBE379}"/>
          </ac:spMkLst>
        </pc:spChg>
        <pc:spChg chg="add del mod modVis">
          <ac:chgData name="Aniket Chhabra" userId="598e0514-bef3-4e71-b6aa-f2edd6441cff" providerId="ADAL" clId="{BEA2F687-CD5D-42D8-AE89-CEDDE2665B30}" dt="2021-05-15T03:29:40.183" v="6169"/>
          <ac:spMkLst>
            <pc:docMk/>
            <pc:sldMk cId="3369082074" sldId="288"/>
            <ac:spMk id="7" creationId="{680474F9-561A-444A-BDD8-EECD62E14ECD}"/>
          </ac:spMkLst>
        </pc:spChg>
        <pc:spChg chg="add del mod modVis">
          <ac:chgData name="Aniket Chhabra" userId="598e0514-bef3-4e71-b6aa-f2edd6441cff" providerId="ADAL" clId="{BEA2F687-CD5D-42D8-AE89-CEDDE2665B30}" dt="2021-05-15T03:29:46.026" v="6227"/>
          <ac:spMkLst>
            <pc:docMk/>
            <pc:sldMk cId="3369082074" sldId="288"/>
            <ac:spMk id="8" creationId="{999E4243-364A-463F-AFCC-0BD796F31F8A}"/>
          </ac:spMkLst>
        </pc:spChg>
        <pc:spChg chg="add del mod modVis">
          <ac:chgData name="Aniket Chhabra" userId="598e0514-bef3-4e71-b6aa-f2edd6441cff" providerId="ADAL" clId="{BEA2F687-CD5D-42D8-AE89-CEDDE2665B30}" dt="2021-05-15T03:29:46.897" v="6288"/>
          <ac:spMkLst>
            <pc:docMk/>
            <pc:sldMk cId="3369082074" sldId="288"/>
            <ac:spMk id="9" creationId="{5B1481D6-8CF0-4971-99A8-CCFA4F362638}"/>
          </ac:spMkLst>
        </pc:spChg>
        <pc:spChg chg="add del mod modVis">
          <ac:chgData name="Aniket Chhabra" userId="598e0514-bef3-4e71-b6aa-f2edd6441cff" providerId="ADAL" clId="{BEA2F687-CD5D-42D8-AE89-CEDDE2665B30}" dt="2021-05-15T03:29:47.489" v="6346"/>
          <ac:spMkLst>
            <pc:docMk/>
            <pc:sldMk cId="3369082074" sldId="288"/>
            <ac:spMk id="10" creationId="{D5FBCD55-EE54-4A5B-9078-A1CD2BDB7414}"/>
          </ac:spMkLst>
        </pc:spChg>
        <pc:spChg chg="add del mod modVis">
          <ac:chgData name="Aniket Chhabra" userId="598e0514-bef3-4e71-b6aa-f2edd6441cff" providerId="ADAL" clId="{BEA2F687-CD5D-42D8-AE89-CEDDE2665B30}" dt="2021-05-15T03:29:49.405" v="6409"/>
          <ac:spMkLst>
            <pc:docMk/>
            <pc:sldMk cId="3369082074" sldId="288"/>
            <ac:spMk id="11" creationId="{D5410C0C-4559-41E5-8255-087B9680CCCC}"/>
          </ac:spMkLst>
        </pc:spChg>
        <pc:spChg chg="add del mod modVis">
          <ac:chgData name="Aniket Chhabra" userId="598e0514-bef3-4e71-b6aa-f2edd6441cff" providerId="ADAL" clId="{BEA2F687-CD5D-42D8-AE89-CEDDE2665B30}" dt="2021-05-15T03:29:51.482" v="6467"/>
          <ac:spMkLst>
            <pc:docMk/>
            <pc:sldMk cId="3369082074" sldId="288"/>
            <ac:spMk id="12" creationId="{D5ECFD17-2048-432A-A949-4884FDD82537}"/>
          </ac:spMkLst>
        </pc:spChg>
        <pc:spChg chg="add del mod modVis">
          <ac:chgData name="Aniket Chhabra" userId="598e0514-bef3-4e71-b6aa-f2edd6441cff" providerId="ADAL" clId="{BEA2F687-CD5D-42D8-AE89-CEDDE2665B30}" dt="2021-05-15T03:29:54.293" v="6529"/>
          <ac:spMkLst>
            <pc:docMk/>
            <pc:sldMk cId="3369082074" sldId="288"/>
            <ac:spMk id="13" creationId="{F2248D70-449B-441C-A2E1-BD6EFE36D889}"/>
          </ac:spMkLst>
        </pc:spChg>
        <pc:spChg chg="add del mod modVis">
          <ac:chgData name="Aniket Chhabra" userId="598e0514-bef3-4e71-b6aa-f2edd6441cff" providerId="ADAL" clId="{BEA2F687-CD5D-42D8-AE89-CEDDE2665B30}" dt="2021-05-15T03:30:25.871" v="6762"/>
          <ac:spMkLst>
            <pc:docMk/>
            <pc:sldMk cId="3369082074" sldId="288"/>
            <ac:spMk id="14" creationId="{FA2B0A4B-F65B-466A-A219-92CAD85A6FE1}"/>
          </ac:spMkLst>
        </pc:spChg>
        <pc:spChg chg="add del mod modVis">
          <ac:chgData name="Aniket Chhabra" userId="598e0514-bef3-4e71-b6aa-f2edd6441cff" providerId="ADAL" clId="{BEA2F687-CD5D-42D8-AE89-CEDDE2665B30}" dt="2021-05-15T03:30:30.088" v="6825"/>
          <ac:spMkLst>
            <pc:docMk/>
            <pc:sldMk cId="3369082074" sldId="288"/>
            <ac:spMk id="15" creationId="{12B04F82-AD0F-4C2B-AF8C-33199DE20B6B}"/>
          </ac:spMkLst>
        </pc:spChg>
        <pc:spChg chg="add del mod modVis">
          <ac:chgData name="Aniket Chhabra" userId="598e0514-bef3-4e71-b6aa-f2edd6441cff" providerId="ADAL" clId="{BEA2F687-CD5D-42D8-AE89-CEDDE2665B30}" dt="2021-05-15T03:30:30.945" v="6885"/>
          <ac:spMkLst>
            <pc:docMk/>
            <pc:sldMk cId="3369082074" sldId="288"/>
            <ac:spMk id="16" creationId="{C8E94EAD-68F1-4A73-9164-C30C559ED06D}"/>
          </ac:spMkLst>
        </pc:spChg>
        <pc:spChg chg="add del mod modVis">
          <ac:chgData name="Aniket Chhabra" userId="598e0514-bef3-4e71-b6aa-f2edd6441cff" providerId="ADAL" clId="{BEA2F687-CD5D-42D8-AE89-CEDDE2665B30}" dt="2021-05-15T03:30:32.528" v="6943"/>
          <ac:spMkLst>
            <pc:docMk/>
            <pc:sldMk cId="3369082074" sldId="288"/>
            <ac:spMk id="17" creationId="{39E066B5-E377-40EB-98D1-36DC18A17A11}"/>
          </ac:spMkLst>
        </pc:spChg>
        <pc:spChg chg="mod">
          <ac:chgData name="Aniket Chhabra" userId="598e0514-bef3-4e71-b6aa-f2edd6441cff" providerId="ADAL" clId="{BEA2F687-CD5D-42D8-AE89-CEDDE2665B30}" dt="2021-05-15T08:52:03.539" v="11713" actId="20577"/>
          <ac:spMkLst>
            <pc:docMk/>
            <pc:sldMk cId="3369082074" sldId="288"/>
            <ac:spMk id="19" creationId="{58A59DC6-D3D0-4BB1-93BC-9ECA02D2F6F8}"/>
          </ac:spMkLst>
        </pc:spChg>
        <pc:spChg chg="add del mod modVis">
          <ac:chgData name="Aniket Chhabra" userId="598e0514-bef3-4e71-b6aa-f2edd6441cff" providerId="ADAL" clId="{BEA2F687-CD5D-42D8-AE89-CEDDE2665B30}" dt="2021-05-15T06:57:36.433" v="10295"/>
          <ac:spMkLst>
            <pc:docMk/>
            <pc:sldMk cId="3369082074" sldId="288"/>
            <ac:spMk id="33" creationId="{76655475-F649-4C42-9BC0-3A883DAE632C}"/>
          </ac:spMkLst>
        </pc:spChg>
        <pc:spChg chg="add del mod modVis">
          <ac:chgData name="Aniket Chhabra" userId="598e0514-bef3-4e71-b6aa-f2edd6441cff" providerId="ADAL" clId="{BEA2F687-CD5D-42D8-AE89-CEDDE2665B30}" dt="2021-05-15T06:57:37.070" v="10353"/>
          <ac:spMkLst>
            <pc:docMk/>
            <pc:sldMk cId="3369082074" sldId="288"/>
            <ac:spMk id="34" creationId="{75CD4DE4-4182-4B34-A936-6FCF38BDE8EF}"/>
          </ac:spMkLst>
        </pc:spChg>
        <pc:spChg chg="add del mod modVis">
          <ac:chgData name="Aniket Chhabra" userId="598e0514-bef3-4e71-b6aa-f2edd6441cff" providerId="ADAL" clId="{BEA2F687-CD5D-42D8-AE89-CEDDE2665B30}" dt="2021-05-15T06:57:37.835" v="10411"/>
          <ac:spMkLst>
            <pc:docMk/>
            <pc:sldMk cId="3369082074" sldId="288"/>
            <ac:spMk id="35" creationId="{A55632B7-D821-4383-82B9-77C03794ACD6}"/>
          </ac:spMkLst>
        </pc:spChg>
        <pc:spChg chg="add del mod modVis">
          <ac:chgData name="Aniket Chhabra" userId="598e0514-bef3-4e71-b6aa-f2edd6441cff" providerId="ADAL" clId="{BEA2F687-CD5D-42D8-AE89-CEDDE2665B30}" dt="2021-05-15T06:57:41.304" v="10457"/>
          <ac:spMkLst>
            <pc:docMk/>
            <pc:sldMk cId="3369082074" sldId="288"/>
            <ac:spMk id="36" creationId="{6F0DAE73-B4AB-476B-B11C-A834642AA3A9}"/>
          </ac:spMkLst>
        </pc:spChg>
        <pc:spChg chg="add del mod modVis">
          <ac:chgData name="Aniket Chhabra" userId="598e0514-bef3-4e71-b6aa-f2edd6441cff" providerId="ADAL" clId="{BEA2F687-CD5D-42D8-AE89-CEDDE2665B30}" dt="2021-05-15T06:57:43.031" v="10500"/>
          <ac:spMkLst>
            <pc:docMk/>
            <pc:sldMk cId="3369082074" sldId="288"/>
            <ac:spMk id="37" creationId="{87EAB08F-B873-4F77-B558-8E42092015B4}"/>
          </ac:spMkLst>
        </pc:spChg>
        <pc:spChg chg="add del mod modVis">
          <ac:chgData name="Aniket Chhabra" userId="598e0514-bef3-4e71-b6aa-f2edd6441cff" providerId="ADAL" clId="{BEA2F687-CD5D-42D8-AE89-CEDDE2665B30}" dt="2021-05-15T06:57:46.788" v="10554"/>
          <ac:spMkLst>
            <pc:docMk/>
            <pc:sldMk cId="3369082074" sldId="288"/>
            <ac:spMk id="38" creationId="{460357BC-CDE6-45CC-9052-ADE0B60625D2}"/>
          </ac:spMkLst>
        </pc:spChg>
        <pc:spChg chg="add del mod modVis">
          <ac:chgData name="Aniket Chhabra" userId="598e0514-bef3-4e71-b6aa-f2edd6441cff" providerId="ADAL" clId="{BEA2F687-CD5D-42D8-AE89-CEDDE2665B30}" dt="2021-05-15T06:57:49.152" v="10612"/>
          <ac:spMkLst>
            <pc:docMk/>
            <pc:sldMk cId="3369082074" sldId="288"/>
            <ac:spMk id="39" creationId="{18757FFB-E4A6-4B22-9FC4-8BA030520617}"/>
          </ac:spMkLst>
        </pc:spChg>
        <pc:spChg chg="add del mod modVis">
          <ac:chgData name="Aniket Chhabra" userId="598e0514-bef3-4e71-b6aa-f2edd6441cff" providerId="ADAL" clId="{BEA2F687-CD5D-42D8-AE89-CEDDE2665B30}" dt="2021-05-15T06:59:23.005" v="10675"/>
          <ac:spMkLst>
            <pc:docMk/>
            <pc:sldMk cId="3369082074" sldId="288"/>
            <ac:spMk id="40" creationId="{FE60E0C6-3FF1-4A38-A839-EA2BBCF5449F}"/>
          </ac:spMkLst>
        </pc:spChg>
        <pc:spChg chg="add del mod modVis">
          <ac:chgData name="Aniket Chhabra" userId="598e0514-bef3-4e71-b6aa-f2edd6441cff" providerId="ADAL" clId="{BEA2F687-CD5D-42D8-AE89-CEDDE2665B30}" dt="2021-05-15T06:59:23.595" v="10733"/>
          <ac:spMkLst>
            <pc:docMk/>
            <pc:sldMk cId="3369082074" sldId="288"/>
            <ac:spMk id="41" creationId="{7E36BAC8-0D77-49DB-8AF1-781DC83E5D80}"/>
          </ac:spMkLst>
        </pc:spChg>
        <pc:spChg chg="add del mod modVis">
          <ac:chgData name="Aniket Chhabra" userId="598e0514-bef3-4e71-b6aa-f2edd6441cff" providerId="ADAL" clId="{BEA2F687-CD5D-42D8-AE89-CEDDE2665B30}" dt="2021-05-15T06:59:25.015" v="10793"/>
          <ac:spMkLst>
            <pc:docMk/>
            <pc:sldMk cId="3369082074" sldId="288"/>
            <ac:spMk id="42" creationId="{C3DF2577-EDCB-45DE-B917-CA39DAB8F1B6}"/>
          </ac:spMkLst>
        </pc:spChg>
        <pc:graphicFrameChg chg="mod">
          <ac:chgData name="Aniket Chhabra" userId="598e0514-bef3-4e71-b6aa-f2edd6441cff" providerId="ADAL" clId="{BEA2F687-CD5D-42D8-AE89-CEDDE2665B30}" dt="2021-05-15T06:59:25.015" v="10795"/>
          <ac:graphicFrameMkLst>
            <pc:docMk/>
            <pc:sldMk cId="3369082074" sldId="288"/>
            <ac:graphicFrameMk id="6" creationId="{D9F5E603-548B-4576-BBB6-A50532C3D243}"/>
          </ac:graphicFrameMkLst>
        </pc:graphicFrameChg>
        <pc:picChg chg="del">
          <ac:chgData name="Aniket Chhabra" userId="598e0514-bef3-4e71-b6aa-f2edd6441cff" providerId="ADAL" clId="{BEA2F687-CD5D-42D8-AE89-CEDDE2665B30}" dt="2021-05-15T03:30:22.096" v="6706" actId="478"/>
          <ac:picMkLst>
            <pc:docMk/>
            <pc:sldMk cId="3369082074" sldId="288"/>
            <ac:picMk id="4" creationId="{28DF1776-4688-4184-8056-D3B5204963E1}"/>
          </ac:picMkLst>
        </pc:picChg>
        <pc:picChg chg="add del">
          <ac:chgData name="Aniket Chhabra" userId="598e0514-bef3-4e71-b6aa-f2edd6441cff" providerId="ADAL" clId="{BEA2F687-CD5D-42D8-AE89-CEDDE2665B30}" dt="2021-05-15T03:43:28.192" v="7465" actId="478"/>
          <ac:picMkLst>
            <pc:docMk/>
            <pc:sldMk cId="3369082074" sldId="288"/>
            <ac:picMk id="20" creationId="{E7D5154F-8DF6-4A5C-800E-65B23628E98C}"/>
          </ac:picMkLst>
        </pc:picChg>
        <pc:picChg chg="add mod">
          <ac:chgData name="Aniket Chhabra" userId="598e0514-bef3-4e71-b6aa-f2edd6441cff" providerId="ADAL" clId="{BEA2F687-CD5D-42D8-AE89-CEDDE2665B30}" dt="2021-05-15T03:50:10.948" v="7516" actId="14100"/>
          <ac:picMkLst>
            <pc:docMk/>
            <pc:sldMk cId="3369082074" sldId="288"/>
            <ac:picMk id="22" creationId="{46A6BBE5-82A0-45D0-9362-714303403AB0}"/>
          </ac:picMkLst>
        </pc:picChg>
        <pc:picChg chg="add del">
          <ac:chgData name="Aniket Chhabra" userId="598e0514-bef3-4e71-b6aa-f2edd6441cff" providerId="ADAL" clId="{BEA2F687-CD5D-42D8-AE89-CEDDE2665B30}" dt="2021-05-15T03:49:33.998" v="7502" actId="478"/>
          <ac:picMkLst>
            <pc:docMk/>
            <pc:sldMk cId="3369082074" sldId="288"/>
            <ac:picMk id="24" creationId="{BA30EDDE-57A3-44E8-8E64-4EFB1958A29B}"/>
          </ac:picMkLst>
        </pc:picChg>
        <pc:picChg chg="add mod">
          <ac:chgData name="Aniket Chhabra" userId="598e0514-bef3-4e71-b6aa-f2edd6441cff" providerId="ADAL" clId="{BEA2F687-CD5D-42D8-AE89-CEDDE2665B30}" dt="2021-05-15T03:50:07.936" v="7515" actId="1076"/>
          <ac:picMkLst>
            <pc:docMk/>
            <pc:sldMk cId="3369082074" sldId="288"/>
            <ac:picMk id="26" creationId="{006D12FA-0EEE-4929-BA51-E85995209E48}"/>
          </ac:picMkLst>
        </pc:picChg>
        <pc:picChg chg="add del">
          <ac:chgData name="Aniket Chhabra" userId="598e0514-bef3-4e71-b6aa-f2edd6441cff" providerId="ADAL" clId="{BEA2F687-CD5D-42D8-AE89-CEDDE2665B30}" dt="2021-05-15T03:55:28.824" v="7536" actId="478"/>
          <ac:picMkLst>
            <pc:docMk/>
            <pc:sldMk cId="3369082074" sldId="288"/>
            <ac:picMk id="28" creationId="{75197604-29E1-4FDE-A10C-8CDAE2E2A35F}"/>
          </ac:picMkLst>
        </pc:picChg>
        <pc:picChg chg="add del mod">
          <ac:chgData name="Aniket Chhabra" userId="598e0514-bef3-4e71-b6aa-f2edd6441cff" providerId="ADAL" clId="{BEA2F687-CD5D-42D8-AE89-CEDDE2665B30}" dt="2021-05-15T03:55:51.479" v="7546" actId="21"/>
          <ac:picMkLst>
            <pc:docMk/>
            <pc:sldMk cId="3369082074" sldId="288"/>
            <ac:picMk id="30" creationId="{4596FC30-A823-4B6B-8B40-D2E06B97B4B6}"/>
          </ac:picMkLst>
        </pc:picChg>
        <pc:picChg chg="add mod">
          <ac:chgData name="Aniket Chhabra" userId="598e0514-bef3-4e71-b6aa-f2edd6441cff" providerId="ADAL" clId="{BEA2F687-CD5D-42D8-AE89-CEDDE2665B30}" dt="2021-05-15T03:57:12.777" v="7761" actId="1076"/>
          <ac:picMkLst>
            <pc:docMk/>
            <pc:sldMk cId="3369082074" sldId="288"/>
            <ac:picMk id="32" creationId="{F4D11DC8-F5A7-4EDB-B96C-091EFDDD181E}"/>
          </ac:picMkLst>
        </pc:picChg>
      </pc:sldChg>
      <pc:sldChg chg="addSp delSp modSp new add mod">
        <pc:chgData name="Aniket Chhabra" userId="598e0514-bef3-4e71-b6aa-f2edd6441cff" providerId="ADAL" clId="{BEA2F687-CD5D-42D8-AE89-CEDDE2665B30}" dt="2021-05-15T07:18:44.401" v="10952" actId="14100"/>
        <pc:sldMkLst>
          <pc:docMk/>
          <pc:sldMk cId="603795454" sldId="289"/>
        </pc:sldMkLst>
        <pc:spChg chg="del">
          <ac:chgData name="Aniket Chhabra" userId="598e0514-bef3-4e71-b6aa-f2edd6441cff" providerId="ADAL" clId="{BEA2F687-CD5D-42D8-AE89-CEDDE2665B30}" dt="2021-05-15T07:09:20.493" v="10826" actId="478"/>
          <ac:spMkLst>
            <pc:docMk/>
            <pc:sldMk cId="603795454" sldId="289"/>
            <ac:spMk id="2" creationId="{1C53B4F2-2A47-4197-AEFD-4F2028BF013C}"/>
          </ac:spMkLst>
        </pc:spChg>
        <pc:spChg chg="del">
          <ac:chgData name="Aniket Chhabra" userId="598e0514-bef3-4e71-b6aa-f2edd6441cff" providerId="ADAL" clId="{BEA2F687-CD5D-42D8-AE89-CEDDE2665B30}" dt="2021-05-15T07:09:20.493" v="10826" actId="478"/>
          <ac:spMkLst>
            <pc:docMk/>
            <pc:sldMk cId="603795454" sldId="289"/>
            <ac:spMk id="3" creationId="{CA7E4C24-B4D0-46B9-9903-87FED154D3A2}"/>
          </ac:spMkLst>
        </pc:spChg>
        <pc:spChg chg="add del mod">
          <ac:chgData name="Aniket Chhabra" userId="598e0514-bef3-4e71-b6aa-f2edd6441cff" providerId="ADAL" clId="{BEA2F687-CD5D-42D8-AE89-CEDDE2665B30}" dt="2021-05-15T07:11:19.512" v="10888" actId="478"/>
          <ac:spMkLst>
            <pc:docMk/>
            <pc:sldMk cId="603795454" sldId="289"/>
            <ac:spMk id="12" creationId="{B7E13F7E-F824-4271-8783-6378FE45D720}"/>
          </ac:spMkLst>
        </pc:spChg>
        <pc:spChg chg="add mod">
          <ac:chgData name="Aniket Chhabra" userId="598e0514-bef3-4e71-b6aa-f2edd6441cff" providerId="ADAL" clId="{BEA2F687-CD5D-42D8-AE89-CEDDE2665B30}" dt="2021-05-15T07:11:27.422" v="10889" actId="164"/>
          <ac:spMkLst>
            <pc:docMk/>
            <pc:sldMk cId="603795454" sldId="289"/>
            <ac:spMk id="13" creationId="{8B36D79A-3317-4FB2-A7FB-0940C43B3E38}"/>
          </ac:spMkLst>
        </pc:spChg>
        <pc:spChg chg="add mod">
          <ac:chgData name="Aniket Chhabra" userId="598e0514-bef3-4e71-b6aa-f2edd6441cff" providerId="ADAL" clId="{BEA2F687-CD5D-42D8-AE89-CEDDE2665B30}" dt="2021-05-15T07:18:39.701" v="10949" actId="403"/>
          <ac:spMkLst>
            <pc:docMk/>
            <pc:sldMk cId="603795454" sldId="289"/>
            <ac:spMk id="14" creationId="{E04BDCCC-FA69-4BE5-AAC0-5E8B4826031C}"/>
          </ac:spMkLst>
        </pc:spChg>
        <pc:grpChg chg="add mod">
          <ac:chgData name="Aniket Chhabra" userId="598e0514-bef3-4e71-b6aa-f2edd6441cff" providerId="ADAL" clId="{BEA2F687-CD5D-42D8-AE89-CEDDE2665B30}" dt="2021-05-15T07:18:44.401" v="10952" actId="14100"/>
          <ac:grpSpMkLst>
            <pc:docMk/>
            <pc:sldMk cId="603795454" sldId="289"/>
            <ac:grpSpMk id="15" creationId="{415AE3F7-8DFD-48BD-BE3C-2A39508804B1}"/>
          </ac:grpSpMkLst>
        </pc:grpChg>
        <pc:graphicFrameChg chg="add mod ord modVis">
          <ac:chgData name="Aniket Chhabra" userId="598e0514-bef3-4e71-b6aa-f2edd6441cff" providerId="ADAL" clId="{BEA2F687-CD5D-42D8-AE89-CEDDE2665B30}" dt="2021-05-15T07:09:21.187" v="10843"/>
          <ac:graphicFrameMkLst>
            <pc:docMk/>
            <pc:sldMk cId="603795454" sldId="289"/>
            <ac:graphicFrameMk id="9" creationId="{FA0C3038-4D95-4DDB-8628-407CF2BC4743}"/>
          </ac:graphicFrameMkLst>
        </pc:graphicFrameChg>
        <pc:picChg chg="add del mod">
          <ac:chgData name="Aniket Chhabra" userId="598e0514-bef3-4e71-b6aa-f2edd6441cff" providerId="ADAL" clId="{BEA2F687-CD5D-42D8-AE89-CEDDE2665B30}" dt="2021-05-15T04:28:00.997" v="9021" actId="478"/>
          <ac:picMkLst>
            <pc:docMk/>
            <pc:sldMk cId="603795454" sldId="289"/>
            <ac:picMk id="4" creationId="{F2659457-95DB-4B93-BF5B-5B83624E3931}"/>
          </ac:picMkLst>
        </pc:picChg>
        <pc:picChg chg="add del mod">
          <ac:chgData name="Aniket Chhabra" userId="598e0514-bef3-4e71-b6aa-f2edd6441cff" providerId="ADAL" clId="{BEA2F687-CD5D-42D8-AE89-CEDDE2665B30}" dt="2021-05-15T07:09:17.754" v="10825" actId="478"/>
          <ac:picMkLst>
            <pc:docMk/>
            <pc:sldMk cId="603795454" sldId="289"/>
            <ac:picMk id="6" creationId="{AC52C384-8A0D-4B03-9BF8-A5859F0F5477}"/>
          </ac:picMkLst>
        </pc:picChg>
        <pc:picChg chg="add del">
          <ac:chgData name="Aniket Chhabra" userId="598e0514-bef3-4e71-b6aa-f2edd6441cff" providerId="ADAL" clId="{BEA2F687-CD5D-42D8-AE89-CEDDE2665B30}" dt="2021-05-15T07:09:33.494" v="10844" actId="478"/>
          <ac:picMkLst>
            <pc:docMk/>
            <pc:sldMk cId="603795454" sldId="289"/>
            <ac:picMk id="8" creationId="{170BD865-BA60-42BC-8417-4558AA0EDDE6}"/>
          </ac:picMkLst>
        </pc:picChg>
        <pc:picChg chg="add mod">
          <ac:chgData name="Aniket Chhabra" userId="598e0514-bef3-4e71-b6aa-f2edd6441cff" providerId="ADAL" clId="{BEA2F687-CD5D-42D8-AE89-CEDDE2665B30}" dt="2021-05-15T07:14:39.305" v="10899" actId="1076"/>
          <ac:picMkLst>
            <pc:docMk/>
            <pc:sldMk cId="603795454" sldId="289"/>
            <ac:picMk id="11" creationId="{EE3479BC-23B1-464C-B79C-8A7F8D9018AE}"/>
          </ac:picMkLst>
        </pc:picChg>
        <pc:picChg chg="add del">
          <ac:chgData name="Aniket Chhabra" userId="598e0514-bef3-4e71-b6aa-f2edd6441cff" providerId="ADAL" clId="{BEA2F687-CD5D-42D8-AE89-CEDDE2665B30}" dt="2021-05-15T07:15:13.632" v="10906" actId="478"/>
          <ac:picMkLst>
            <pc:docMk/>
            <pc:sldMk cId="603795454" sldId="289"/>
            <ac:picMk id="17" creationId="{E7CE695D-5BC1-41C7-93EC-F4E34C309183}"/>
          </ac:picMkLst>
        </pc:picChg>
        <pc:picChg chg="add del mod">
          <ac:chgData name="Aniket Chhabra" userId="598e0514-bef3-4e71-b6aa-f2edd6441cff" providerId="ADAL" clId="{BEA2F687-CD5D-42D8-AE89-CEDDE2665B30}" dt="2021-05-15T07:18:41.438" v="10950" actId="21"/>
          <ac:picMkLst>
            <pc:docMk/>
            <pc:sldMk cId="603795454" sldId="289"/>
            <ac:picMk id="19" creationId="{38346FC4-4D0E-4ED4-9524-2AAB5D62CAF8}"/>
          </ac:picMkLst>
        </pc:picChg>
        <pc:picChg chg="add del">
          <ac:chgData name="Aniket Chhabra" userId="598e0514-bef3-4e71-b6aa-f2edd6441cff" providerId="ADAL" clId="{BEA2F687-CD5D-42D8-AE89-CEDDE2665B30}" dt="2021-05-15T07:16:16.867" v="10936" actId="21"/>
          <ac:picMkLst>
            <pc:docMk/>
            <pc:sldMk cId="603795454" sldId="289"/>
            <ac:picMk id="21" creationId="{3AAAE4B8-07F6-4CDD-A14E-889F8D808E79}"/>
          </ac:picMkLst>
        </pc:picChg>
      </pc:sldChg>
      <pc:sldChg chg="addSp delSp modSp add mod">
        <pc:chgData name="Aniket Chhabra" userId="598e0514-bef3-4e71-b6aa-f2edd6441cff" providerId="ADAL" clId="{BEA2F687-CD5D-42D8-AE89-CEDDE2665B30}" dt="2021-05-15T04:54:47.946" v="9591" actId="20577"/>
        <pc:sldMkLst>
          <pc:docMk/>
          <pc:sldMk cId="1570190408" sldId="290"/>
        </pc:sldMkLst>
        <pc:spChg chg="mod">
          <ac:chgData name="Aniket Chhabra" userId="598e0514-bef3-4e71-b6aa-f2edd6441cff" providerId="ADAL" clId="{BEA2F687-CD5D-42D8-AE89-CEDDE2665B30}" dt="2021-05-15T04:22:24.327" v="8481" actId="948"/>
          <ac:spMkLst>
            <pc:docMk/>
            <pc:sldMk cId="1570190408" sldId="290"/>
            <ac:spMk id="2" creationId="{7183013F-CCFC-4588-B693-22F514492FED}"/>
          </ac:spMkLst>
        </pc:spChg>
        <pc:spChg chg="add del mod modVis">
          <ac:chgData name="Aniket Chhabra" userId="598e0514-bef3-4e71-b6aa-f2edd6441cff" providerId="ADAL" clId="{BEA2F687-CD5D-42D8-AE89-CEDDE2665B30}" dt="2021-05-15T04:22:03.093" v="7822"/>
          <ac:spMkLst>
            <pc:docMk/>
            <pc:sldMk cId="1570190408" sldId="290"/>
            <ac:spMk id="3" creationId="{4AAAAC2C-F661-47A2-8CA9-35FF990930FF}"/>
          </ac:spMkLst>
        </pc:spChg>
        <pc:spChg chg="add del mod modVis">
          <ac:chgData name="Aniket Chhabra" userId="598e0514-bef3-4e71-b6aa-f2edd6441cff" providerId="ADAL" clId="{BEA2F687-CD5D-42D8-AE89-CEDDE2665B30}" dt="2021-05-15T04:22:04.146" v="7880"/>
          <ac:spMkLst>
            <pc:docMk/>
            <pc:sldMk cId="1570190408" sldId="290"/>
            <ac:spMk id="5" creationId="{A8266683-BFA8-4DA9-AED4-F256390370E3}"/>
          </ac:spMkLst>
        </pc:spChg>
        <pc:spChg chg="add del mod modVis">
          <ac:chgData name="Aniket Chhabra" userId="598e0514-bef3-4e71-b6aa-f2edd6441cff" providerId="ADAL" clId="{BEA2F687-CD5D-42D8-AE89-CEDDE2665B30}" dt="2021-05-15T04:22:06.281" v="7940"/>
          <ac:spMkLst>
            <pc:docMk/>
            <pc:sldMk cId="1570190408" sldId="290"/>
            <ac:spMk id="7" creationId="{FF69337D-B41D-43AA-8FB6-D64E3FBD01F9}"/>
          </ac:spMkLst>
        </pc:spChg>
        <pc:spChg chg="add del mod modVis">
          <ac:chgData name="Aniket Chhabra" userId="598e0514-bef3-4e71-b6aa-f2edd6441cff" providerId="ADAL" clId="{BEA2F687-CD5D-42D8-AE89-CEDDE2665B30}" dt="2021-05-15T04:22:07.879" v="7999"/>
          <ac:spMkLst>
            <pc:docMk/>
            <pc:sldMk cId="1570190408" sldId="290"/>
            <ac:spMk id="8" creationId="{DA760195-D11C-4898-BD36-B617545B42FD}"/>
          </ac:spMkLst>
        </pc:spChg>
        <pc:spChg chg="add del mod modVis">
          <ac:chgData name="Aniket Chhabra" userId="598e0514-bef3-4e71-b6aa-f2edd6441cff" providerId="ADAL" clId="{BEA2F687-CD5D-42D8-AE89-CEDDE2665B30}" dt="2021-05-15T04:22:10.601" v="8042"/>
          <ac:spMkLst>
            <pc:docMk/>
            <pc:sldMk cId="1570190408" sldId="290"/>
            <ac:spMk id="9" creationId="{238073BF-74A6-4A6A-A7D6-32A80D114AAE}"/>
          </ac:spMkLst>
        </pc:spChg>
        <pc:spChg chg="add del mod modVis">
          <ac:chgData name="Aniket Chhabra" userId="598e0514-bef3-4e71-b6aa-f2edd6441cff" providerId="ADAL" clId="{BEA2F687-CD5D-42D8-AE89-CEDDE2665B30}" dt="2021-05-15T04:22:12.098" v="8089"/>
          <ac:spMkLst>
            <pc:docMk/>
            <pc:sldMk cId="1570190408" sldId="290"/>
            <ac:spMk id="10" creationId="{354190A6-A2AE-4F5C-A93B-9ECA6EC2859B}"/>
          </ac:spMkLst>
        </pc:spChg>
        <pc:spChg chg="add del mod modVis">
          <ac:chgData name="Aniket Chhabra" userId="598e0514-bef3-4e71-b6aa-f2edd6441cff" providerId="ADAL" clId="{BEA2F687-CD5D-42D8-AE89-CEDDE2665B30}" dt="2021-05-15T04:22:14.302" v="8140"/>
          <ac:spMkLst>
            <pc:docMk/>
            <pc:sldMk cId="1570190408" sldId="290"/>
            <ac:spMk id="11" creationId="{12F18500-1420-4B26-8B3A-173AFB6B156A}"/>
          </ac:spMkLst>
        </pc:spChg>
        <pc:spChg chg="add del mod modVis">
          <ac:chgData name="Aniket Chhabra" userId="598e0514-bef3-4e71-b6aa-f2edd6441cff" providerId="ADAL" clId="{BEA2F687-CD5D-42D8-AE89-CEDDE2665B30}" dt="2021-05-15T04:22:15.258" v="8185"/>
          <ac:spMkLst>
            <pc:docMk/>
            <pc:sldMk cId="1570190408" sldId="290"/>
            <ac:spMk id="12" creationId="{EEA82089-0AD1-438A-9AEB-F74BF5E30C82}"/>
          </ac:spMkLst>
        </pc:spChg>
        <pc:spChg chg="add del mod modVis">
          <ac:chgData name="Aniket Chhabra" userId="598e0514-bef3-4e71-b6aa-f2edd6441cff" providerId="ADAL" clId="{BEA2F687-CD5D-42D8-AE89-CEDDE2665B30}" dt="2021-05-15T04:22:16.333" v="8232"/>
          <ac:spMkLst>
            <pc:docMk/>
            <pc:sldMk cId="1570190408" sldId="290"/>
            <ac:spMk id="13" creationId="{88E6D601-9CA1-4C8D-843D-A4214F6EBE19}"/>
          </ac:spMkLst>
        </pc:spChg>
        <pc:spChg chg="add del mod modVis">
          <ac:chgData name="Aniket Chhabra" userId="598e0514-bef3-4e71-b6aa-f2edd6441cff" providerId="ADAL" clId="{BEA2F687-CD5D-42D8-AE89-CEDDE2665B30}" dt="2021-05-15T04:22:17.914" v="8290"/>
          <ac:spMkLst>
            <pc:docMk/>
            <pc:sldMk cId="1570190408" sldId="290"/>
            <ac:spMk id="14" creationId="{119DB315-0AB7-49C2-AA05-39D81B6EACE6}"/>
          </ac:spMkLst>
        </pc:spChg>
        <pc:spChg chg="del">
          <ac:chgData name="Aniket Chhabra" userId="598e0514-bef3-4e71-b6aa-f2edd6441cff" providerId="ADAL" clId="{BEA2F687-CD5D-42D8-AE89-CEDDE2665B30}" dt="2021-05-15T04:24:28.097" v="8649" actId="478"/>
          <ac:spMkLst>
            <pc:docMk/>
            <pc:sldMk cId="1570190408" sldId="290"/>
            <ac:spMk id="15" creationId="{A04CC799-8FE4-45BE-988F-82D3CBC8AE46}"/>
          </ac:spMkLst>
        </pc:spChg>
        <pc:spChg chg="add del mod modVis">
          <ac:chgData name="Aniket Chhabra" userId="598e0514-bef3-4e71-b6aa-f2edd6441cff" providerId="ADAL" clId="{BEA2F687-CD5D-42D8-AE89-CEDDE2665B30}" dt="2021-05-15T04:22:19.035" v="8350"/>
          <ac:spMkLst>
            <pc:docMk/>
            <pc:sldMk cId="1570190408" sldId="290"/>
            <ac:spMk id="16" creationId="{2804D69C-A055-476F-A913-EF6ACFF3CA06}"/>
          </ac:spMkLst>
        </pc:spChg>
        <pc:spChg chg="add del mod modVis">
          <ac:chgData name="Aniket Chhabra" userId="598e0514-bef3-4e71-b6aa-f2edd6441cff" providerId="ADAL" clId="{BEA2F687-CD5D-42D8-AE89-CEDDE2665B30}" dt="2021-05-15T04:22:19.806" v="8409"/>
          <ac:spMkLst>
            <pc:docMk/>
            <pc:sldMk cId="1570190408" sldId="290"/>
            <ac:spMk id="17" creationId="{3794DA60-AB70-4A8B-87D4-6A4453FAFD6F}"/>
          </ac:spMkLst>
        </pc:spChg>
        <pc:spChg chg="add del mod modVis">
          <ac:chgData name="Aniket Chhabra" userId="598e0514-bef3-4e71-b6aa-f2edd6441cff" providerId="ADAL" clId="{BEA2F687-CD5D-42D8-AE89-CEDDE2665B30}" dt="2021-05-15T04:22:21.719" v="8468"/>
          <ac:spMkLst>
            <pc:docMk/>
            <pc:sldMk cId="1570190408" sldId="290"/>
            <ac:spMk id="18" creationId="{B781F1BA-6944-4E20-9614-C55A7E945BF0}"/>
          </ac:spMkLst>
        </pc:spChg>
        <pc:spChg chg="mod">
          <ac:chgData name="Aniket Chhabra" userId="598e0514-bef3-4e71-b6aa-f2edd6441cff" providerId="ADAL" clId="{BEA2F687-CD5D-42D8-AE89-CEDDE2665B30}" dt="2021-05-15T04:54:47.946" v="9591" actId="20577"/>
          <ac:spMkLst>
            <pc:docMk/>
            <pc:sldMk cId="1570190408" sldId="290"/>
            <ac:spMk id="19" creationId="{58A59DC6-D3D0-4BB1-93BC-9ECA02D2F6F8}"/>
          </ac:spMkLst>
        </pc:spChg>
        <pc:spChg chg="add del mod modVis">
          <ac:chgData name="Aniket Chhabra" userId="598e0514-bef3-4e71-b6aa-f2edd6441cff" providerId="ADAL" clId="{BEA2F687-CD5D-42D8-AE89-CEDDE2665B30}" dt="2021-05-15T04:22:24.376" v="8535"/>
          <ac:spMkLst>
            <pc:docMk/>
            <pc:sldMk cId="1570190408" sldId="290"/>
            <ac:spMk id="20" creationId="{BD1CBD4A-D491-420C-99DC-792F9ED6D068}"/>
          </ac:spMkLst>
        </pc:spChg>
        <pc:graphicFrameChg chg="mod">
          <ac:chgData name="Aniket Chhabra" userId="598e0514-bef3-4e71-b6aa-f2edd6441cff" providerId="ADAL" clId="{BEA2F687-CD5D-42D8-AE89-CEDDE2665B30}" dt="2021-05-15T04:22:24.379" v="8537"/>
          <ac:graphicFrameMkLst>
            <pc:docMk/>
            <pc:sldMk cId="1570190408" sldId="290"/>
            <ac:graphicFrameMk id="6" creationId="{D9F5E603-548B-4576-BBB6-A50532C3D243}"/>
          </ac:graphicFrameMkLst>
        </pc:graphicFrameChg>
        <pc:picChg chg="del">
          <ac:chgData name="Aniket Chhabra" userId="598e0514-bef3-4e71-b6aa-f2edd6441cff" providerId="ADAL" clId="{BEA2F687-CD5D-42D8-AE89-CEDDE2665B30}" dt="2021-05-15T04:22:26.342" v="8538" actId="478"/>
          <ac:picMkLst>
            <pc:docMk/>
            <pc:sldMk cId="1570190408" sldId="290"/>
            <ac:picMk id="4" creationId="{28DF1776-4688-4184-8056-D3B5204963E1}"/>
          </ac:picMkLst>
        </pc:picChg>
        <pc:picChg chg="add del mod">
          <ac:chgData name="Aniket Chhabra" userId="598e0514-bef3-4e71-b6aa-f2edd6441cff" providerId="ADAL" clId="{BEA2F687-CD5D-42D8-AE89-CEDDE2665B30}" dt="2021-05-15T04:37:33.461" v="9262" actId="478"/>
          <ac:picMkLst>
            <pc:docMk/>
            <pc:sldMk cId="1570190408" sldId="290"/>
            <ac:picMk id="22" creationId="{7B3CB0E3-4A36-45E0-87B8-94032AEF1286}"/>
          </ac:picMkLst>
        </pc:picChg>
        <pc:picChg chg="add del">
          <ac:chgData name="Aniket Chhabra" userId="598e0514-bef3-4e71-b6aa-f2edd6441cff" providerId="ADAL" clId="{BEA2F687-CD5D-42D8-AE89-CEDDE2665B30}" dt="2021-05-15T04:38:09.298" v="9265" actId="478"/>
          <ac:picMkLst>
            <pc:docMk/>
            <pc:sldMk cId="1570190408" sldId="290"/>
            <ac:picMk id="24" creationId="{5399B3F1-1702-49CD-9EE1-EBF354BE36B2}"/>
          </ac:picMkLst>
        </pc:picChg>
        <pc:picChg chg="add mod">
          <ac:chgData name="Aniket Chhabra" userId="598e0514-bef3-4e71-b6aa-f2edd6441cff" providerId="ADAL" clId="{BEA2F687-CD5D-42D8-AE89-CEDDE2665B30}" dt="2021-05-15T04:44:49.952" v="9307" actId="14100"/>
          <ac:picMkLst>
            <pc:docMk/>
            <pc:sldMk cId="1570190408" sldId="290"/>
            <ac:picMk id="26" creationId="{82D65F50-CE82-4CCF-BA96-BFC6E6A0E305}"/>
          </ac:picMkLst>
        </pc:picChg>
        <pc:picChg chg="add del">
          <ac:chgData name="Aniket Chhabra" userId="598e0514-bef3-4e71-b6aa-f2edd6441cff" providerId="ADAL" clId="{BEA2F687-CD5D-42D8-AE89-CEDDE2665B30}" dt="2021-05-15T04:43:56.921" v="9278" actId="478"/>
          <ac:picMkLst>
            <pc:docMk/>
            <pc:sldMk cId="1570190408" sldId="290"/>
            <ac:picMk id="28" creationId="{60BB58AE-342F-4E3B-A31D-7507E442700F}"/>
          </ac:picMkLst>
        </pc:picChg>
        <pc:picChg chg="add mod">
          <ac:chgData name="Aniket Chhabra" userId="598e0514-bef3-4e71-b6aa-f2edd6441cff" providerId="ADAL" clId="{BEA2F687-CD5D-42D8-AE89-CEDDE2665B30}" dt="2021-05-15T04:44:46.644" v="9306" actId="1037"/>
          <ac:picMkLst>
            <pc:docMk/>
            <pc:sldMk cId="1570190408" sldId="290"/>
            <ac:picMk id="30" creationId="{11139691-92FF-46B1-AE75-3280A963A97B}"/>
          </ac:picMkLst>
        </pc:picChg>
      </pc:sldChg>
      <pc:sldChg chg="new add del">
        <pc:chgData name="Aniket Chhabra" userId="598e0514-bef3-4e71-b6aa-f2edd6441cff" providerId="ADAL" clId="{BEA2F687-CD5D-42D8-AE89-CEDDE2665B30}" dt="2021-05-15T06:43:44.840" v="9677" actId="680"/>
        <pc:sldMkLst>
          <pc:docMk/>
          <pc:sldMk cId="617782689" sldId="291"/>
        </pc:sldMkLst>
      </pc:sldChg>
      <pc:sldChg chg="addSp delSp modSp add mod ord">
        <pc:chgData name="Aniket Chhabra" userId="598e0514-bef3-4e71-b6aa-f2edd6441cff" providerId="ADAL" clId="{BEA2F687-CD5D-42D8-AE89-CEDDE2665B30}" dt="2021-05-15T08:50:21.655" v="11707" actId="14100"/>
        <pc:sldMkLst>
          <pc:docMk/>
          <pc:sldMk cId="1222013260" sldId="291"/>
        </pc:sldMkLst>
        <pc:spChg chg="mod">
          <ac:chgData name="Aniket Chhabra" userId="598e0514-bef3-4e71-b6aa-f2edd6441cff" providerId="ADAL" clId="{BEA2F687-CD5D-42D8-AE89-CEDDE2665B30}" dt="2021-05-15T06:45:48.862" v="10031" actId="948"/>
          <ac:spMkLst>
            <pc:docMk/>
            <pc:sldMk cId="1222013260" sldId="291"/>
            <ac:spMk id="2" creationId="{7183013F-CCFC-4588-B693-22F514492FED}"/>
          </ac:spMkLst>
        </pc:spChg>
        <pc:spChg chg="add del mod modVis">
          <ac:chgData name="Aniket Chhabra" userId="598e0514-bef3-4e71-b6aa-f2edd6441cff" providerId="ADAL" clId="{BEA2F687-CD5D-42D8-AE89-CEDDE2665B30}" dt="2021-05-15T06:45:40.214" v="9799"/>
          <ac:spMkLst>
            <pc:docMk/>
            <pc:sldMk cId="1222013260" sldId="291"/>
            <ac:spMk id="5" creationId="{E7B2E64B-4AB8-4445-B007-1879F0FD15D2}"/>
          </ac:spMkLst>
        </pc:spChg>
        <pc:spChg chg="add del mod modVis">
          <ac:chgData name="Aniket Chhabra" userId="598e0514-bef3-4e71-b6aa-f2edd6441cff" providerId="ADAL" clId="{BEA2F687-CD5D-42D8-AE89-CEDDE2665B30}" dt="2021-05-15T06:45:40.885" v="9857"/>
          <ac:spMkLst>
            <pc:docMk/>
            <pc:sldMk cId="1222013260" sldId="291"/>
            <ac:spMk id="7" creationId="{3BCD8668-C277-4A2F-AD5A-AC7DA0536761}"/>
          </ac:spMkLst>
        </pc:spChg>
        <pc:spChg chg="add del mod modVis">
          <ac:chgData name="Aniket Chhabra" userId="598e0514-bef3-4e71-b6aa-f2edd6441cff" providerId="ADAL" clId="{BEA2F687-CD5D-42D8-AE89-CEDDE2665B30}" dt="2021-05-15T06:45:44.035" v="9903"/>
          <ac:spMkLst>
            <pc:docMk/>
            <pc:sldMk cId="1222013260" sldId="291"/>
            <ac:spMk id="8" creationId="{FF207358-5504-4063-838B-F3234FEBD2D7}"/>
          </ac:spMkLst>
        </pc:spChg>
        <pc:spChg chg="add del mod modVis">
          <ac:chgData name="Aniket Chhabra" userId="598e0514-bef3-4e71-b6aa-f2edd6441cff" providerId="ADAL" clId="{BEA2F687-CD5D-42D8-AE89-CEDDE2665B30}" dt="2021-05-15T06:45:45.097" v="9965"/>
          <ac:spMkLst>
            <pc:docMk/>
            <pc:sldMk cId="1222013260" sldId="291"/>
            <ac:spMk id="9" creationId="{FCF8257D-8316-470C-A7E8-822FAC441F9C}"/>
          </ac:spMkLst>
        </pc:spChg>
        <pc:spChg chg="add del mod modVis">
          <ac:chgData name="Aniket Chhabra" userId="598e0514-bef3-4e71-b6aa-f2edd6441cff" providerId="ADAL" clId="{BEA2F687-CD5D-42D8-AE89-CEDDE2665B30}" dt="2021-05-15T06:45:46.017" v="10027"/>
          <ac:spMkLst>
            <pc:docMk/>
            <pc:sldMk cId="1222013260" sldId="291"/>
            <ac:spMk id="10" creationId="{4272ABEB-D36D-49FA-81DF-46F994491AD0}"/>
          </ac:spMkLst>
        </pc:spChg>
        <pc:spChg chg="add del mod modVis">
          <ac:chgData name="Aniket Chhabra" userId="598e0514-bef3-4e71-b6aa-f2edd6441cff" providerId="ADAL" clId="{BEA2F687-CD5D-42D8-AE89-CEDDE2665B30}" dt="2021-05-15T06:45:48.920" v="10085"/>
          <ac:spMkLst>
            <pc:docMk/>
            <pc:sldMk cId="1222013260" sldId="291"/>
            <ac:spMk id="11" creationId="{95A410DB-744B-4F75-9749-DD9AE47425C3}"/>
          </ac:spMkLst>
        </pc:spChg>
        <pc:spChg chg="del">
          <ac:chgData name="Aniket Chhabra" userId="598e0514-bef3-4e71-b6aa-f2edd6441cff" providerId="ADAL" clId="{BEA2F687-CD5D-42D8-AE89-CEDDE2665B30}" dt="2021-05-15T06:57:02.305" v="10209" actId="21"/>
          <ac:spMkLst>
            <pc:docMk/>
            <pc:sldMk cId="1222013260" sldId="291"/>
            <ac:spMk id="15" creationId="{13BDB66B-F098-4CE2-AE85-805DFF1E13FD}"/>
          </ac:spMkLst>
        </pc:spChg>
        <pc:spChg chg="mod">
          <ac:chgData name="Aniket Chhabra" userId="598e0514-bef3-4e71-b6aa-f2edd6441cff" providerId="ADAL" clId="{BEA2F687-CD5D-42D8-AE89-CEDDE2665B30}" dt="2021-05-15T08:50:14.866" v="11704" actId="1076"/>
          <ac:spMkLst>
            <pc:docMk/>
            <pc:sldMk cId="1222013260" sldId="291"/>
            <ac:spMk id="23" creationId="{FFADDA99-A930-450E-85FA-9566F393FF4A}"/>
          </ac:spMkLst>
        </pc:spChg>
        <pc:graphicFrameChg chg="mod">
          <ac:chgData name="Aniket Chhabra" userId="598e0514-bef3-4e71-b6aa-f2edd6441cff" providerId="ADAL" clId="{BEA2F687-CD5D-42D8-AE89-CEDDE2665B30}" dt="2021-05-15T06:45:48.922" v="10087"/>
          <ac:graphicFrameMkLst>
            <pc:docMk/>
            <pc:sldMk cId="1222013260" sldId="291"/>
            <ac:graphicFrameMk id="6" creationId="{D9F5E603-548B-4576-BBB6-A50532C3D243}"/>
          </ac:graphicFrameMkLst>
        </pc:graphicFrameChg>
        <pc:picChg chg="add mod">
          <ac:chgData name="Aniket Chhabra" userId="598e0514-bef3-4e71-b6aa-f2edd6441cff" providerId="ADAL" clId="{BEA2F687-CD5D-42D8-AE89-CEDDE2665B30}" dt="2021-05-15T08:50:21.655" v="11707" actId="14100"/>
          <ac:picMkLst>
            <pc:docMk/>
            <pc:sldMk cId="1222013260" sldId="291"/>
            <ac:picMk id="4" creationId="{4E2A864E-FAE8-4CD2-B118-A72F8584906B}"/>
          </ac:picMkLst>
        </pc:picChg>
        <pc:picChg chg="del">
          <ac:chgData name="Aniket Chhabra" userId="598e0514-bef3-4e71-b6aa-f2edd6441cff" providerId="ADAL" clId="{BEA2F687-CD5D-42D8-AE89-CEDDE2665B30}" dt="2021-05-15T06:44:37.757" v="9700" actId="478"/>
          <ac:picMkLst>
            <pc:docMk/>
            <pc:sldMk cId="1222013260" sldId="291"/>
            <ac:picMk id="21" creationId="{B67DAA16-EFCF-41BD-8205-9E289AFF056E}"/>
          </ac:picMkLst>
        </pc:picChg>
      </pc:sldChg>
      <pc:sldChg chg="addSp delSp modSp new add mod ord">
        <pc:chgData name="Aniket Chhabra" userId="598e0514-bef3-4e71-b6aa-f2edd6441cff" providerId="ADAL" clId="{BEA2F687-CD5D-42D8-AE89-CEDDE2665B30}" dt="2021-05-15T06:56:51.474" v="10208"/>
        <pc:sldMkLst>
          <pc:docMk/>
          <pc:sldMk cId="3253760628" sldId="292"/>
        </pc:sldMkLst>
        <pc:spChg chg="add del">
          <ac:chgData name="Aniket Chhabra" userId="598e0514-bef3-4e71-b6aa-f2edd6441cff" providerId="ADAL" clId="{BEA2F687-CD5D-42D8-AE89-CEDDE2665B30}" dt="2021-05-15T06:55:50.401" v="10158" actId="478"/>
          <ac:spMkLst>
            <pc:docMk/>
            <pc:sldMk cId="3253760628" sldId="292"/>
            <ac:spMk id="2" creationId="{EF773A4F-1CBC-4736-811F-39D7EDD249C0}"/>
          </ac:spMkLst>
        </pc:spChg>
        <pc:spChg chg="add del">
          <ac:chgData name="Aniket Chhabra" userId="598e0514-bef3-4e71-b6aa-f2edd6441cff" providerId="ADAL" clId="{BEA2F687-CD5D-42D8-AE89-CEDDE2665B30}" dt="2021-05-15T06:55:50.401" v="10158" actId="478"/>
          <ac:spMkLst>
            <pc:docMk/>
            <pc:sldMk cId="3253760628" sldId="292"/>
            <ac:spMk id="3" creationId="{AE18ACF8-214E-499C-A277-78FF00664D64}"/>
          </ac:spMkLst>
        </pc:spChg>
        <pc:graphicFrameChg chg="add mod modVis">
          <ac:chgData name="Aniket Chhabra" userId="598e0514-bef3-4e71-b6aa-f2edd6441cff" providerId="ADAL" clId="{BEA2F687-CD5D-42D8-AE89-CEDDE2665B30}" dt="2021-05-15T06:55:13.322" v="10154" actId="14100"/>
          <ac:graphicFrameMkLst>
            <pc:docMk/>
            <pc:sldMk cId="3253760628" sldId="292"/>
            <ac:graphicFrameMk id="4" creationId="{689F9E6A-F29F-48F8-B725-8985184F2BB5}"/>
          </ac:graphicFrameMkLst>
        </pc:graphicFrameChg>
        <pc:graphicFrameChg chg="add mod ord modVis">
          <ac:chgData name="Aniket Chhabra" userId="598e0514-bef3-4e71-b6aa-f2edd6441cff" providerId="ADAL" clId="{BEA2F687-CD5D-42D8-AE89-CEDDE2665B30}" dt="2021-05-15T06:55:51.022" v="10175"/>
          <ac:graphicFrameMkLst>
            <pc:docMk/>
            <pc:sldMk cId="3253760628" sldId="292"/>
            <ac:graphicFrameMk id="7" creationId="{A9620596-AD83-40A9-A123-08EA0734F453}"/>
          </ac:graphicFrameMkLst>
        </pc:graphicFrameChg>
        <pc:picChg chg="add del">
          <ac:chgData name="Aniket Chhabra" userId="598e0514-bef3-4e71-b6aa-f2edd6441cff" providerId="ADAL" clId="{BEA2F687-CD5D-42D8-AE89-CEDDE2665B30}" dt="2021-05-15T06:56:00.651" v="10176" actId="478"/>
          <ac:picMkLst>
            <pc:docMk/>
            <pc:sldMk cId="3253760628" sldId="292"/>
            <ac:picMk id="6" creationId="{B25043F7-D33A-4F01-9034-479E99F86DD9}"/>
          </ac:picMkLst>
        </pc:picChg>
        <pc:picChg chg="add mod">
          <ac:chgData name="Aniket Chhabra" userId="598e0514-bef3-4e71-b6aa-f2edd6441cff" providerId="ADAL" clId="{BEA2F687-CD5D-42D8-AE89-CEDDE2665B30}" dt="2021-05-15T06:56:08.947" v="10181" actId="14100"/>
          <ac:picMkLst>
            <pc:docMk/>
            <pc:sldMk cId="3253760628" sldId="292"/>
            <ac:picMk id="9" creationId="{D663A7A6-8D3C-4DC5-AF22-6DCB113B898B}"/>
          </ac:picMkLst>
        </pc:picChg>
      </pc:sldChg>
      <pc:sldChg chg="modSp add del mod">
        <pc:chgData name="Aniket Chhabra" userId="598e0514-bef3-4e71-b6aa-f2edd6441cff" providerId="ADAL" clId="{BEA2F687-CD5D-42D8-AE89-CEDDE2665B30}" dt="2021-05-15T06:45:13.742" v="9711" actId="47"/>
        <pc:sldMkLst>
          <pc:docMk/>
          <pc:sldMk cId="3274916709" sldId="292"/>
        </pc:sldMkLst>
        <pc:picChg chg="mod">
          <ac:chgData name="Aniket Chhabra" userId="598e0514-bef3-4e71-b6aa-f2edd6441cff" providerId="ADAL" clId="{BEA2F687-CD5D-42D8-AE89-CEDDE2665B30}" dt="2021-05-15T06:44:42.587" v="9703" actId="1076"/>
          <ac:picMkLst>
            <pc:docMk/>
            <pc:sldMk cId="3274916709" sldId="292"/>
            <ac:picMk id="21" creationId="{B67DAA16-EFCF-41BD-8205-9E289AFF056E}"/>
          </ac:picMkLst>
        </pc:picChg>
      </pc:sldChg>
      <pc:sldChg chg="add">
        <pc:chgData name="Aniket Chhabra" userId="598e0514-bef3-4e71-b6aa-f2edd6441cff" providerId="ADAL" clId="{BEA2F687-CD5D-42D8-AE89-CEDDE2665B30}" dt="2021-05-15T06:55:12.194" v="10135"/>
        <pc:sldMkLst>
          <pc:docMk/>
          <pc:sldMk cId="2533841429" sldId="293"/>
        </pc:sldMkLst>
      </pc:sldChg>
      <pc:sldChg chg="addSp delSp modSp new add mod">
        <pc:chgData name="Aniket Chhabra" userId="598e0514-bef3-4e71-b6aa-f2edd6441cff" providerId="ADAL" clId="{BEA2F687-CD5D-42D8-AE89-CEDDE2665B30}" dt="2021-05-15T07:04:25.486" v="10824" actId="1076"/>
        <pc:sldMkLst>
          <pc:docMk/>
          <pc:sldMk cId="3348877557" sldId="293"/>
        </pc:sldMkLst>
        <pc:spChg chg="del">
          <ac:chgData name="Aniket Chhabra" userId="598e0514-bef3-4e71-b6aa-f2edd6441cff" providerId="ADAL" clId="{BEA2F687-CD5D-42D8-AE89-CEDDE2665B30}" dt="2021-05-15T07:00:22.935" v="10798" actId="478"/>
          <ac:spMkLst>
            <pc:docMk/>
            <pc:sldMk cId="3348877557" sldId="293"/>
            <ac:spMk id="2" creationId="{92FDD7EF-D113-4623-985E-895297B68825}"/>
          </ac:spMkLst>
        </pc:spChg>
        <pc:spChg chg="del">
          <ac:chgData name="Aniket Chhabra" userId="598e0514-bef3-4e71-b6aa-f2edd6441cff" providerId="ADAL" clId="{BEA2F687-CD5D-42D8-AE89-CEDDE2665B30}" dt="2021-05-15T07:00:22.935" v="10798" actId="478"/>
          <ac:spMkLst>
            <pc:docMk/>
            <pc:sldMk cId="3348877557" sldId="293"/>
            <ac:spMk id="3" creationId="{4097B5C1-0422-401F-847E-721F6BE07A97}"/>
          </ac:spMkLst>
        </pc:spChg>
        <pc:graphicFrameChg chg="add mod ord modVis">
          <ac:chgData name="Aniket Chhabra" userId="598e0514-bef3-4e71-b6aa-f2edd6441cff" providerId="ADAL" clId="{BEA2F687-CD5D-42D8-AE89-CEDDE2665B30}" dt="2021-05-15T07:00:23.535" v="10815"/>
          <ac:graphicFrameMkLst>
            <pc:docMk/>
            <pc:sldMk cId="3348877557" sldId="293"/>
            <ac:graphicFrameMk id="6" creationId="{9B4B6A66-9E04-4833-B57D-9EA7EBBA1686}"/>
          </ac:graphicFrameMkLst>
        </pc:graphicFrameChg>
        <pc:picChg chg="add del">
          <ac:chgData name="Aniket Chhabra" userId="598e0514-bef3-4e71-b6aa-f2edd6441cff" providerId="ADAL" clId="{BEA2F687-CD5D-42D8-AE89-CEDDE2665B30}" dt="2021-05-15T07:00:37.275" v="10816" actId="478"/>
          <ac:picMkLst>
            <pc:docMk/>
            <pc:sldMk cId="3348877557" sldId="293"/>
            <ac:picMk id="5" creationId="{266D8B23-BF19-4DDF-9D6E-16A0A6FA638F}"/>
          </ac:picMkLst>
        </pc:picChg>
        <pc:picChg chg="add mod">
          <ac:chgData name="Aniket Chhabra" userId="598e0514-bef3-4e71-b6aa-f2edd6441cff" providerId="ADAL" clId="{BEA2F687-CD5D-42D8-AE89-CEDDE2665B30}" dt="2021-05-15T07:04:25.486" v="10824" actId="1076"/>
          <ac:picMkLst>
            <pc:docMk/>
            <pc:sldMk cId="3348877557" sldId="293"/>
            <ac:picMk id="8" creationId="{BCC83302-EA50-4C23-858B-75286211623A}"/>
          </ac:picMkLst>
        </pc:picChg>
      </pc:sldChg>
      <pc:sldChg chg="add del">
        <pc:chgData name="Aniket Chhabra" userId="598e0514-bef3-4e71-b6aa-f2edd6441cff" providerId="ADAL" clId="{BEA2F687-CD5D-42D8-AE89-CEDDE2665B30}" dt="2021-05-15T06:55:31.776" v="10157"/>
        <pc:sldMkLst>
          <pc:docMk/>
          <pc:sldMk cId="3597508249" sldId="293"/>
        </pc:sldMkLst>
      </pc:sldChg>
      <pc:sldChg chg="addSp delSp modSp new add mod">
        <pc:chgData name="Aniket Chhabra" userId="598e0514-bef3-4e71-b6aa-f2edd6441cff" providerId="ADAL" clId="{BEA2F687-CD5D-42D8-AE89-CEDDE2665B30}" dt="2021-05-15T07:16:30.069" v="10942" actId="1076"/>
        <pc:sldMkLst>
          <pc:docMk/>
          <pc:sldMk cId="3691699099" sldId="294"/>
        </pc:sldMkLst>
        <pc:spChg chg="del">
          <ac:chgData name="Aniket Chhabra" userId="598e0514-bef3-4e71-b6aa-f2edd6441cff" providerId="ADAL" clId="{BEA2F687-CD5D-42D8-AE89-CEDDE2665B30}" dt="2021-05-15T07:16:14.207" v="10922" actId="478"/>
          <ac:spMkLst>
            <pc:docMk/>
            <pc:sldMk cId="3691699099" sldId="294"/>
            <ac:spMk id="2" creationId="{AA79F99B-046D-488B-A208-0381499779EA}"/>
          </ac:spMkLst>
        </pc:spChg>
        <pc:spChg chg="del">
          <ac:chgData name="Aniket Chhabra" userId="598e0514-bef3-4e71-b6aa-f2edd6441cff" providerId="ADAL" clId="{BEA2F687-CD5D-42D8-AE89-CEDDE2665B30}" dt="2021-05-15T07:16:14.207" v="10922" actId="478"/>
          <ac:spMkLst>
            <pc:docMk/>
            <pc:sldMk cId="3691699099" sldId="294"/>
            <ac:spMk id="3" creationId="{63666311-CD74-44A2-B117-290818206ED8}"/>
          </ac:spMkLst>
        </pc:spChg>
        <pc:graphicFrameChg chg="add mod modVis">
          <ac:chgData name="Aniket Chhabra" userId="598e0514-bef3-4e71-b6aa-f2edd6441cff" providerId="ADAL" clId="{BEA2F687-CD5D-42D8-AE89-CEDDE2665B30}" dt="2021-05-15T07:16:14.748" v="10935"/>
          <ac:graphicFrameMkLst>
            <pc:docMk/>
            <pc:sldMk cId="3691699099" sldId="294"/>
            <ac:graphicFrameMk id="4" creationId="{7C60C132-274A-4EBD-B255-C2B179FB27C4}"/>
          </ac:graphicFrameMkLst>
        </pc:graphicFrameChg>
        <pc:picChg chg="add del mod">
          <ac:chgData name="Aniket Chhabra" userId="598e0514-bef3-4e71-b6aa-f2edd6441cff" providerId="ADAL" clId="{BEA2F687-CD5D-42D8-AE89-CEDDE2665B30}" dt="2021-05-15T07:16:26.449" v="10938" actId="478"/>
          <ac:picMkLst>
            <pc:docMk/>
            <pc:sldMk cId="3691699099" sldId="294"/>
            <ac:picMk id="5" creationId="{B3171A06-5E38-45EC-9078-AEDCAA658286}"/>
          </ac:picMkLst>
        </pc:picChg>
        <pc:picChg chg="add mod">
          <ac:chgData name="Aniket Chhabra" userId="598e0514-bef3-4e71-b6aa-f2edd6441cff" providerId="ADAL" clId="{BEA2F687-CD5D-42D8-AE89-CEDDE2665B30}" dt="2021-05-15T07:16:30.069" v="10942" actId="1076"/>
          <ac:picMkLst>
            <pc:docMk/>
            <pc:sldMk cId="3691699099" sldId="294"/>
            <ac:picMk id="7" creationId="{05F63D75-E5D5-4887-8156-1AC1451D431B}"/>
          </ac:picMkLst>
        </pc:picChg>
      </pc:sldChg>
      <pc:sldChg chg="addSp delSp modSp new add mod">
        <pc:chgData name="Aniket Chhabra" userId="598e0514-bef3-4e71-b6aa-f2edd6441cff" providerId="ADAL" clId="{BEA2F687-CD5D-42D8-AE89-CEDDE2665B30}" dt="2021-05-15T07:19:11.597" v="10980" actId="14100"/>
        <pc:sldMkLst>
          <pc:docMk/>
          <pc:sldMk cId="699343811" sldId="295"/>
        </pc:sldMkLst>
        <pc:spChg chg="del">
          <ac:chgData name="Aniket Chhabra" userId="598e0514-bef3-4e71-b6aa-f2edd6441cff" providerId="ADAL" clId="{BEA2F687-CD5D-42D8-AE89-CEDDE2665B30}" dt="2021-05-15T07:18:58.026" v="10957" actId="478"/>
          <ac:spMkLst>
            <pc:docMk/>
            <pc:sldMk cId="699343811" sldId="295"/>
            <ac:spMk id="2" creationId="{320D8E62-1BC9-45FD-80F5-CF99DCC1A00A}"/>
          </ac:spMkLst>
        </pc:spChg>
        <pc:spChg chg="del">
          <ac:chgData name="Aniket Chhabra" userId="598e0514-bef3-4e71-b6aa-f2edd6441cff" providerId="ADAL" clId="{BEA2F687-CD5D-42D8-AE89-CEDDE2665B30}" dt="2021-05-15T07:18:55.660" v="10956" actId="478"/>
          <ac:spMkLst>
            <pc:docMk/>
            <pc:sldMk cId="699343811" sldId="295"/>
            <ac:spMk id="3" creationId="{CBA3E732-1258-43A4-BA02-7C0E63A00839}"/>
          </ac:spMkLst>
        </pc:spChg>
        <pc:graphicFrameChg chg="add mod ord modVis">
          <ac:chgData name="Aniket Chhabra" userId="598e0514-bef3-4e71-b6aa-f2edd6441cff" providerId="ADAL" clId="{BEA2F687-CD5D-42D8-AE89-CEDDE2665B30}" dt="2021-05-15T07:18:58.589" v="10972"/>
          <ac:graphicFrameMkLst>
            <pc:docMk/>
            <pc:sldMk cId="699343811" sldId="295"/>
            <ac:graphicFrameMk id="5" creationId="{EA119954-96CF-4469-BD18-12FBC5FEE52E}"/>
          </ac:graphicFrameMkLst>
        </pc:graphicFrameChg>
        <pc:picChg chg="add mod">
          <ac:chgData name="Aniket Chhabra" userId="598e0514-bef3-4e71-b6aa-f2edd6441cff" providerId="ADAL" clId="{BEA2F687-CD5D-42D8-AE89-CEDDE2665B30}" dt="2021-05-15T07:19:11.597" v="10980" actId="14100"/>
          <ac:picMkLst>
            <pc:docMk/>
            <pc:sldMk cId="699343811" sldId="295"/>
            <ac:picMk id="4" creationId="{C0E33520-DE2F-46CB-ACE4-0A25DF19B5AD}"/>
          </ac:picMkLst>
        </pc:picChg>
      </pc:sldChg>
    </pc:docChg>
  </pc:docChgLst>
  <pc:docChgLst>
    <pc:chgData name="Chhabra, Aniket" userId="598e0514-bef3-4e71-b6aa-f2edd6441cff" providerId="ADAL" clId="{D0608F18-3840-4CA3-9A99-D984B41683E5}"/>
    <pc:docChg chg="undo custSel addSld delSld modSld sldOrd modSection">
      <pc:chgData name="Chhabra, Aniket" userId="598e0514-bef3-4e71-b6aa-f2edd6441cff" providerId="ADAL" clId="{D0608F18-3840-4CA3-9A99-D984B41683E5}" dt="2020-12-27T06:02:40.177" v="2920" actId="14100"/>
      <pc:docMkLst>
        <pc:docMk/>
      </pc:docMkLst>
      <pc:sldChg chg="addSp delSp modSp mod">
        <pc:chgData name="Chhabra, Aniket" userId="598e0514-bef3-4e71-b6aa-f2edd6441cff" providerId="ADAL" clId="{D0608F18-3840-4CA3-9A99-D984B41683E5}" dt="2020-12-23T06:38:48.515" v="241" actId="1035"/>
        <pc:sldMkLst>
          <pc:docMk/>
          <pc:sldMk cId="883722326" sldId="258"/>
        </pc:sldMkLst>
        <pc:spChg chg="mod ord">
          <ac:chgData name="Chhabra, Aniket" userId="598e0514-bef3-4e71-b6aa-f2edd6441cff" providerId="ADAL" clId="{D0608F18-3840-4CA3-9A99-D984B41683E5}" dt="2020-12-23T06:25:36.233" v="88" actId="1076"/>
          <ac:spMkLst>
            <pc:docMk/>
            <pc:sldMk cId="883722326" sldId="258"/>
            <ac:spMk id="8" creationId="{681EB6FC-C508-4391-B5BD-CD2EF97DBC4D}"/>
          </ac:spMkLst>
        </pc:spChg>
        <pc:spChg chg="del mod">
          <ac:chgData name="Chhabra, Aniket" userId="598e0514-bef3-4e71-b6aa-f2edd6441cff" providerId="ADAL" clId="{D0608F18-3840-4CA3-9A99-D984B41683E5}" dt="2020-12-23T06:26:12.899" v="105" actId="478"/>
          <ac:spMkLst>
            <pc:docMk/>
            <pc:sldMk cId="883722326" sldId="258"/>
            <ac:spMk id="13" creationId="{79231AC0-6093-4A93-BAD7-6EB94CBBF373}"/>
          </ac:spMkLst>
        </pc:spChg>
        <pc:spChg chg="del mod">
          <ac:chgData name="Chhabra, Aniket" userId="598e0514-bef3-4e71-b6aa-f2edd6441cff" providerId="ADAL" clId="{D0608F18-3840-4CA3-9A99-D984B41683E5}" dt="2020-12-23T06:30:17.174" v="172" actId="478"/>
          <ac:spMkLst>
            <pc:docMk/>
            <pc:sldMk cId="883722326" sldId="258"/>
            <ac:spMk id="14" creationId="{3F19DEED-9317-40E1-BCF0-F63B0926993D}"/>
          </ac:spMkLst>
        </pc:spChg>
        <pc:spChg chg="add del mod">
          <ac:chgData name="Chhabra, Aniket" userId="598e0514-bef3-4e71-b6aa-f2edd6441cff" providerId="ADAL" clId="{D0608F18-3840-4CA3-9A99-D984B41683E5}" dt="2020-12-23T06:31:19.940" v="208" actId="478"/>
          <ac:spMkLst>
            <pc:docMk/>
            <pc:sldMk cId="883722326" sldId="258"/>
            <ac:spMk id="15" creationId="{E3C5A909-75C2-4975-ABD8-319485DE0642}"/>
          </ac:spMkLst>
        </pc:spChg>
        <pc:spChg chg="mod">
          <ac:chgData name="Chhabra, Aniket" userId="598e0514-bef3-4e71-b6aa-f2edd6441cff" providerId="ADAL" clId="{D0608F18-3840-4CA3-9A99-D984B41683E5}" dt="2020-12-23T06:24:24.799" v="29" actId="404"/>
          <ac:spMkLst>
            <pc:docMk/>
            <pc:sldMk cId="883722326" sldId="258"/>
            <ac:spMk id="16" creationId="{0E04479E-3E7D-4C1D-B026-1A3E54FB904C}"/>
          </ac:spMkLst>
        </pc:spChg>
        <pc:spChg chg="mod ord">
          <ac:chgData name="Chhabra, Aniket" userId="598e0514-bef3-4e71-b6aa-f2edd6441cff" providerId="ADAL" clId="{D0608F18-3840-4CA3-9A99-D984B41683E5}" dt="2020-12-23T06:23:36.175" v="21" actId="164"/>
          <ac:spMkLst>
            <pc:docMk/>
            <pc:sldMk cId="883722326" sldId="258"/>
            <ac:spMk id="21" creationId="{13506E35-C915-4F0D-8BC8-1344056A333E}"/>
          </ac:spMkLst>
        </pc:spChg>
        <pc:spChg chg="add">
          <ac:chgData name="Chhabra, Aniket" userId="598e0514-bef3-4e71-b6aa-f2edd6441cff" providerId="ADAL" clId="{D0608F18-3840-4CA3-9A99-D984B41683E5}" dt="2020-12-23T06:26:06.521" v="102" actId="11529"/>
          <ac:spMkLst>
            <pc:docMk/>
            <pc:sldMk cId="883722326" sldId="258"/>
            <ac:spMk id="23" creationId="{1A6239B9-4390-45A7-BBA9-066DFAAF1F51}"/>
          </ac:spMkLst>
        </pc:spChg>
        <pc:spChg chg="mod">
          <ac:chgData name="Chhabra, Aniket" userId="598e0514-bef3-4e71-b6aa-f2edd6441cff" providerId="ADAL" clId="{D0608F18-3840-4CA3-9A99-D984B41683E5}" dt="2020-12-23T06:25:11.615" v="74" actId="14100"/>
          <ac:spMkLst>
            <pc:docMk/>
            <pc:sldMk cId="883722326" sldId="258"/>
            <ac:spMk id="32" creationId="{BCB2DA68-88ED-4752-8CC4-0B1790BE4310}"/>
          </ac:spMkLst>
        </pc:spChg>
        <pc:spChg chg="mod">
          <ac:chgData name="Chhabra, Aniket" userId="598e0514-bef3-4e71-b6aa-f2edd6441cff" providerId="ADAL" clId="{D0608F18-3840-4CA3-9A99-D984B41683E5}" dt="2020-12-23T06:25:16.592" v="83" actId="1035"/>
          <ac:spMkLst>
            <pc:docMk/>
            <pc:sldMk cId="883722326" sldId="258"/>
            <ac:spMk id="34" creationId="{A43B857B-C7A0-4F82-B0EE-81DBE55D90A0}"/>
          </ac:spMkLst>
        </pc:spChg>
        <pc:spChg chg="add mod">
          <ac:chgData name="Chhabra, Aniket" userId="598e0514-bef3-4e71-b6aa-f2edd6441cff" providerId="ADAL" clId="{D0608F18-3840-4CA3-9A99-D984B41683E5}" dt="2020-12-23T06:26:10.264" v="104" actId="1076"/>
          <ac:spMkLst>
            <pc:docMk/>
            <pc:sldMk cId="883722326" sldId="258"/>
            <ac:spMk id="35" creationId="{B404318C-2504-45B1-A47C-2D973CCE45D1}"/>
          </ac:spMkLst>
        </pc:spChg>
        <pc:spChg chg="add mod">
          <ac:chgData name="Chhabra, Aniket" userId="598e0514-bef3-4e71-b6aa-f2edd6441cff" providerId="ADAL" clId="{D0608F18-3840-4CA3-9A99-D984B41683E5}" dt="2020-12-23T06:26:24.028" v="109" actId="1076"/>
          <ac:spMkLst>
            <pc:docMk/>
            <pc:sldMk cId="883722326" sldId="258"/>
            <ac:spMk id="36" creationId="{082D4E4C-A0A2-4A56-BFA4-718359D6214A}"/>
          </ac:spMkLst>
        </pc:spChg>
        <pc:spChg chg="mod">
          <ac:chgData name="Chhabra, Aniket" userId="598e0514-bef3-4e71-b6aa-f2edd6441cff" providerId="ADAL" clId="{D0608F18-3840-4CA3-9A99-D984B41683E5}" dt="2020-12-23T06:26:45.834" v="128" actId="20577"/>
          <ac:spMkLst>
            <pc:docMk/>
            <pc:sldMk cId="883722326" sldId="258"/>
            <ac:spMk id="38" creationId="{DC34C2DF-673B-4A5F-8034-53AF9F769FE2}"/>
          </ac:spMkLst>
        </pc:spChg>
        <pc:spChg chg="mod">
          <ac:chgData name="Chhabra, Aniket" userId="598e0514-bef3-4e71-b6aa-f2edd6441cff" providerId="ADAL" clId="{D0608F18-3840-4CA3-9A99-D984B41683E5}" dt="2020-12-23T06:26:36.682" v="115" actId="20577"/>
          <ac:spMkLst>
            <pc:docMk/>
            <pc:sldMk cId="883722326" sldId="258"/>
            <ac:spMk id="39" creationId="{995D1A30-B647-4DA5-8A19-CFECEC18F867}"/>
          </ac:spMkLst>
        </pc:spChg>
        <pc:spChg chg="mod">
          <ac:chgData name="Chhabra, Aniket" userId="598e0514-bef3-4e71-b6aa-f2edd6441cff" providerId="ADAL" clId="{D0608F18-3840-4CA3-9A99-D984B41683E5}" dt="2020-12-23T06:31:42.007" v="224" actId="20577"/>
          <ac:spMkLst>
            <pc:docMk/>
            <pc:sldMk cId="883722326" sldId="258"/>
            <ac:spMk id="56" creationId="{68771C44-D280-46E6-9FFA-2D83CAC47896}"/>
          </ac:spMkLst>
        </pc:spChg>
        <pc:spChg chg="mod">
          <ac:chgData name="Chhabra, Aniket" userId="598e0514-bef3-4e71-b6aa-f2edd6441cff" providerId="ADAL" clId="{D0608F18-3840-4CA3-9A99-D984B41683E5}" dt="2020-12-23T06:31:37.160" v="215" actId="20577"/>
          <ac:spMkLst>
            <pc:docMk/>
            <pc:sldMk cId="883722326" sldId="258"/>
            <ac:spMk id="57" creationId="{D6807B7B-E4C5-4AB1-8ED7-7A1A314A98AE}"/>
          </ac:spMkLst>
        </pc:spChg>
        <pc:spChg chg="add mod">
          <ac:chgData name="Chhabra, Aniket" userId="598e0514-bef3-4e71-b6aa-f2edd6441cff" providerId="ADAL" clId="{D0608F18-3840-4CA3-9A99-D984B41683E5}" dt="2020-12-23T06:31:32.422" v="212" actId="688"/>
          <ac:spMkLst>
            <pc:docMk/>
            <pc:sldMk cId="883722326" sldId="258"/>
            <ac:spMk id="58" creationId="{289FF36B-47F0-424A-887D-48741A8F9BAA}"/>
          </ac:spMkLst>
        </pc:spChg>
        <pc:grpChg chg="add mod">
          <ac:chgData name="Chhabra, Aniket" userId="598e0514-bef3-4e71-b6aa-f2edd6441cff" providerId="ADAL" clId="{D0608F18-3840-4CA3-9A99-D984B41683E5}" dt="2020-12-23T06:25:47.845" v="99" actId="554"/>
          <ac:grpSpMkLst>
            <pc:docMk/>
            <pc:sldMk cId="883722326" sldId="258"/>
            <ac:grpSpMk id="22" creationId="{0AF5BC3D-2709-4A4C-A1DB-2F16C8FFE77A}"/>
          </ac:grpSpMkLst>
        </pc:grpChg>
        <pc:grpChg chg="add mod">
          <ac:chgData name="Chhabra, Aniket" userId="598e0514-bef3-4e71-b6aa-f2edd6441cff" providerId="ADAL" clId="{D0608F18-3840-4CA3-9A99-D984B41683E5}" dt="2020-12-23T06:25:47.845" v="99" actId="554"/>
          <ac:grpSpMkLst>
            <pc:docMk/>
            <pc:sldMk cId="883722326" sldId="258"/>
            <ac:grpSpMk id="30" creationId="{A0B8C162-290A-4989-A159-FACF5933A9D2}"/>
          </ac:grpSpMkLst>
        </pc:grpChg>
        <pc:grpChg chg="add mod">
          <ac:chgData name="Chhabra, Aniket" userId="598e0514-bef3-4e71-b6aa-f2edd6441cff" providerId="ADAL" clId="{D0608F18-3840-4CA3-9A99-D984B41683E5}" dt="2020-12-23T06:31:15.134" v="206" actId="1076"/>
          <ac:grpSpMkLst>
            <pc:docMk/>
            <pc:sldMk cId="883722326" sldId="258"/>
            <ac:grpSpMk id="37" creationId="{FB8C232D-A407-4309-8C78-6E18DCB1EB5A}"/>
          </ac:grpSpMkLst>
        </pc:grpChg>
        <pc:grpChg chg="add mod">
          <ac:chgData name="Chhabra, Aniket" userId="598e0514-bef3-4e71-b6aa-f2edd6441cff" providerId="ADAL" clId="{D0608F18-3840-4CA3-9A99-D984B41683E5}" dt="2020-12-23T06:38:48.515" v="241" actId="1035"/>
          <ac:grpSpMkLst>
            <pc:docMk/>
            <pc:sldMk cId="883722326" sldId="258"/>
            <ac:grpSpMk id="55" creationId="{2328805F-F1BA-4E6D-9F6E-06694EDEAA56}"/>
          </ac:grpSpMkLst>
        </pc:grpChg>
        <pc:picChg chg="mod">
          <ac:chgData name="Chhabra, Aniket" userId="598e0514-bef3-4e71-b6aa-f2edd6441cff" providerId="ADAL" clId="{D0608F18-3840-4CA3-9A99-D984B41683E5}" dt="2020-12-23T06:25:58.003" v="101" actId="1076"/>
          <ac:picMkLst>
            <pc:docMk/>
            <pc:sldMk cId="883722326" sldId="258"/>
            <ac:picMk id="18" creationId="{8EDBC589-F74D-49E8-9F73-2976C70B2589}"/>
          </ac:picMkLst>
        </pc:picChg>
        <pc:picChg chg="add del mod">
          <ac:chgData name="Chhabra, Aniket" userId="598e0514-bef3-4e71-b6aa-f2edd6441cff" providerId="ADAL" clId="{D0608F18-3840-4CA3-9A99-D984B41683E5}" dt="2020-12-23T06:27:21.318" v="131" actId="478"/>
          <ac:picMkLst>
            <pc:docMk/>
            <pc:sldMk cId="883722326" sldId="258"/>
            <ac:picMk id="26" creationId="{922EEA15-888B-45DE-AF32-B495DEB1EB94}"/>
          </ac:picMkLst>
        </pc:picChg>
        <pc:picChg chg="add del mod">
          <ac:chgData name="Chhabra, Aniket" userId="598e0514-bef3-4e71-b6aa-f2edd6441cff" providerId="ADAL" clId="{D0608F18-3840-4CA3-9A99-D984B41683E5}" dt="2020-12-23T06:28:14.866" v="144" actId="478"/>
          <ac:picMkLst>
            <pc:docMk/>
            <pc:sldMk cId="883722326" sldId="258"/>
            <ac:picMk id="41" creationId="{9D2F6B63-5A26-48FE-A817-DF92D59595BE}"/>
          </ac:picMkLst>
        </pc:picChg>
        <pc:picChg chg="add del mod">
          <ac:chgData name="Chhabra, Aniket" userId="598e0514-bef3-4e71-b6aa-f2edd6441cff" providerId="ADAL" clId="{D0608F18-3840-4CA3-9A99-D984B41683E5}" dt="2020-12-23T06:30:11.269" v="167" actId="478"/>
          <ac:picMkLst>
            <pc:docMk/>
            <pc:sldMk cId="883722326" sldId="258"/>
            <ac:picMk id="47" creationId="{6A33E328-141F-4429-BCBF-EC697F946B1C}"/>
          </ac:picMkLst>
        </pc:picChg>
        <pc:picChg chg="add mod">
          <ac:chgData name="Chhabra, Aniket" userId="598e0514-bef3-4e71-b6aa-f2edd6441cff" providerId="ADAL" clId="{D0608F18-3840-4CA3-9A99-D984B41683E5}" dt="2020-12-23T06:29:49.856" v="166" actId="1035"/>
          <ac:picMkLst>
            <pc:docMk/>
            <pc:sldMk cId="883722326" sldId="258"/>
            <ac:picMk id="51" creationId="{8F8BC997-8B17-4021-8DD6-611340359A5B}"/>
          </ac:picMkLst>
        </pc:picChg>
        <pc:picChg chg="add mod">
          <ac:chgData name="Chhabra, Aniket" userId="598e0514-bef3-4e71-b6aa-f2edd6441cff" providerId="ADAL" clId="{D0608F18-3840-4CA3-9A99-D984B41683E5}" dt="2020-12-23T06:30:26.960" v="184" actId="1035"/>
          <ac:picMkLst>
            <pc:docMk/>
            <pc:sldMk cId="883722326" sldId="258"/>
            <ac:picMk id="53" creationId="{5E9ACE49-02A6-4E03-A450-1E9561800836}"/>
          </ac:picMkLst>
        </pc:picChg>
        <pc:picChg chg="add mod">
          <ac:chgData name="Chhabra, Aniket" userId="598e0514-bef3-4e71-b6aa-f2edd6441cff" providerId="ADAL" clId="{D0608F18-3840-4CA3-9A99-D984B41683E5}" dt="2020-12-23T06:32:53.060" v="234" actId="14100"/>
          <ac:picMkLst>
            <pc:docMk/>
            <pc:sldMk cId="883722326" sldId="258"/>
            <ac:picMk id="59" creationId="{A593F6D1-AEC5-4371-AC4B-C893C33FB94D}"/>
          </ac:picMkLst>
        </pc:picChg>
        <pc:picChg chg="add del mod">
          <ac:chgData name="Chhabra, Aniket" userId="598e0514-bef3-4e71-b6aa-f2edd6441cff" providerId="ADAL" clId="{D0608F18-3840-4CA3-9A99-D984B41683E5}" dt="2020-12-23T06:29:44.723" v="160" actId="478"/>
          <ac:picMkLst>
            <pc:docMk/>
            <pc:sldMk cId="883722326" sldId="258"/>
            <ac:picMk id="1026" creationId="{4C92ADB1-1C08-4BA7-A1CD-843F48C8CC84}"/>
          </ac:picMkLst>
        </pc:picChg>
        <pc:cxnChg chg="add del mod">
          <ac:chgData name="Chhabra, Aniket" userId="598e0514-bef3-4e71-b6aa-f2edd6441cff" providerId="ADAL" clId="{D0608F18-3840-4CA3-9A99-D984B41683E5}" dt="2020-12-23T06:28:53.003" v="152" actId="478"/>
          <ac:cxnSpMkLst>
            <pc:docMk/>
            <pc:sldMk cId="883722326" sldId="258"/>
            <ac:cxnSpMk id="43" creationId="{5D400CC3-4072-472C-8FF3-DE9EC26B9917}"/>
          </ac:cxnSpMkLst>
        </pc:cxnChg>
        <pc:cxnChg chg="add del mod">
          <ac:chgData name="Chhabra, Aniket" userId="598e0514-bef3-4e71-b6aa-f2edd6441cff" providerId="ADAL" clId="{D0608F18-3840-4CA3-9A99-D984B41683E5}" dt="2020-12-23T06:30:13.208" v="169" actId="478"/>
          <ac:cxnSpMkLst>
            <pc:docMk/>
            <pc:sldMk cId="883722326" sldId="258"/>
            <ac:cxnSpMk id="48" creationId="{C08E4C13-15B6-4B32-959D-646D140920F2}"/>
          </ac:cxnSpMkLst>
        </pc:cxnChg>
      </pc:sldChg>
      <pc:sldChg chg="new del">
        <pc:chgData name="Chhabra, Aniket" userId="598e0514-bef3-4e71-b6aa-f2edd6441cff" providerId="ADAL" clId="{D0608F18-3840-4CA3-9A99-D984B41683E5}" dt="2020-12-23T06:46:11.065" v="390" actId="47"/>
        <pc:sldMkLst>
          <pc:docMk/>
          <pc:sldMk cId="1222504700" sldId="259"/>
        </pc:sldMkLst>
      </pc:sldChg>
      <pc:sldChg chg="addSp delSp modSp add mod">
        <pc:chgData name="Chhabra, Aniket" userId="598e0514-bef3-4e71-b6aa-f2edd6441cff" providerId="ADAL" clId="{D0608F18-3840-4CA3-9A99-D984B41683E5}" dt="2020-12-23T06:47:03.935" v="394" actId="20577"/>
        <pc:sldMkLst>
          <pc:docMk/>
          <pc:sldMk cId="2455168547" sldId="260"/>
        </pc:sldMkLst>
        <pc:spChg chg="mod">
          <ac:chgData name="Chhabra, Aniket" userId="598e0514-bef3-4e71-b6aa-f2edd6441cff" providerId="ADAL" clId="{D0608F18-3840-4CA3-9A99-D984B41683E5}" dt="2020-12-23T06:39:35.263" v="246"/>
          <ac:spMkLst>
            <pc:docMk/>
            <pc:sldMk cId="2455168547" sldId="260"/>
            <ac:spMk id="2" creationId="{7183013F-CCFC-4588-B693-22F514492FED}"/>
          </ac:spMkLst>
        </pc:spChg>
        <pc:spChg chg="del">
          <ac:chgData name="Chhabra, Aniket" userId="598e0514-bef3-4e71-b6aa-f2edd6441cff" providerId="ADAL" clId="{D0608F18-3840-4CA3-9A99-D984B41683E5}" dt="2020-12-23T06:40:14.671" v="247" actId="478"/>
          <ac:spMkLst>
            <pc:docMk/>
            <pc:sldMk cId="2455168547" sldId="260"/>
            <ac:spMk id="4" creationId="{F3807A01-B17C-42BF-AA7E-CF5C43C3B75F}"/>
          </ac:spMkLst>
        </pc:spChg>
        <pc:spChg chg="del">
          <ac:chgData name="Chhabra, Aniket" userId="598e0514-bef3-4e71-b6aa-f2edd6441cff" providerId="ADAL" clId="{D0608F18-3840-4CA3-9A99-D984B41683E5}" dt="2020-12-23T06:40:14.671" v="247" actId="478"/>
          <ac:spMkLst>
            <pc:docMk/>
            <pc:sldMk cId="2455168547" sldId="260"/>
            <ac:spMk id="5" creationId="{E414F076-81AF-4B04-A4B4-CD61BD34F93D}"/>
          </ac:spMkLst>
        </pc:spChg>
        <pc:spChg chg="del">
          <ac:chgData name="Chhabra, Aniket" userId="598e0514-bef3-4e71-b6aa-f2edd6441cff" providerId="ADAL" clId="{D0608F18-3840-4CA3-9A99-D984B41683E5}" dt="2020-12-23T06:43:54.809" v="344" actId="478"/>
          <ac:spMkLst>
            <pc:docMk/>
            <pc:sldMk cId="2455168547" sldId="260"/>
            <ac:spMk id="7" creationId="{146CE9CF-C344-42AA-93B1-EEA38DE31CA2}"/>
          </ac:spMkLst>
        </pc:spChg>
        <pc:spChg chg="del">
          <ac:chgData name="Chhabra, Aniket" userId="598e0514-bef3-4e71-b6aa-f2edd6441cff" providerId="ADAL" clId="{D0608F18-3840-4CA3-9A99-D984B41683E5}" dt="2020-12-23T06:40:14.671" v="247" actId="478"/>
          <ac:spMkLst>
            <pc:docMk/>
            <pc:sldMk cId="2455168547" sldId="260"/>
            <ac:spMk id="8" creationId="{681EB6FC-C508-4391-B5BD-CD2EF97DBC4D}"/>
          </ac:spMkLst>
        </pc:spChg>
        <pc:spChg chg="del">
          <ac:chgData name="Chhabra, Aniket" userId="598e0514-bef3-4e71-b6aa-f2edd6441cff" providerId="ADAL" clId="{D0608F18-3840-4CA3-9A99-D984B41683E5}" dt="2020-12-23T06:40:14.671" v="247" actId="478"/>
          <ac:spMkLst>
            <pc:docMk/>
            <pc:sldMk cId="2455168547" sldId="260"/>
            <ac:spMk id="9" creationId="{9F944C8C-941B-4D9A-8A8E-104458ED8E9C}"/>
          </ac:spMkLst>
        </pc:spChg>
        <pc:spChg chg="del">
          <ac:chgData name="Chhabra, Aniket" userId="598e0514-bef3-4e71-b6aa-f2edd6441cff" providerId="ADAL" clId="{D0608F18-3840-4CA3-9A99-D984B41683E5}" dt="2020-12-23T06:40:14.671" v="247" actId="478"/>
          <ac:spMkLst>
            <pc:docMk/>
            <pc:sldMk cId="2455168547" sldId="260"/>
            <ac:spMk id="10" creationId="{4A6DF01E-B6F8-462D-836A-F72BEBEAA248}"/>
          </ac:spMkLst>
        </pc:spChg>
        <pc:spChg chg="del">
          <ac:chgData name="Chhabra, Aniket" userId="598e0514-bef3-4e71-b6aa-f2edd6441cff" providerId="ADAL" clId="{D0608F18-3840-4CA3-9A99-D984B41683E5}" dt="2020-12-23T06:40:14.671" v="247" actId="478"/>
          <ac:spMkLst>
            <pc:docMk/>
            <pc:sldMk cId="2455168547" sldId="260"/>
            <ac:spMk id="11" creationId="{134AF28D-413E-411D-9AC4-202C96B56681}"/>
          </ac:spMkLst>
        </pc:spChg>
        <pc:spChg chg="add del mod">
          <ac:chgData name="Chhabra, Aniket" userId="598e0514-bef3-4e71-b6aa-f2edd6441cff" providerId="ADAL" clId="{D0608F18-3840-4CA3-9A99-D984B41683E5}" dt="2020-12-23T06:40:54.982" v="271" actId="478"/>
          <ac:spMkLst>
            <pc:docMk/>
            <pc:sldMk cId="2455168547" sldId="260"/>
            <ac:spMk id="12" creationId="{CEF41FB5-0CBC-447E-92AB-72CC249850CB}"/>
          </ac:spMkLst>
        </pc:spChg>
        <pc:spChg chg="add del mod">
          <ac:chgData name="Chhabra, Aniket" userId="598e0514-bef3-4e71-b6aa-f2edd6441cff" providerId="ADAL" clId="{D0608F18-3840-4CA3-9A99-D984B41683E5}" dt="2020-12-23T06:40:53.825" v="270" actId="478"/>
          <ac:spMkLst>
            <pc:docMk/>
            <pc:sldMk cId="2455168547" sldId="260"/>
            <ac:spMk id="13" creationId="{A4D9B80D-5B84-4EC6-96BD-11BE755BA373}"/>
          </ac:spMkLst>
        </pc:spChg>
        <pc:spChg chg="add del mod">
          <ac:chgData name="Chhabra, Aniket" userId="598e0514-bef3-4e71-b6aa-f2edd6441cff" providerId="ADAL" clId="{D0608F18-3840-4CA3-9A99-D984B41683E5}" dt="2020-12-23T06:40:49.156" v="268" actId="478"/>
          <ac:spMkLst>
            <pc:docMk/>
            <pc:sldMk cId="2455168547" sldId="260"/>
            <ac:spMk id="14" creationId="{A3E913F5-7ED1-47FC-AE3D-ED76305F1EEB}"/>
          </ac:spMkLst>
        </pc:spChg>
        <pc:spChg chg="add mod">
          <ac:chgData name="Chhabra, Aniket" userId="598e0514-bef3-4e71-b6aa-f2edd6441cff" providerId="ADAL" clId="{D0608F18-3840-4CA3-9A99-D984B41683E5}" dt="2020-12-23T06:43:59.669" v="345" actId="1076"/>
          <ac:spMkLst>
            <pc:docMk/>
            <pc:sldMk cId="2455168547" sldId="260"/>
            <ac:spMk id="15" creationId="{6A09BB31-38E9-42AF-95F9-102F31350FE6}"/>
          </ac:spMkLst>
        </pc:spChg>
        <pc:spChg chg="add mod">
          <ac:chgData name="Chhabra, Aniket" userId="598e0514-bef3-4e71-b6aa-f2edd6441cff" providerId="ADAL" clId="{D0608F18-3840-4CA3-9A99-D984B41683E5}" dt="2020-12-23T06:43:59.669" v="345" actId="1076"/>
          <ac:spMkLst>
            <pc:docMk/>
            <pc:sldMk cId="2455168547" sldId="260"/>
            <ac:spMk id="16" creationId="{32950A27-BF0C-4DBC-8606-F28D6992E448}"/>
          </ac:spMkLst>
        </pc:spChg>
        <pc:spChg chg="add mod">
          <ac:chgData name="Chhabra, Aniket" userId="598e0514-bef3-4e71-b6aa-f2edd6441cff" providerId="ADAL" clId="{D0608F18-3840-4CA3-9A99-D984B41683E5}" dt="2020-12-23T06:43:59.669" v="345" actId="1076"/>
          <ac:spMkLst>
            <pc:docMk/>
            <pc:sldMk cId="2455168547" sldId="260"/>
            <ac:spMk id="17" creationId="{AAD1C72C-2790-49D7-B75D-E61CAD32099A}"/>
          </ac:spMkLst>
        </pc:spChg>
        <pc:spChg chg="add mod">
          <ac:chgData name="Chhabra, Aniket" userId="598e0514-bef3-4e71-b6aa-f2edd6441cff" providerId="ADAL" clId="{D0608F18-3840-4CA3-9A99-D984B41683E5}" dt="2020-12-23T06:43:59.669" v="345" actId="1076"/>
          <ac:spMkLst>
            <pc:docMk/>
            <pc:sldMk cId="2455168547" sldId="260"/>
            <ac:spMk id="18" creationId="{4A05D242-6603-40C9-938D-D6E49DCC7FCC}"/>
          </ac:spMkLst>
        </pc:spChg>
        <pc:spChg chg="add del mod">
          <ac:chgData name="Chhabra, Aniket" userId="598e0514-bef3-4e71-b6aa-f2edd6441cff" providerId="ADAL" clId="{D0608F18-3840-4CA3-9A99-D984B41683E5}" dt="2020-12-23T06:42:06.625" v="298" actId="478"/>
          <ac:spMkLst>
            <pc:docMk/>
            <pc:sldMk cId="2455168547" sldId="260"/>
            <ac:spMk id="19" creationId="{30EF4051-E71D-43FE-A3AB-8BD8C0F02A4A}"/>
          </ac:spMkLst>
        </pc:spChg>
        <pc:spChg chg="add del mod">
          <ac:chgData name="Chhabra, Aniket" userId="598e0514-bef3-4e71-b6aa-f2edd6441cff" providerId="ADAL" clId="{D0608F18-3840-4CA3-9A99-D984B41683E5}" dt="2020-12-23T06:42:04.365" v="296" actId="478"/>
          <ac:spMkLst>
            <pc:docMk/>
            <pc:sldMk cId="2455168547" sldId="260"/>
            <ac:spMk id="20" creationId="{77D82136-FE9E-47A6-A9CC-90F80B66E151}"/>
          </ac:spMkLst>
        </pc:spChg>
        <pc:spChg chg="add del mod">
          <ac:chgData name="Chhabra, Aniket" userId="598e0514-bef3-4e71-b6aa-f2edd6441cff" providerId="ADAL" clId="{D0608F18-3840-4CA3-9A99-D984B41683E5}" dt="2020-12-23T06:42:05.592" v="297" actId="478"/>
          <ac:spMkLst>
            <pc:docMk/>
            <pc:sldMk cId="2455168547" sldId="260"/>
            <ac:spMk id="21" creationId="{5BA4D9AB-52FF-4E00-9198-175590D8EEE7}"/>
          </ac:spMkLst>
        </pc:spChg>
        <pc:spChg chg="add del mod">
          <ac:chgData name="Chhabra, Aniket" userId="598e0514-bef3-4e71-b6aa-f2edd6441cff" providerId="ADAL" clId="{D0608F18-3840-4CA3-9A99-D984B41683E5}" dt="2020-12-23T06:44:07.059" v="347" actId="478"/>
          <ac:spMkLst>
            <pc:docMk/>
            <pc:sldMk cId="2455168547" sldId="260"/>
            <ac:spMk id="22" creationId="{9917AE50-BAD6-49B7-9E5A-1FE82F5030FA}"/>
          </ac:spMkLst>
        </pc:spChg>
        <pc:spChg chg="add del mod">
          <ac:chgData name="Chhabra, Aniket" userId="598e0514-bef3-4e71-b6aa-f2edd6441cff" providerId="ADAL" clId="{D0608F18-3840-4CA3-9A99-D984B41683E5}" dt="2020-12-23T06:44:10.663" v="349" actId="478"/>
          <ac:spMkLst>
            <pc:docMk/>
            <pc:sldMk cId="2455168547" sldId="260"/>
            <ac:spMk id="23" creationId="{4BB8E8D6-63F1-40E9-9C1A-99C68C57BF5B}"/>
          </ac:spMkLst>
        </pc:spChg>
        <pc:spChg chg="add mod">
          <ac:chgData name="Chhabra, Aniket" userId="598e0514-bef3-4e71-b6aa-f2edd6441cff" providerId="ADAL" clId="{D0608F18-3840-4CA3-9A99-D984B41683E5}" dt="2020-12-23T06:47:00.090" v="393" actId="20577"/>
          <ac:spMkLst>
            <pc:docMk/>
            <pc:sldMk cId="2455168547" sldId="260"/>
            <ac:spMk id="24" creationId="{BFDFB8BC-FECF-4FA4-817D-9BEF14B0EB53}"/>
          </ac:spMkLst>
        </pc:spChg>
        <pc:spChg chg="add del mod">
          <ac:chgData name="Chhabra, Aniket" userId="598e0514-bef3-4e71-b6aa-f2edd6441cff" providerId="ADAL" clId="{D0608F18-3840-4CA3-9A99-D984B41683E5}" dt="2020-12-23T06:42:34.510" v="312" actId="478"/>
          <ac:spMkLst>
            <pc:docMk/>
            <pc:sldMk cId="2455168547" sldId="260"/>
            <ac:spMk id="25" creationId="{F40FF347-3FFD-4104-92FD-E3AA8D8F0055}"/>
          </ac:spMkLst>
        </pc:spChg>
        <pc:spChg chg="add del mod">
          <ac:chgData name="Chhabra, Aniket" userId="598e0514-bef3-4e71-b6aa-f2edd6441cff" providerId="ADAL" clId="{D0608F18-3840-4CA3-9A99-D984B41683E5}" dt="2020-12-23T06:42:32.465" v="311" actId="478"/>
          <ac:spMkLst>
            <pc:docMk/>
            <pc:sldMk cId="2455168547" sldId="260"/>
            <ac:spMk id="26" creationId="{242E5FF6-0DC1-46B9-B692-38B5C0407A89}"/>
          </ac:spMkLst>
        </pc:spChg>
        <pc:spChg chg="add del mod">
          <ac:chgData name="Chhabra, Aniket" userId="598e0514-bef3-4e71-b6aa-f2edd6441cff" providerId="ADAL" clId="{D0608F18-3840-4CA3-9A99-D984B41683E5}" dt="2020-12-23T06:42:09.220" v="300" actId="478"/>
          <ac:spMkLst>
            <pc:docMk/>
            <pc:sldMk cId="2455168547" sldId="260"/>
            <ac:spMk id="27" creationId="{46DB6679-EB4E-4377-8229-8ADD763C50D3}"/>
          </ac:spMkLst>
        </pc:spChg>
        <pc:spChg chg="add del mod">
          <ac:chgData name="Chhabra, Aniket" userId="598e0514-bef3-4e71-b6aa-f2edd6441cff" providerId="ADAL" clId="{D0608F18-3840-4CA3-9A99-D984B41683E5}" dt="2020-12-23T06:42:08.254" v="299" actId="478"/>
          <ac:spMkLst>
            <pc:docMk/>
            <pc:sldMk cId="2455168547" sldId="260"/>
            <ac:spMk id="28" creationId="{ECF2BD6A-AC81-4173-914C-8F4B619FFED5}"/>
          </ac:spMkLst>
        </pc:spChg>
        <pc:spChg chg="add del mod">
          <ac:chgData name="Chhabra, Aniket" userId="598e0514-bef3-4e71-b6aa-f2edd6441cff" providerId="ADAL" clId="{D0608F18-3840-4CA3-9A99-D984B41683E5}" dt="2020-12-23T06:42:10.801" v="301" actId="478"/>
          <ac:spMkLst>
            <pc:docMk/>
            <pc:sldMk cId="2455168547" sldId="260"/>
            <ac:spMk id="29" creationId="{67352684-76EB-4C13-81E8-9641221CD6DD}"/>
          </ac:spMkLst>
        </pc:spChg>
        <pc:spChg chg="add del mod">
          <ac:chgData name="Chhabra, Aniket" userId="598e0514-bef3-4e71-b6aa-f2edd6441cff" providerId="ADAL" clId="{D0608F18-3840-4CA3-9A99-D984B41683E5}" dt="2020-12-23T06:42:12.412" v="302" actId="478"/>
          <ac:spMkLst>
            <pc:docMk/>
            <pc:sldMk cId="2455168547" sldId="260"/>
            <ac:spMk id="30" creationId="{9A3CBF75-9C41-42FF-B49A-F87A84A9DA44}"/>
          </ac:spMkLst>
        </pc:spChg>
        <pc:spChg chg="add mod">
          <ac:chgData name="Chhabra, Aniket" userId="598e0514-bef3-4e71-b6aa-f2edd6441cff" providerId="ADAL" clId="{D0608F18-3840-4CA3-9A99-D984B41683E5}" dt="2020-12-23T06:43:59.669" v="345" actId="1076"/>
          <ac:spMkLst>
            <pc:docMk/>
            <pc:sldMk cId="2455168547" sldId="260"/>
            <ac:spMk id="31" creationId="{718173F2-0B45-43EF-B054-C801CF68391E}"/>
          </ac:spMkLst>
        </pc:spChg>
        <pc:spChg chg="add del mod">
          <ac:chgData name="Chhabra, Aniket" userId="598e0514-bef3-4e71-b6aa-f2edd6441cff" providerId="ADAL" clId="{D0608F18-3840-4CA3-9A99-D984B41683E5}" dt="2020-12-23T06:42:29.815" v="310" actId="478"/>
          <ac:spMkLst>
            <pc:docMk/>
            <pc:sldMk cId="2455168547" sldId="260"/>
            <ac:spMk id="32" creationId="{E07C75AB-DE40-4671-A356-91552F69A9EF}"/>
          </ac:spMkLst>
        </pc:spChg>
        <pc:spChg chg="add del mod">
          <ac:chgData name="Chhabra, Aniket" userId="598e0514-bef3-4e71-b6aa-f2edd6441cff" providerId="ADAL" clId="{D0608F18-3840-4CA3-9A99-D984B41683E5}" dt="2020-12-23T06:42:28.442" v="309" actId="478"/>
          <ac:spMkLst>
            <pc:docMk/>
            <pc:sldMk cId="2455168547" sldId="260"/>
            <ac:spMk id="33" creationId="{F7FCA9F3-5907-485B-B556-EC33531F1CAD}"/>
          </ac:spMkLst>
        </pc:spChg>
        <pc:spChg chg="add del mod">
          <ac:chgData name="Chhabra, Aniket" userId="598e0514-bef3-4e71-b6aa-f2edd6441cff" providerId="ADAL" clId="{D0608F18-3840-4CA3-9A99-D984B41683E5}" dt="2020-12-23T06:42:27.583" v="308" actId="478"/>
          <ac:spMkLst>
            <pc:docMk/>
            <pc:sldMk cId="2455168547" sldId="260"/>
            <ac:spMk id="34" creationId="{F337A424-5D43-49B6-B5E2-5B7864093A19}"/>
          </ac:spMkLst>
        </pc:spChg>
        <pc:spChg chg="add del mod">
          <ac:chgData name="Chhabra, Aniket" userId="598e0514-bef3-4e71-b6aa-f2edd6441cff" providerId="ADAL" clId="{D0608F18-3840-4CA3-9A99-D984B41683E5}" dt="2020-12-23T06:42:26.618" v="307" actId="478"/>
          <ac:spMkLst>
            <pc:docMk/>
            <pc:sldMk cId="2455168547" sldId="260"/>
            <ac:spMk id="35" creationId="{D11F171D-5297-4A67-8EA7-5F3C0A5CF47F}"/>
          </ac:spMkLst>
        </pc:spChg>
        <pc:spChg chg="add del mod">
          <ac:chgData name="Chhabra, Aniket" userId="598e0514-bef3-4e71-b6aa-f2edd6441cff" providerId="ADAL" clId="{D0608F18-3840-4CA3-9A99-D984B41683E5}" dt="2020-12-23T06:42:18.646" v="304" actId="478"/>
          <ac:spMkLst>
            <pc:docMk/>
            <pc:sldMk cId="2455168547" sldId="260"/>
            <ac:spMk id="36" creationId="{482891BE-4F4C-4154-A735-C60EF70EDC78}"/>
          </ac:spMkLst>
        </pc:spChg>
        <pc:spChg chg="add del mod">
          <ac:chgData name="Chhabra, Aniket" userId="598e0514-bef3-4e71-b6aa-f2edd6441cff" providerId="ADAL" clId="{D0608F18-3840-4CA3-9A99-D984B41683E5}" dt="2020-12-23T06:42:21.730" v="305" actId="478"/>
          <ac:spMkLst>
            <pc:docMk/>
            <pc:sldMk cId="2455168547" sldId="260"/>
            <ac:spMk id="37" creationId="{E121A57A-D29A-4684-832D-6BDBAC45EEE9}"/>
          </ac:spMkLst>
        </pc:spChg>
        <pc:spChg chg="add mod">
          <ac:chgData name="Chhabra, Aniket" userId="598e0514-bef3-4e71-b6aa-f2edd6441cff" providerId="ADAL" clId="{D0608F18-3840-4CA3-9A99-D984B41683E5}" dt="2020-12-23T06:47:03.935" v="394" actId="20577"/>
          <ac:spMkLst>
            <pc:docMk/>
            <pc:sldMk cId="2455168547" sldId="260"/>
            <ac:spMk id="38" creationId="{0DAA86E1-1834-4911-AA83-2581FD90C42E}"/>
          </ac:spMkLst>
        </pc:spChg>
        <pc:spChg chg="add del mod">
          <ac:chgData name="Chhabra, Aniket" userId="598e0514-bef3-4e71-b6aa-f2edd6441cff" providerId="ADAL" clId="{D0608F18-3840-4CA3-9A99-D984B41683E5}" dt="2020-12-23T06:42:39.409" v="315" actId="478"/>
          <ac:spMkLst>
            <pc:docMk/>
            <pc:sldMk cId="2455168547" sldId="260"/>
            <ac:spMk id="39" creationId="{86CC614B-479B-41D9-9DC9-184931AACDDC}"/>
          </ac:spMkLst>
        </pc:spChg>
        <pc:spChg chg="add del mod">
          <ac:chgData name="Chhabra, Aniket" userId="598e0514-bef3-4e71-b6aa-f2edd6441cff" providerId="ADAL" clId="{D0608F18-3840-4CA3-9A99-D984B41683E5}" dt="2020-12-23T06:42:37.329" v="314" actId="478"/>
          <ac:spMkLst>
            <pc:docMk/>
            <pc:sldMk cId="2455168547" sldId="260"/>
            <ac:spMk id="40" creationId="{99183B3E-81A4-4E6F-8110-42B8316FC96F}"/>
          </ac:spMkLst>
        </pc:spChg>
        <pc:spChg chg="add del mod">
          <ac:chgData name="Chhabra, Aniket" userId="598e0514-bef3-4e71-b6aa-f2edd6441cff" providerId="ADAL" clId="{D0608F18-3840-4CA3-9A99-D984B41683E5}" dt="2020-12-23T06:42:36.587" v="313" actId="478"/>
          <ac:spMkLst>
            <pc:docMk/>
            <pc:sldMk cId="2455168547" sldId="260"/>
            <ac:spMk id="41" creationId="{D5B8DFAB-3A2F-488D-9303-BA2E5BC4FAD0}"/>
          </ac:spMkLst>
        </pc:spChg>
        <pc:spChg chg="add del mod">
          <ac:chgData name="Chhabra, Aniket" userId="598e0514-bef3-4e71-b6aa-f2edd6441cff" providerId="ADAL" clId="{D0608F18-3840-4CA3-9A99-D984B41683E5}" dt="2020-12-23T06:42:49.169" v="321" actId="478"/>
          <ac:spMkLst>
            <pc:docMk/>
            <pc:sldMk cId="2455168547" sldId="260"/>
            <ac:spMk id="42" creationId="{64ADDE3B-C13E-4056-8F42-294F20D9D725}"/>
          </ac:spMkLst>
        </pc:spChg>
        <pc:spChg chg="add del mod">
          <ac:chgData name="Chhabra, Aniket" userId="598e0514-bef3-4e71-b6aa-f2edd6441cff" providerId="ADAL" clId="{D0608F18-3840-4CA3-9A99-D984B41683E5}" dt="2020-12-23T06:42:42.980" v="317" actId="478"/>
          <ac:spMkLst>
            <pc:docMk/>
            <pc:sldMk cId="2455168547" sldId="260"/>
            <ac:spMk id="43" creationId="{A72D2993-8FAB-4424-A1A2-2BAF980950C4}"/>
          </ac:spMkLst>
        </pc:spChg>
        <pc:spChg chg="add del mod">
          <ac:chgData name="Chhabra, Aniket" userId="598e0514-bef3-4e71-b6aa-f2edd6441cff" providerId="ADAL" clId="{D0608F18-3840-4CA3-9A99-D984B41683E5}" dt="2020-12-23T06:43:59.669" v="345" actId="1076"/>
          <ac:spMkLst>
            <pc:docMk/>
            <pc:sldMk cId="2455168547" sldId="260"/>
            <ac:spMk id="44" creationId="{8D628BB1-10BF-4223-87FB-FFDAE0B47313}"/>
          </ac:spMkLst>
        </pc:spChg>
        <pc:spChg chg="add mod">
          <ac:chgData name="Chhabra, Aniket" userId="598e0514-bef3-4e71-b6aa-f2edd6441cff" providerId="ADAL" clId="{D0608F18-3840-4CA3-9A99-D984B41683E5}" dt="2020-12-23T06:44:31.376" v="359" actId="20577"/>
          <ac:spMkLst>
            <pc:docMk/>
            <pc:sldMk cId="2455168547" sldId="260"/>
            <ac:spMk id="45" creationId="{48472163-710E-48D0-B833-2EBF65D1B99B}"/>
          </ac:spMkLst>
        </pc:spChg>
        <pc:spChg chg="add mod">
          <ac:chgData name="Chhabra, Aniket" userId="598e0514-bef3-4e71-b6aa-f2edd6441cff" providerId="ADAL" clId="{D0608F18-3840-4CA3-9A99-D984B41683E5}" dt="2020-12-23T06:44:38.903" v="378" actId="20577"/>
          <ac:spMkLst>
            <pc:docMk/>
            <pc:sldMk cId="2455168547" sldId="260"/>
            <ac:spMk id="46" creationId="{B5FE0D6D-E75A-4B1D-BAF0-58CB68AC39EA}"/>
          </ac:spMkLst>
        </pc:spChg>
        <pc:spChg chg="add mod">
          <ac:chgData name="Chhabra, Aniket" userId="598e0514-bef3-4e71-b6aa-f2edd6441cff" providerId="ADAL" clId="{D0608F18-3840-4CA3-9A99-D984B41683E5}" dt="2020-12-23T06:44:49.172" v="381"/>
          <ac:spMkLst>
            <pc:docMk/>
            <pc:sldMk cId="2455168547" sldId="260"/>
            <ac:spMk id="47" creationId="{E1CBA5E5-589B-42FB-B321-5C8E951D49B7}"/>
          </ac:spMkLst>
        </pc:spChg>
        <pc:spChg chg="add mod">
          <ac:chgData name="Chhabra, Aniket" userId="598e0514-bef3-4e71-b6aa-f2edd6441cff" providerId="ADAL" clId="{D0608F18-3840-4CA3-9A99-D984B41683E5}" dt="2020-12-23T06:45:04.201" v="389" actId="20577"/>
          <ac:spMkLst>
            <pc:docMk/>
            <pc:sldMk cId="2455168547" sldId="260"/>
            <ac:spMk id="48" creationId="{1329D291-E855-4346-8C30-77DE981407E7}"/>
          </ac:spMkLst>
        </pc:spChg>
      </pc:sldChg>
      <pc:sldChg chg="addSp delSp modSp add mod">
        <pc:chgData name="Chhabra, Aniket" userId="598e0514-bef3-4e71-b6aa-f2edd6441cff" providerId="ADAL" clId="{D0608F18-3840-4CA3-9A99-D984B41683E5}" dt="2020-12-24T08:58:23.608" v="1148" actId="1076"/>
        <pc:sldMkLst>
          <pc:docMk/>
          <pc:sldMk cId="2330712525" sldId="261"/>
        </pc:sldMkLst>
        <pc:spChg chg="mod">
          <ac:chgData name="Chhabra, Aniket" userId="598e0514-bef3-4e71-b6aa-f2edd6441cff" providerId="ADAL" clId="{D0608F18-3840-4CA3-9A99-D984B41683E5}" dt="2020-12-23T09:21:19.676" v="464" actId="20577"/>
          <ac:spMkLst>
            <pc:docMk/>
            <pc:sldMk cId="2330712525" sldId="261"/>
            <ac:spMk id="2" creationId="{7183013F-CCFC-4588-B693-22F514492FED}"/>
          </ac:spMkLst>
        </pc:spChg>
        <pc:spChg chg="add mod">
          <ac:chgData name="Chhabra, Aniket" userId="598e0514-bef3-4e71-b6aa-f2edd6441cff" providerId="ADAL" clId="{D0608F18-3840-4CA3-9A99-D984B41683E5}" dt="2020-12-24T08:58:23.608" v="1148" actId="1076"/>
          <ac:spMkLst>
            <pc:docMk/>
            <pc:sldMk cId="2330712525" sldId="261"/>
            <ac:spMk id="3" creationId="{07A1BA4D-DCE2-40B3-94F9-48272F29860A}"/>
          </ac:spMkLst>
        </pc:spChg>
        <pc:spChg chg="del mod">
          <ac:chgData name="Chhabra, Aniket" userId="598e0514-bef3-4e71-b6aa-f2edd6441cff" providerId="ADAL" clId="{D0608F18-3840-4CA3-9A99-D984B41683E5}" dt="2020-12-23T09:25:31.736" v="558" actId="478"/>
          <ac:spMkLst>
            <pc:docMk/>
            <pc:sldMk cId="2330712525" sldId="261"/>
            <ac:spMk id="4" creationId="{F3807A01-B17C-42BF-AA7E-CF5C43C3B75F}"/>
          </ac:spMkLst>
        </pc:spChg>
        <pc:spChg chg="del">
          <ac:chgData name="Chhabra, Aniket" userId="598e0514-bef3-4e71-b6aa-f2edd6441cff" providerId="ADAL" clId="{D0608F18-3840-4CA3-9A99-D984B41683E5}" dt="2020-12-23T09:25:34.334" v="559" actId="478"/>
          <ac:spMkLst>
            <pc:docMk/>
            <pc:sldMk cId="2330712525" sldId="261"/>
            <ac:spMk id="5" creationId="{E414F076-81AF-4B04-A4B4-CD61BD34F93D}"/>
          </ac:spMkLst>
        </pc:spChg>
        <pc:spChg chg="del mod">
          <ac:chgData name="Chhabra, Aniket" userId="598e0514-bef3-4e71-b6aa-f2edd6441cff" providerId="ADAL" clId="{D0608F18-3840-4CA3-9A99-D984B41683E5}" dt="2020-12-23T09:22:28.317" v="508" actId="478"/>
          <ac:spMkLst>
            <pc:docMk/>
            <pc:sldMk cId="2330712525" sldId="261"/>
            <ac:spMk id="7" creationId="{146CE9CF-C344-42AA-93B1-EEA38DE31CA2}"/>
          </ac:spMkLst>
        </pc:spChg>
        <pc:spChg chg="del">
          <ac:chgData name="Chhabra, Aniket" userId="598e0514-bef3-4e71-b6aa-f2edd6441cff" providerId="ADAL" clId="{D0608F18-3840-4CA3-9A99-D984B41683E5}" dt="2020-12-23T09:25:31.736" v="558" actId="478"/>
          <ac:spMkLst>
            <pc:docMk/>
            <pc:sldMk cId="2330712525" sldId="261"/>
            <ac:spMk id="8" creationId="{681EB6FC-C508-4391-B5BD-CD2EF97DBC4D}"/>
          </ac:spMkLst>
        </pc:spChg>
        <pc:spChg chg="del">
          <ac:chgData name="Chhabra, Aniket" userId="598e0514-bef3-4e71-b6aa-f2edd6441cff" providerId="ADAL" clId="{D0608F18-3840-4CA3-9A99-D984B41683E5}" dt="2020-12-23T09:25:36.065" v="560" actId="478"/>
          <ac:spMkLst>
            <pc:docMk/>
            <pc:sldMk cId="2330712525" sldId="261"/>
            <ac:spMk id="9" creationId="{9F944C8C-941B-4D9A-8A8E-104458ED8E9C}"/>
          </ac:spMkLst>
        </pc:spChg>
        <pc:spChg chg="del">
          <ac:chgData name="Chhabra, Aniket" userId="598e0514-bef3-4e71-b6aa-f2edd6441cff" providerId="ADAL" clId="{D0608F18-3840-4CA3-9A99-D984B41683E5}" dt="2020-12-23T09:25:31.736" v="558" actId="478"/>
          <ac:spMkLst>
            <pc:docMk/>
            <pc:sldMk cId="2330712525" sldId="261"/>
            <ac:spMk id="10" creationId="{4A6DF01E-B6F8-462D-836A-F72BEBEAA248}"/>
          </ac:spMkLst>
        </pc:spChg>
        <pc:spChg chg="del">
          <ac:chgData name="Chhabra, Aniket" userId="598e0514-bef3-4e71-b6aa-f2edd6441cff" providerId="ADAL" clId="{D0608F18-3840-4CA3-9A99-D984B41683E5}" dt="2020-12-23T09:25:34.334" v="559" actId="478"/>
          <ac:spMkLst>
            <pc:docMk/>
            <pc:sldMk cId="2330712525" sldId="261"/>
            <ac:spMk id="11" creationId="{134AF28D-413E-411D-9AC4-202C96B56681}"/>
          </ac:spMkLst>
        </pc:spChg>
        <pc:spChg chg="add mod">
          <ac:chgData name="Chhabra, Aniket" userId="598e0514-bef3-4e71-b6aa-f2edd6441cff" providerId="ADAL" clId="{D0608F18-3840-4CA3-9A99-D984B41683E5}" dt="2020-12-23T12:20:15.232" v="853" actId="1035"/>
          <ac:spMkLst>
            <pc:docMk/>
            <pc:sldMk cId="2330712525" sldId="261"/>
            <ac:spMk id="12" creationId="{88E8F694-71E9-41DE-A2CA-92D77875A014}"/>
          </ac:spMkLst>
        </pc:spChg>
        <pc:spChg chg="mod">
          <ac:chgData name="Chhabra, Aniket" userId="598e0514-bef3-4e71-b6aa-f2edd6441cff" providerId="ADAL" clId="{D0608F18-3840-4CA3-9A99-D984B41683E5}" dt="2020-12-23T09:23:29.417" v="541" actId="20577"/>
          <ac:spMkLst>
            <pc:docMk/>
            <pc:sldMk cId="2330712525" sldId="261"/>
            <ac:spMk id="14" creationId="{AB323D53-914C-4142-8E14-FA8169D18BA0}"/>
          </ac:spMkLst>
        </pc:spChg>
        <pc:spChg chg="mod">
          <ac:chgData name="Chhabra, Aniket" userId="598e0514-bef3-4e71-b6aa-f2edd6441cff" providerId="ADAL" clId="{D0608F18-3840-4CA3-9A99-D984B41683E5}" dt="2020-12-23T09:23:17.500" v="522"/>
          <ac:spMkLst>
            <pc:docMk/>
            <pc:sldMk cId="2330712525" sldId="261"/>
            <ac:spMk id="15" creationId="{6F1E78F3-6161-4EEB-A27B-114643289C7D}"/>
          </ac:spMkLst>
        </pc:spChg>
        <pc:spChg chg="add mod">
          <ac:chgData name="Chhabra, Aniket" userId="598e0514-bef3-4e71-b6aa-f2edd6441cff" providerId="ADAL" clId="{D0608F18-3840-4CA3-9A99-D984B41683E5}" dt="2020-12-23T09:25:07.098" v="554" actId="20577"/>
          <ac:spMkLst>
            <pc:docMk/>
            <pc:sldMk cId="2330712525" sldId="261"/>
            <ac:spMk id="16" creationId="{243B0DF4-76AB-4D14-BC86-06F4681388DE}"/>
          </ac:spMkLst>
        </pc:spChg>
        <pc:spChg chg="add mod">
          <ac:chgData name="Chhabra, Aniket" userId="598e0514-bef3-4e71-b6aa-f2edd6441cff" providerId="ADAL" clId="{D0608F18-3840-4CA3-9A99-D984B41683E5}" dt="2020-12-23T09:25:45.506" v="563" actId="14100"/>
          <ac:spMkLst>
            <pc:docMk/>
            <pc:sldMk cId="2330712525" sldId="261"/>
            <ac:spMk id="17" creationId="{F5B034B0-6BD1-45E2-9D16-78B63CAB01B0}"/>
          </ac:spMkLst>
        </pc:spChg>
        <pc:spChg chg="mod">
          <ac:chgData name="Chhabra, Aniket" userId="598e0514-bef3-4e71-b6aa-f2edd6441cff" providerId="ADAL" clId="{D0608F18-3840-4CA3-9A99-D984B41683E5}" dt="2020-12-23T09:25:59.787" v="580" actId="20577"/>
          <ac:spMkLst>
            <pc:docMk/>
            <pc:sldMk cId="2330712525" sldId="261"/>
            <ac:spMk id="19" creationId="{053952C1-BB32-4A54-8E69-211B9430A882}"/>
          </ac:spMkLst>
        </pc:spChg>
        <pc:spChg chg="mod">
          <ac:chgData name="Chhabra, Aniket" userId="598e0514-bef3-4e71-b6aa-f2edd6441cff" providerId="ADAL" clId="{D0608F18-3840-4CA3-9A99-D984B41683E5}" dt="2020-12-23T09:25:54.185" v="567" actId="20577"/>
          <ac:spMkLst>
            <pc:docMk/>
            <pc:sldMk cId="2330712525" sldId="261"/>
            <ac:spMk id="20" creationId="{9DFD0D1B-893C-4E7A-AF60-87657B60CE02}"/>
          </ac:spMkLst>
        </pc:spChg>
        <pc:spChg chg="add mod">
          <ac:chgData name="Chhabra, Aniket" userId="598e0514-bef3-4e71-b6aa-f2edd6441cff" providerId="ADAL" clId="{D0608F18-3840-4CA3-9A99-D984B41683E5}" dt="2020-12-23T09:28:52.416" v="593" actId="1035"/>
          <ac:spMkLst>
            <pc:docMk/>
            <pc:sldMk cId="2330712525" sldId="261"/>
            <ac:spMk id="21" creationId="{8488BA7F-8745-4ECC-994B-A1CEBA55D4CE}"/>
          </ac:spMkLst>
        </pc:spChg>
        <pc:grpChg chg="add mod">
          <ac:chgData name="Chhabra, Aniket" userId="598e0514-bef3-4e71-b6aa-f2edd6441cff" providerId="ADAL" clId="{D0608F18-3840-4CA3-9A99-D984B41683E5}" dt="2020-12-23T09:24:50.770" v="550" actId="1076"/>
          <ac:grpSpMkLst>
            <pc:docMk/>
            <pc:sldMk cId="2330712525" sldId="261"/>
            <ac:grpSpMk id="13" creationId="{6C2939CC-8ACB-4790-AD4B-84177AB08AF5}"/>
          </ac:grpSpMkLst>
        </pc:grpChg>
        <pc:grpChg chg="add mod">
          <ac:chgData name="Chhabra, Aniket" userId="598e0514-bef3-4e71-b6aa-f2edd6441cff" providerId="ADAL" clId="{D0608F18-3840-4CA3-9A99-D984B41683E5}" dt="2020-12-23T09:28:52.416" v="593" actId="1035"/>
          <ac:grpSpMkLst>
            <pc:docMk/>
            <pc:sldMk cId="2330712525" sldId="261"/>
            <ac:grpSpMk id="18" creationId="{C1A8B382-98E8-4955-A6A4-7FA3183B7319}"/>
          </ac:grpSpMkLst>
        </pc:grpChg>
        <pc:picChg chg="add del mod">
          <ac:chgData name="Chhabra, Aniket" userId="598e0514-bef3-4e71-b6aa-f2edd6441cff" providerId="ADAL" clId="{D0608F18-3840-4CA3-9A99-D984B41683E5}" dt="2020-12-23T16:13:58.232" v="1033" actId="478"/>
          <ac:picMkLst>
            <pc:docMk/>
            <pc:sldMk cId="2330712525" sldId="261"/>
            <ac:picMk id="22" creationId="{1B67FD73-FA32-41EB-B6E2-C774FD2E5C32}"/>
          </ac:picMkLst>
        </pc:picChg>
        <pc:picChg chg="add mod">
          <ac:chgData name="Chhabra, Aniket" userId="598e0514-bef3-4e71-b6aa-f2edd6441cff" providerId="ADAL" clId="{D0608F18-3840-4CA3-9A99-D984B41683E5}" dt="2020-12-23T16:13:44.109" v="1031" actId="1076"/>
          <ac:picMkLst>
            <pc:docMk/>
            <pc:sldMk cId="2330712525" sldId="261"/>
            <ac:picMk id="24" creationId="{7641BF5E-592E-4B15-B282-89ECA1AE3476}"/>
          </ac:picMkLst>
        </pc:picChg>
        <pc:picChg chg="add mod">
          <ac:chgData name="Chhabra, Aniket" userId="598e0514-bef3-4e71-b6aa-f2edd6441cff" providerId="ADAL" clId="{D0608F18-3840-4CA3-9A99-D984B41683E5}" dt="2020-12-23T16:14:05.019" v="1038" actId="1076"/>
          <ac:picMkLst>
            <pc:docMk/>
            <pc:sldMk cId="2330712525" sldId="261"/>
            <ac:picMk id="26" creationId="{53754F1A-9DF0-41FD-ACA1-E61C68F6A16B}"/>
          </ac:picMkLst>
        </pc:picChg>
      </pc:sldChg>
      <pc:sldChg chg="addSp delSp modSp add mod modNotesTx">
        <pc:chgData name="Chhabra, Aniket" userId="598e0514-bef3-4e71-b6aa-f2edd6441cff" providerId="ADAL" clId="{D0608F18-3840-4CA3-9A99-D984B41683E5}" dt="2020-12-24T08:59:55.684" v="1187" actId="1035"/>
        <pc:sldMkLst>
          <pc:docMk/>
          <pc:sldMk cId="983064528" sldId="262"/>
        </pc:sldMkLst>
        <pc:spChg chg="mod">
          <ac:chgData name="Chhabra, Aniket" userId="598e0514-bef3-4e71-b6aa-f2edd6441cff" providerId="ADAL" clId="{D0608F18-3840-4CA3-9A99-D984B41683E5}" dt="2020-12-24T08:59:55.684" v="1187" actId="1035"/>
          <ac:spMkLst>
            <pc:docMk/>
            <pc:sldMk cId="983064528" sldId="262"/>
            <ac:spMk id="12" creationId="{88E8F694-71E9-41DE-A2CA-92D77875A014}"/>
          </ac:spMkLst>
        </pc:spChg>
        <pc:spChg chg="mod">
          <ac:chgData name="Chhabra, Aniket" userId="598e0514-bef3-4e71-b6aa-f2edd6441cff" providerId="ADAL" clId="{D0608F18-3840-4CA3-9A99-D984B41683E5}" dt="2020-12-23T09:29:14.016" v="597"/>
          <ac:spMkLst>
            <pc:docMk/>
            <pc:sldMk cId="983064528" sldId="262"/>
            <ac:spMk id="14" creationId="{AB323D53-914C-4142-8E14-FA8169D18BA0}"/>
          </ac:spMkLst>
        </pc:spChg>
        <pc:spChg chg="mod">
          <ac:chgData name="Chhabra, Aniket" userId="598e0514-bef3-4e71-b6aa-f2edd6441cff" providerId="ADAL" clId="{D0608F18-3840-4CA3-9A99-D984B41683E5}" dt="2020-12-23T09:29:18.049" v="599" actId="20577"/>
          <ac:spMkLst>
            <pc:docMk/>
            <pc:sldMk cId="983064528" sldId="262"/>
            <ac:spMk id="15" creationId="{6F1E78F3-6161-4EEB-A27B-114643289C7D}"/>
          </ac:spMkLst>
        </pc:spChg>
        <pc:spChg chg="del mod">
          <ac:chgData name="Chhabra, Aniket" userId="598e0514-bef3-4e71-b6aa-f2edd6441cff" providerId="ADAL" clId="{D0608F18-3840-4CA3-9A99-D984B41683E5}" dt="2020-12-23T12:10:28.889" v="606" actId="478"/>
          <ac:spMkLst>
            <pc:docMk/>
            <pc:sldMk cId="983064528" sldId="262"/>
            <ac:spMk id="16" creationId="{243B0DF4-76AB-4D14-BC86-06F4681388DE}"/>
          </ac:spMkLst>
        </pc:spChg>
        <pc:spChg chg="del">
          <ac:chgData name="Chhabra, Aniket" userId="598e0514-bef3-4e71-b6aa-f2edd6441cff" providerId="ADAL" clId="{D0608F18-3840-4CA3-9A99-D984B41683E5}" dt="2020-12-23T12:09:45.928" v="600" actId="478"/>
          <ac:spMkLst>
            <pc:docMk/>
            <pc:sldMk cId="983064528" sldId="262"/>
            <ac:spMk id="17" creationId="{F5B034B0-6BD1-45E2-9D16-78B63CAB01B0}"/>
          </ac:spMkLst>
        </pc:spChg>
        <pc:spChg chg="mod">
          <ac:chgData name="Chhabra, Aniket" userId="598e0514-bef3-4e71-b6aa-f2edd6441cff" providerId="ADAL" clId="{D0608F18-3840-4CA3-9A99-D984B41683E5}" dt="2020-12-23T12:11:26.384" v="652" actId="20577"/>
          <ac:spMkLst>
            <pc:docMk/>
            <pc:sldMk cId="983064528" sldId="262"/>
            <ac:spMk id="19" creationId="{053952C1-BB32-4A54-8E69-211B9430A882}"/>
          </ac:spMkLst>
        </pc:spChg>
        <pc:spChg chg="mod">
          <ac:chgData name="Chhabra, Aniket" userId="598e0514-bef3-4e71-b6aa-f2edd6441cff" providerId="ADAL" clId="{D0608F18-3840-4CA3-9A99-D984B41683E5}" dt="2020-12-23T12:12:23.603" v="728" actId="20577"/>
          <ac:spMkLst>
            <pc:docMk/>
            <pc:sldMk cId="983064528" sldId="262"/>
            <ac:spMk id="20" creationId="{9DFD0D1B-893C-4E7A-AF60-87657B60CE02}"/>
          </ac:spMkLst>
        </pc:spChg>
        <pc:spChg chg="del mod">
          <ac:chgData name="Chhabra, Aniket" userId="598e0514-bef3-4e71-b6aa-f2edd6441cff" providerId="ADAL" clId="{D0608F18-3840-4CA3-9A99-D984B41683E5}" dt="2020-12-24T08:58:36.380" v="1151" actId="21"/>
          <ac:spMkLst>
            <pc:docMk/>
            <pc:sldMk cId="983064528" sldId="262"/>
            <ac:spMk id="21" creationId="{8488BA7F-8745-4ECC-994B-A1CEBA55D4CE}"/>
          </ac:spMkLst>
        </pc:spChg>
        <pc:spChg chg="add mod">
          <ac:chgData name="Chhabra, Aniket" userId="598e0514-bef3-4e71-b6aa-f2edd6441cff" providerId="ADAL" clId="{D0608F18-3840-4CA3-9A99-D984B41683E5}" dt="2020-12-24T08:58:55.611" v="1156" actId="255"/>
          <ac:spMkLst>
            <pc:docMk/>
            <pc:sldMk cId="983064528" sldId="262"/>
            <ac:spMk id="22" creationId="{A82D2706-EF04-4FE4-AF18-ACD2E3C28945}"/>
          </ac:spMkLst>
        </pc:spChg>
        <pc:spChg chg="mod">
          <ac:chgData name="Chhabra, Aniket" userId="598e0514-bef3-4e71-b6aa-f2edd6441cff" providerId="ADAL" clId="{D0608F18-3840-4CA3-9A99-D984B41683E5}" dt="2020-12-23T12:13:19.963" v="749" actId="20577"/>
          <ac:spMkLst>
            <pc:docMk/>
            <pc:sldMk cId="983064528" sldId="262"/>
            <ac:spMk id="24" creationId="{09CD6FE8-2997-4505-9B5B-1BC84DF673AB}"/>
          </ac:spMkLst>
        </pc:spChg>
        <pc:spChg chg="mod">
          <ac:chgData name="Chhabra, Aniket" userId="598e0514-bef3-4e71-b6aa-f2edd6441cff" providerId="ADAL" clId="{D0608F18-3840-4CA3-9A99-D984B41683E5}" dt="2020-12-24T08:59:01.754" v="1160" actId="20577"/>
          <ac:spMkLst>
            <pc:docMk/>
            <pc:sldMk cId="983064528" sldId="262"/>
            <ac:spMk id="25" creationId="{E13F6721-37B5-4AE3-B1E9-CFD507CD970A}"/>
          </ac:spMkLst>
        </pc:spChg>
        <pc:spChg chg="add mod">
          <ac:chgData name="Chhabra, Aniket" userId="598e0514-bef3-4e71-b6aa-f2edd6441cff" providerId="ADAL" clId="{D0608F18-3840-4CA3-9A99-D984B41683E5}" dt="2020-12-24T08:58:29.140" v="1150" actId="1076"/>
          <ac:spMkLst>
            <pc:docMk/>
            <pc:sldMk cId="983064528" sldId="262"/>
            <ac:spMk id="26" creationId="{B2A256BC-DC74-490F-B504-05DEDB94C56B}"/>
          </ac:spMkLst>
        </pc:spChg>
        <pc:spChg chg="add del mod">
          <ac:chgData name="Chhabra, Aniket" userId="598e0514-bef3-4e71-b6aa-f2edd6441cff" providerId="ADAL" clId="{D0608F18-3840-4CA3-9A99-D984B41683E5}" dt="2020-12-23T12:15:49.767" v="759" actId="478"/>
          <ac:spMkLst>
            <pc:docMk/>
            <pc:sldMk cId="983064528" sldId="262"/>
            <ac:spMk id="29" creationId="{A39EC36C-47E9-4F26-A3E3-37B2C3BE6EB2}"/>
          </ac:spMkLst>
        </pc:spChg>
        <pc:spChg chg="add mod">
          <ac:chgData name="Chhabra, Aniket" userId="598e0514-bef3-4e71-b6aa-f2edd6441cff" providerId="ADAL" clId="{D0608F18-3840-4CA3-9A99-D984B41683E5}" dt="2020-12-24T08:59:20.302" v="1161" actId="1076"/>
          <ac:spMkLst>
            <pc:docMk/>
            <pc:sldMk cId="983064528" sldId="262"/>
            <ac:spMk id="30" creationId="{2A197E59-75A0-414D-B78E-5D4E6043C106}"/>
          </ac:spMkLst>
        </pc:spChg>
        <pc:spChg chg="add del mod">
          <ac:chgData name="Chhabra, Aniket" userId="598e0514-bef3-4e71-b6aa-f2edd6441cff" providerId="ADAL" clId="{D0608F18-3840-4CA3-9A99-D984B41683E5}" dt="2020-12-23T12:16:46.154" v="776" actId="22"/>
          <ac:spMkLst>
            <pc:docMk/>
            <pc:sldMk cId="983064528" sldId="262"/>
            <ac:spMk id="32" creationId="{09FC3AA9-C0FC-41D8-89F3-9BE3F29CDC3C}"/>
          </ac:spMkLst>
        </pc:spChg>
        <pc:spChg chg="add mod">
          <ac:chgData name="Chhabra, Aniket" userId="598e0514-bef3-4e71-b6aa-f2edd6441cff" providerId="ADAL" clId="{D0608F18-3840-4CA3-9A99-D984B41683E5}" dt="2020-12-24T08:59:20.302" v="1161" actId="1076"/>
          <ac:spMkLst>
            <pc:docMk/>
            <pc:sldMk cId="983064528" sldId="262"/>
            <ac:spMk id="36" creationId="{93202B73-627D-4BBC-94D9-63D575BAA7A5}"/>
          </ac:spMkLst>
        </pc:spChg>
        <pc:grpChg chg="mod">
          <ac:chgData name="Chhabra, Aniket" userId="598e0514-bef3-4e71-b6aa-f2edd6441cff" providerId="ADAL" clId="{D0608F18-3840-4CA3-9A99-D984B41683E5}" dt="2020-12-23T09:29:10.961" v="596" actId="1076"/>
          <ac:grpSpMkLst>
            <pc:docMk/>
            <pc:sldMk cId="983064528" sldId="262"/>
            <ac:grpSpMk id="13" creationId="{6C2939CC-8ACB-4790-AD4B-84177AB08AF5}"/>
          </ac:grpSpMkLst>
        </pc:grpChg>
        <pc:grpChg chg="del mod">
          <ac:chgData name="Chhabra, Aniket" userId="598e0514-bef3-4e71-b6aa-f2edd6441cff" providerId="ADAL" clId="{D0608F18-3840-4CA3-9A99-D984B41683E5}" dt="2020-12-24T08:58:36.380" v="1151" actId="21"/>
          <ac:grpSpMkLst>
            <pc:docMk/>
            <pc:sldMk cId="983064528" sldId="262"/>
            <ac:grpSpMk id="18" creationId="{C1A8B382-98E8-4955-A6A4-7FA3183B7319}"/>
          </ac:grpSpMkLst>
        </pc:grpChg>
        <pc:grpChg chg="add mod">
          <ac:chgData name="Chhabra, Aniket" userId="598e0514-bef3-4e71-b6aa-f2edd6441cff" providerId="ADAL" clId="{D0608F18-3840-4CA3-9A99-D984B41683E5}" dt="2020-12-24T08:59:20.302" v="1161" actId="1076"/>
          <ac:grpSpMkLst>
            <pc:docMk/>
            <pc:sldMk cId="983064528" sldId="262"/>
            <ac:grpSpMk id="23" creationId="{F13A50AC-9F38-4C6A-8B05-A2F4367AC667}"/>
          </ac:grpSpMkLst>
        </pc:grpChg>
        <pc:picChg chg="add del mod">
          <ac:chgData name="Chhabra, Aniket" userId="598e0514-bef3-4e71-b6aa-f2edd6441cff" providerId="ADAL" clId="{D0608F18-3840-4CA3-9A99-D984B41683E5}" dt="2020-12-24T08:58:36.380" v="1151" actId="21"/>
          <ac:picMkLst>
            <pc:docMk/>
            <pc:sldMk cId="983064528" sldId="262"/>
            <ac:picMk id="4" creationId="{B8DDFDD4-82F4-495D-83E1-443E5B317250}"/>
          </ac:picMkLst>
        </pc:picChg>
        <pc:picChg chg="add del mod">
          <ac:chgData name="Chhabra, Aniket" userId="598e0514-bef3-4e71-b6aa-f2edd6441cff" providerId="ADAL" clId="{D0608F18-3840-4CA3-9A99-D984B41683E5}" dt="2020-12-23T12:15:50.950" v="760" actId="478"/>
          <ac:picMkLst>
            <pc:docMk/>
            <pc:sldMk cId="983064528" sldId="262"/>
            <ac:picMk id="6" creationId="{B1F7DD61-676A-49D7-AD8B-B40053659FD8}"/>
          </ac:picMkLst>
        </pc:picChg>
        <pc:picChg chg="add del mod">
          <ac:chgData name="Chhabra, Aniket" userId="598e0514-bef3-4e71-b6aa-f2edd6441cff" providerId="ADAL" clId="{D0608F18-3840-4CA3-9A99-D984B41683E5}" dt="2020-12-23T12:16:14.705" v="770" actId="478"/>
          <ac:picMkLst>
            <pc:docMk/>
            <pc:sldMk cId="983064528" sldId="262"/>
            <ac:picMk id="8" creationId="{F7A6970B-DA87-4651-A06C-C5532D7FF53A}"/>
          </ac:picMkLst>
        </pc:picChg>
        <pc:picChg chg="add mod">
          <ac:chgData name="Chhabra, Aniket" userId="598e0514-bef3-4e71-b6aa-f2edd6441cff" providerId="ADAL" clId="{D0608F18-3840-4CA3-9A99-D984B41683E5}" dt="2020-12-24T08:59:20.302" v="1161" actId="1076"/>
          <ac:picMkLst>
            <pc:docMk/>
            <pc:sldMk cId="983064528" sldId="262"/>
            <ac:picMk id="11" creationId="{5BD6941E-824C-4C6B-9FD6-D062BD9B3137}"/>
          </ac:picMkLst>
        </pc:picChg>
        <pc:picChg chg="add del mod">
          <ac:chgData name="Chhabra, Aniket" userId="598e0514-bef3-4e71-b6aa-f2edd6441cff" providerId="ADAL" clId="{D0608F18-3840-4CA3-9A99-D984B41683E5}" dt="2020-12-23T12:13:22.286" v="750" actId="478"/>
          <ac:picMkLst>
            <pc:docMk/>
            <pc:sldMk cId="983064528" sldId="262"/>
            <ac:picMk id="26" creationId="{E9C8D3BA-38D5-4D4E-9F11-16B45C045574}"/>
          </ac:picMkLst>
        </pc:picChg>
        <pc:picChg chg="add del mod">
          <ac:chgData name="Chhabra, Aniket" userId="598e0514-bef3-4e71-b6aa-f2edd6441cff" providerId="ADAL" clId="{D0608F18-3840-4CA3-9A99-D984B41683E5}" dt="2020-12-23T12:13:39.325" v="752"/>
          <ac:picMkLst>
            <pc:docMk/>
            <pc:sldMk cId="983064528" sldId="262"/>
            <ac:picMk id="27" creationId="{CEB2A54F-C361-4202-9956-762E66AEBCB9}"/>
          </ac:picMkLst>
        </pc:picChg>
        <pc:picChg chg="add del mod">
          <ac:chgData name="Chhabra, Aniket" userId="598e0514-bef3-4e71-b6aa-f2edd6441cff" providerId="ADAL" clId="{D0608F18-3840-4CA3-9A99-D984B41683E5}" dt="2020-12-23T12:13:43.487" v="754"/>
          <ac:picMkLst>
            <pc:docMk/>
            <pc:sldMk cId="983064528" sldId="262"/>
            <ac:picMk id="28" creationId="{5FF1B418-259E-428A-B360-7503F4F2F3EF}"/>
          </ac:picMkLst>
        </pc:picChg>
        <pc:picChg chg="add mod">
          <ac:chgData name="Chhabra, Aniket" userId="598e0514-bef3-4e71-b6aa-f2edd6441cff" providerId="ADAL" clId="{D0608F18-3840-4CA3-9A99-D984B41683E5}" dt="2020-12-24T08:59:20.302" v="1161" actId="1076"/>
          <ac:picMkLst>
            <pc:docMk/>
            <pc:sldMk cId="983064528" sldId="262"/>
            <ac:picMk id="34" creationId="{E3518F27-7F4B-4BE6-96DC-2C412B56538B}"/>
          </ac:picMkLst>
        </pc:picChg>
      </pc:sldChg>
      <pc:sldChg chg="addSp delSp modSp add mod">
        <pc:chgData name="Chhabra, Aniket" userId="598e0514-bef3-4e71-b6aa-f2edd6441cff" providerId="ADAL" clId="{D0608F18-3840-4CA3-9A99-D984B41683E5}" dt="2020-12-27T06:02:40.177" v="2920" actId="14100"/>
        <pc:sldMkLst>
          <pc:docMk/>
          <pc:sldMk cId="3191205605" sldId="263"/>
        </pc:sldMkLst>
        <pc:spChg chg="add del">
          <ac:chgData name="Chhabra, Aniket" userId="598e0514-bef3-4e71-b6aa-f2edd6441cff" providerId="ADAL" clId="{D0608F18-3840-4CA3-9A99-D984B41683E5}" dt="2020-12-23T15:21:46.723" v="945"/>
          <ac:spMkLst>
            <pc:docMk/>
            <pc:sldMk cId="3191205605" sldId="263"/>
            <ac:spMk id="10" creationId="{C0CF3B28-C647-479B-B05D-D376DB05D1F8}"/>
          </ac:spMkLst>
        </pc:spChg>
        <pc:spChg chg="add del mod">
          <ac:chgData name="Chhabra, Aniket" userId="598e0514-bef3-4e71-b6aa-f2edd6441cff" providerId="ADAL" clId="{D0608F18-3840-4CA3-9A99-D984B41683E5}" dt="2020-12-23T15:21:51.874" v="949" actId="478"/>
          <ac:spMkLst>
            <pc:docMk/>
            <pc:sldMk cId="3191205605" sldId="263"/>
            <ac:spMk id="11" creationId="{783769FA-F95E-4D2B-BE0C-3BE649834B05}"/>
          </ac:spMkLst>
        </pc:spChg>
        <pc:spChg chg="mod">
          <ac:chgData name="Chhabra, Aniket" userId="598e0514-bef3-4e71-b6aa-f2edd6441cff" providerId="ADAL" clId="{D0608F18-3840-4CA3-9A99-D984B41683E5}" dt="2020-12-24T08:59:52.162" v="1178" actId="1076"/>
          <ac:spMkLst>
            <pc:docMk/>
            <pc:sldMk cId="3191205605" sldId="263"/>
            <ac:spMk id="12" creationId="{88E8F694-71E9-41DE-A2CA-92D77875A014}"/>
          </ac:spMkLst>
        </pc:spChg>
        <pc:spChg chg="mod">
          <ac:chgData name="Chhabra, Aniket" userId="598e0514-bef3-4e71-b6aa-f2edd6441cff" providerId="ADAL" clId="{D0608F18-3840-4CA3-9A99-D984B41683E5}" dt="2020-12-23T12:19:40.570" v="807" actId="20577"/>
          <ac:spMkLst>
            <pc:docMk/>
            <pc:sldMk cId="3191205605" sldId="263"/>
            <ac:spMk id="14" creationId="{AB323D53-914C-4142-8E14-FA8169D18BA0}"/>
          </ac:spMkLst>
        </pc:spChg>
        <pc:spChg chg="mod">
          <ac:chgData name="Chhabra, Aniket" userId="598e0514-bef3-4e71-b6aa-f2edd6441cff" providerId="ADAL" clId="{D0608F18-3840-4CA3-9A99-D984B41683E5}" dt="2020-12-23T12:19:36.090" v="802" actId="20577"/>
          <ac:spMkLst>
            <pc:docMk/>
            <pc:sldMk cId="3191205605" sldId="263"/>
            <ac:spMk id="15" creationId="{6F1E78F3-6161-4EEB-A27B-114643289C7D}"/>
          </ac:spMkLst>
        </pc:spChg>
        <pc:spChg chg="del mod">
          <ac:chgData name="Chhabra, Aniket" userId="598e0514-bef3-4e71-b6aa-f2edd6441cff" providerId="ADAL" clId="{D0608F18-3840-4CA3-9A99-D984B41683E5}" dt="2020-12-23T15:21:08.260" v="930" actId="21"/>
          <ac:spMkLst>
            <pc:docMk/>
            <pc:sldMk cId="3191205605" sldId="263"/>
            <ac:spMk id="16" creationId="{243B0DF4-76AB-4D14-BC86-06F4681388DE}"/>
          </ac:spMkLst>
        </pc:spChg>
        <pc:spChg chg="add mod">
          <ac:chgData name="Chhabra, Aniket" userId="598e0514-bef3-4e71-b6aa-f2edd6441cff" providerId="ADAL" clId="{D0608F18-3840-4CA3-9A99-D984B41683E5}" dt="2020-12-24T09:00:09.167" v="1195" actId="1035"/>
          <ac:spMkLst>
            <pc:docMk/>
            <pc:sldMk cId="3191205605" sldId="263"/>
            <ac:spMk id="17" creationId="{DF805FE2-0E07-4BCF-AE7C-3AB30586817B}"/>
          </ac:spMkLst>
        </pc:spChg>
        <pc:spChg chg="del">
          <ac:chgData name="Chhabra, Aniket" userId="598e0514-bef3-4e71-b6aa-f2edd6441cff" providerId="ADAL" clId="{D0608F18-3840-4CA3-9A99-D984B41683E5}" dt="2020-12-23T12:20:00.742" v="811" actId="478"/>
          <ac:spMkLst>
            <pc:docMk/>
            <pc:sldMk cId="3191205605" sldId="263"/>
            <ac:spMk id="17" creationId="{F5B034B0-6BD1-45E2-9D16-78B63CAB01B0}"/>
          </ac:spMkLst>
        </pc:spChg>
        <pc:spChg chg="mod">
          <ac:chgData name="Chhabra, Aniket" userId="598e0514-bef3-4e71-b6aa-f2edd6441cff" providerId="ADAL" clId="{D0608F18-3840-4CA3-9A99-D984B41683E5}" dt="2020-12-23T12:24:31.969" v="873" actId="20577"/>
          <ac:spMkLst>
            <pc:docMk/>
            <pc:sldMk cId="3191205605" sldId="263"/>
            <ac:spMk id="19" creationId="{053952C1-BB32-4A54-8E69-211B9430A882}"/>
          </ac:spMkLst>
        </pc:spChg>
        <pc:spChg chg="mod">
          <ac:chgData name="Chhabra, Aniket" userId="598e0514-bef3-4e71-b6aa-f2edd6441cff" providerId="ADAL" clId="{D0608F18-3840-4CA3-9A99-D984B41683E5}" dt="2020-12-24T09:00:53.724" v="1207" actId="20577"/>
          <ac:spMkLst>
            <pc:docMk/>
            <pc:sldMk cId="3191205605" sldId="263"/>
            <ac:spMk id="20" creationId="{9DFD0D1B-893C-4E7A-AF60-87657B60CE02}"/>
          </ac:spMkLst>
        </pc:spChg>
        <pc:spChg chg="mod">
          <ac:chgData name="Chhabra, Aniket" userId="598e0514-bef3-4e71-b6aa-f2edd6441cff" providerId="ADAL" clId="{D0608F18-3840-4CA3-9A99-D984B41683E5}" dt="2020-12-24T08:59:33.834" v="1163" actId="1076"/>
          <ac:spMkLst>
            <pc:docMk/>
            <pc:sldMk cId="3191205605" sldId="263"/>
            <ac:spMk id="21" creationId="{8488BA7F-8745-4ECC-994B-A1CEBA55D4CE}"/>
          </ac:spMkLst>
        </pc:spChg>
        <pc:spChg chg="add del mod">
          <ac:chgData name="Chhabra, Aniket" userId="598e0514-bef3-4e71-b6aa-f2edd6441cff" providerId="ADAL" clId="{D0608F18-3840-4CA3-9A99-D984B41683E5}" dt="2020-12-23T15:21:22.172" v="934" actId="21"/>
          <ac:spMkLst>
            <pc:docMk/>
            <pc:sldMk cId="3191205605" sldId="263"/>
            <ac:spMk id="22" creationId="{420CBEB7-F3AF-413A-B77A-90DB0EB660F6}"/>
          </ac:spMkLst>
        </pc:spChg>
        <pc:spChg chg="add mod">
          <ac:chgData name="Chhabra, Aniket" userId="598e0514-bef3-4e71-b6aa-f2edd6441cff" providerId="ADAL" clId="{D0608F18-3840-4CA3-9A99-D984B41683E5}" dt="2020-12-23T15:25:09.707" v="1026" actId="113"/>
          <ac:spMkLst>
            <pc:docMk/>
            <pc:sldMk cId="3191205605" sldId="263"/>
            <ac:spMk id="26" creationId="{5B357EB2-C0C7-423B-A740-6849EDC297D8}"/>
          </ac:spMkLst>
        </pc:spChg>
        <pc:spChg chg="add mod">
          <ac:chgData name="Chhabra, Aniket" userId="598e0514-bef3-4e71-b6aa-f2edd6441cff" providerId="ADAL" clId="{D0608F18-3840-4CA3-9A99-D984B41683E5}" dt="2020-12-23T15:24:00.128" v="992"/>
          <ac:spMkLst>
            <pc:docMk/>
            <pc:sldMk cId="3191205605" sldId="263"/>
            <ac:spMk id="28" creationId="{EF24A705-4783-4DBF-8375-E443D37763D6}"/>
          </ac:spMkLst>
        </pc:spChg>
        <pc:spChg chg="add mod">
          <ac:chgData name="Chhabra, Aniket" userId="598e0514-bef3-4e71-b6aa-f2edd6441cff" providerId="ADAL" clId="{D0608F18-3840-4CA3-9A99-D984B41683E5}" dt="2020-12-23T15:24:40.261" v="1014" actId="255"/>
          <ac:spMkLst>
            <pc:docMk/>
            <pc:sldMk cId="3191205605" sldId="263"/>
            <ac:spMk id="32" creationId="{4A2B59D6-A829-4C4F-9034-39DB9C885063}"/>
          </ac:spMkLst>
        </pc:spChg>
        <pc:spChg chg="add mod">
          <ac:chgData name="Chhabra, Aniket" userId="598e0514-bef3-4e71-b6aa-f2edd6441cff" providerId="ADAL" clId="{D0608F18-3840-4CA3-9A99-D984B41683E5}" dt="2020-12-23T15:23:53.104" v="990" actId="1076"/>
          <ac:spMkLst>
            <pc:docMk/>
            <pc:sldMk cId="3191205605" sldId="263"/>
            <ac:spMk id="33" creationId="{EE271073-E08B-44C1-AD99-F6D2200F2496}"/>
          </ac:spMkLst>
        </pc:spChg>
        <pc:spChg chg="add mod">
          <ac:chgData name="Chhabra, Aniket" userId="598e0514-bef3-4e71-b6aa-f2edd6441cff" providerId="ADAL" clId="{D0608F18-3840-4CA3-9A99-D984B41683E5}" dt="2020-12-23T15:24:54.984" v="1020" actId="404"/>
          <ac:spMkLst>
            <pc:docMk/>
            <pc:sldMk cId="3191205605" sldId="263"/>
            <ac:spMk id="35" creationId="{2D63B870-C549-4068-9BF4-850B47736655}"/>
          </ac:spMkLst>
        </pc:spChg>
        <pc:spChg chg="add mod">
          <ac:chgData name="Chhabra, Aniket" userId="598e0514-bef3-4e71-b6aa-f2edd6441cff" providerId="ADAL" clId="{D0608F18-3840-4CA3-9A99-D984B41683E5}" dt="2020-12-23T15:25:01.127" v="1023" actId="14100"/>
          <ac:spMkLst>
            <pc:docMk/>
            <pc:sldMk cId="3191205605" sldId="263"/>
            <ac:spMk id="37" creationId="{43D54D57-143E-4D1E-BA4C-5B5B853D7821}"/>
          </ac:spMkLst>
        </pc:spChg>
        <pc:grpChg chg="del">
          <ac:chgData name="Chhabra, Aniket" userId="598e0514-bef3-4e71-b6aa-f2edd6441cff" providerId="ADAL" clId="{D0608F18-3840-4CA3-9A99-D984B41683E5}" dt="2020-12-23T15:21:08.260" v="930" actId="21"/>
          <ac:grpSpMkLst>
            <pc:docMk/>
            <pc:sldMk cId="3191205605" sldId="263"/>
            <ac:grpSpMk id="13" creationId="{6C2939CC-8ACB-4790-AD4B-84177AB08AF5}"/>
          </ac:grpSpMkLst>
        </pc:grpChg>
        <pc:grpChg chg="mod">
          <ac:chgData name="Chhabra, Aniket" userId="598e0514-bef3-4e71-b6aa-f2edd6441cff" providerId="ADAL" clId="{D0608F18-3840-4CA3-9A99-D984B41683E5}" dt="2020-12-24T08:59:36.448" v="1164" actId="1076"/>
          <ac:grpSpMkLst>
            <pc:docMk/>
            <pc:sldMk cId="3191205605" sldId="263"/>
            <ac:grpSpMk id="18" creationId="{C1A8B382-98E8-4955-A6A4-7FA3183B7319}"/>
          </ac:grpSpMkLst>
        </pc:grpChg>
        <pc:picChg chg="add del mod">
          <ac:chgData name="Chhabra, Aniket" userId="598e0514-bef3-4e71-b6aa-f2edd6441cff" providerId="ADAL" clId="{D0608F18-3840-4CA3-9A99-D984B41683E5}" dt="2020-12-24T08:59:52.922" v="1179" actId="1076"/>
          <ac:picMkLst>
            <pc:docMk/>
            <pc:sldMk cId="3191205605" sldId="263"/>
            <ac:picMk id="5" creationId="{AD7F2E6F-E5B9-4C00-A6B1-68F82B7C8E89}"/>
          </ac:picMkLst>
        </pc:picChg>
        <pc:picChg chg="add mod">
          <ac:chgData name="Chhabra, Aniket" userId="598e0514-bef3-4e71-b6aa-f2edd6441cff" providerId="ADAL" clId="{D0608F18-3840-4CA3-9A99-D984B41683E5}" dt="2020-12-27T06:02:40.177" v="2920" actId="14100"/>
          <ac:picMkLst>
            <pc:docMk/>
            <pc:sldMk cId="3191205605" sldId="263"/>
            <ac:picMk id="7" creationId="{41F958F5-6865-4A3F-929D-B6F753AC2D76}"/>
          </ac:picMkLst>
        </pc:picChg>
        <pc:picChg chg="add del">
          <ac:chgData name="Chhabra, Aniket" userId="598e0514-bef3-4e71-b6aa-f2edd6441cff" providerId="ADAL" clId="{D0608F18-3840-4CA3-9A99-D984B41683E5}" dt="2020-12-23T15:20:54.699" v="925" actId="22"/>
          <ac:picMkLst>
            <pc:docMk/>
            <pc:sldMk cId="3191205605" sldId="263"/>
            <ac:picMk id="9" creationId="{5CD4E070-A3CA-432A-9633-51373DE3271C}"/>
          </ac:picMkLst>
        </pc:picChg>
        <pc:picChg chg="add mod">
          <ac:chgData name="Chhabra, Aniket" userId="598e0514-bef3-4e71-b6aa-f2edd6441cff" providerId="ADAL" clId="{D0608F18-3840-4CA3-9A99-D984B41683E5}" dt="2020-12-23T15:23:05.436" v="981" actId="14100"/>
          <ac:picMkLst>
            <pc:docMk/>
            <pc:sldMk cId="3191205605" sldId="263"/>
            <ac:picMk id="27" creationId="{29528F10-91FB-4F62-993A-478095138E5B}"/>
          </ac:picMkLst>
        </pc:picChg>
        <pc:picChg chg="add del">
          <ac:chgData name="Chhabra, Aniket" userId="598e0514-bef3-4e71-b6aa-f2edd6441cff" providerId="ADAL" clId="{D0608F18-3840-4CA3-9A99-D984B41683E5}" dt="2020-12-23T15:21:46.723" v="945"/>
          <ac:picMkLst>
            <pc:docMk/>
            <pc:sldMk cId="3191205605" sldId="263"/>
            <ac:picMk id="3074" creationId="{A2821FC0-851C-42CD-9FA2-6C83993F779F}"/>
          </ac:picMkLst>
        </pc:picChg>
        <pc:picChg chg="add del mod">
          <ac:chgData name="Chhabra, Aniket" userId="598e0514-bef3-4e71-b6aa-f2edd6441cff" providerId="ADAL" clId="{D0608F18-3840-4CA3-9A99-D984B41683E5}" dt="2020-12-23T15:21:51.874" v="949" actId="478"/>
          <ac:picMkLst>
            <pc:docMk/>
            <pc:sldMk cId="3191205605" sldId="263"/>
            <ac:picMk id="3076" creationId="{A278A402-3BF4-4465-BFCD-54C34771B47C}"/>
          </ac:picMkLst>
        </pc:picChg>
      </pc:sldChg>
      <pc:sldChg chg="addSp delSp modSp add mod">
        <pc:chgData name="Chhabra, Aniket" userId="598e0514-bef3-4e71-b6aa-f2edd6441cff" providerId="ADAL" clId="{D0608F18-3840-4CA3-9A99-D984B41683E5}" dt="2020-12-24T09:40:58.672" v="1646" actId="1076"/>
        <pc:sldMkLst>
          <pc:docMk/>
          <pc:sldMk cId="1623957952" sldId="264"/>
        </pc:sldMkLst>
        <pc:spChg chg="add del">
          <ac:chgData name="Chhabra, Aniket" userId="598e0514-bef3-4e71-b6aa-f2edd6441cff" providerId="ADAL" clId="{D0608F18-3840-4CA3-9A99-D984B41683E5}" dt="2020-12-24T08:44:47.185" v="1118" actId="22"/>
          <ac:spMkLst>
            <pc:docMk/>
            <pc:sldMk cId="1623957952" sldId="264"/>
            <ac:spMk id="10" creationId="{C597DA7D-D055-4427-AD3A-59DCE90656AB}"/>
          </ac:spMkLst>
        </pc:spChg>
        <pc:spChg chg="add del mod">
          <ac:chgData name="Chhabra, Aniket" userId="598e0514-bef3-4e71-b6aa-f2edd6441cff" providerId="ADAL" clId="{D0608F18-3840-4CA3-9A99-D984B41683E5}" dt="2020-12-24T09:04:59.870" v="1336" actId="1035"/>
          <ac:spMkLst>
            <pc:docMk/>
            <pc:sldMk cId="1623957952" sldId="264"/>
            <ac:spMk id="12" creationId="{88E8F694-71E9-41DE-A2CA-92D77875A014}"/>
          </ac:spMkLst>
        </pc:spChg>
        <pc:spChg chg="add del">
          <ac:chgData name="Chhabra, Aniket" userId="598e0514-bef3-4e71-b6aa-f2edd6441cff" providerId="ADAL" clId="{D0608F18-3840-4CA3-9A99-D984B41683E5}" dt="2020-12-24T08:45:01.977" v="1120" actId="22"/>
          <ac:spMkLst>
            <pc:docMk/>
            <pc:sldMk cId="1623957952" sldId="264"/>
            <ac:spMk id="13" creationId="{4D23A90B-240E-402F-995E-34E1138E3054}"/>
          </ac:spMkLst>
        </pc:spChg>
        <pc:spChg chg="del">
          <ac:chgData name="Chhabra, Aniket" userId="598e0514-bef3-4e71-b6aa-f2edd6441cff" providerId="ADAL" clId="{D0608F18-3840-4CA3-9A99-D984B41683E5}" dt="2020-12-23T15:20:59.952" v="927" actId="478"/>
          <ac:spMkLst>
            <pc:docMk/>
            <pc:sldMk cId="1623957952" sldId="264"/>
            <ac:spMk id="16" creationId="{243B0DF4-76AB-4D14-BC86-06F4681388DE}"/>
          </ac:spMkLst>
        </pc:spChg>
        <pc:spChg chg="add mod">
          <ac:chgData name="Chhabra, Aniket" userId="598e0514-bef3-4e71-b6aa-f2edd6441cff" providerId="ADAL" clId="{D0608F18-3840-4CA3-9A99-D984B41683E5}" dt="2020-12-24T09:32:03.219" v="1446" actId="1037"/>
          <ac:spMkLst>
            <pc:docMk/>
            <pc:sldMk cId="1623957952" sldId="264"/>
            <ac:spMk id="18" creationId="{F52C6726-C93E-459B-B050-672C2035893F}"/>
          </ac:spMkLst>
        </pc:spChg>
        <pc:spChg chg="del">
          <ac:chgData name="Chhabra, Aniket" userId="598e0514-bef3-4e71-b6aa-f2edd6441cff" providerId="ADAL" clId="{D0608F18-3840-4CA3-9A99-D984B41683E5}" dt="2020-12-23T15:21:13.221" v="932" actId="478"/>
          <ac:spMkLst>
            <pc:docMk/>
            <pc:sldMk cId="1623957952" sldId="264"/>
            <ac:spMk id="21" creationId="{8488BA7F-8745-4ECC-994B-A1CEBA55D4CE}"/>
          </ac:spMkLst>
        </pc:spChg>
        <pc:spChg chg="del">
          <ac:chgData name="Chhabra, Aniket" userId="598e0514-bef3-4e71-b6aa-f2edd6441cff" providerId="ADAL" clId="{D0608F18-3840-4CA3-9A99-D984B41683E5}" dt="2020-12-23T15:21:13.221" v="932" actId="478"/>
          <ac:spMkLst>
            <pc:docMk/>
            <pc:sldMk cId="1623957952" sldId="264"/>
            <ac:spMk id="22" creationId="{420CBEB7-F3AF-413A-B77A-90DB0EB660F6}"/>
          </ac:spMkLst>
        </pc:spChg>
        <pc:spChg chg="mod">
          <ac:chgData name="Chhabra, Aniket" userId="598e0514-bef3-4e71-b6aa-f2edd6441cff" providerId="ADAL" clId="{D0608F18-3840-4CA3-9A99-D984B41683E5}" dt="2020-12-23T15:21:10.757" v="931"/>
          <ac:spMkLst>
            <pc:docMk/>
            <pc:sldMk cId="1623957952" sldId="264"/>
            <ac:spMk id="23" creationId="{EA8433B5-E5C3-4786-95A9-7FD1FB7BEC3E}"/>
          </ac:spMkLst>
        </pc:spChg>
        <pc:spChg chg="mod">
          <ac:chgData name="Chhabra, Aniket" userId="598e0514-bef3-4e71-b6aa-f2edd6441cff" providerId="ADAL" clId="{D0608F18-3840-4CA3-9A99-D984B41683E5}" dt="2020-12-24T09:05:08.433" v="1339" actId="20577"/>
          <ac:spMkLst>
            <pc:docMk/>
            <pc:sldMk cId="1623957952" sldId="264"/>
            <ac:spMk id="24" creationId="{7E196F75-6886-40CB-BD7F-0041CC545871}"/>
          </ac:spMkLst>
        </pc:spChg>
        <pc:spChg chg="add mod">
          <ac:chgData name="Chhabra, Aniket" userId="598e0514-bef3-4e71-b6aa-f2edd6441cff" providerId="ADAL" clId="{D0608F18-3840-4CA3-9A99-D984B41683E5}" dt="2020-12-24T09:31:50.659" v="1437" actId="14100"/>
          <ac:spMkLst>
            <pc:docMk/>
            <pc:sldMk cId="1623957952" sldId="264"/>
            <ac:spMk id="25" creationId="{51F1B608-B0B1-4C04-9BB6-13ED7907700E}"/>
          </ac:spMkLst>
        </pc:spChg>
        <pc:spChg chg="add mod">
          <ac:chgData name="Chhabra, Aniket" userId="598e0514-bef3-4e71-b6aa-f2edd6441cff" providerId="ADAL" clId="{D0608F18-3840-4CA3-9A99-D984B41683E5}" dt="2020-12-24T09:40:58.672" v="1646" actId="1076"/>
          <ac:spMkLst>
            <pc:docMk/>
            <pc:sldMk cId="1623957952" sldId="264"/>
            <ac:spMk id="26" creationId="{E35489AA-73A0-4C6D-B6A2-D45C51C5A0A7}"/>
          </ac:spMkLst>
        </pc:spChg>
        <pc:grpChg chg="del">
          <ac:chgData name="Chhabra, Aniket" userId="598e0514-bef3-4e71-b6aa-f2edd6441cff" providerId="ADAL" clId="{D0608F18-3840-4CA3-9A99-D984B41683E5}" dt="2020-12-23T15:20:59.952" v="927" actId="478"/>
          <ac:grpSpMkLst>
            <pc:docMk/>
            <pc:sldMk cId="1623957952" sldId="264"/>
            <ac:grpSpMk id="13" creationId="{6C2939CC-8ACB-4790-AD4B-84177AB08AF5}"/>
          </ac:grpSpMkLst>
        </pc:grpChg>
        <pc:grpChg chg="add mod">
          <ac:chgData name="Chhabra, Aniket" userId="598e0514-bef3-4e71-b6aa-f2edd6441cff" providerId="ADAL" clId="{D0608F18-3840-4CA3-9A99-D984B41683E5}" dt="2020-12-24T09:05:07.005" v="1337" actId="1076"/>
          <ac:grpSpMkLst>
            <pc:docMk/>
            <pc:sldMk cId="1623957952" sldId="264"/>
            <ac:grpSpMk id="17" creationId="{303C2775-E5D0-4FF2-B23F-2243872D4EDC}"/>
          </ac:grpSpMkLst>
        </pc:grpChg>
        <pc:grpChg chg="del">
          <ac:chgData name="Chhabra, Aniket" userId="598e0514-bef3-4e71-b6aa-f2edd6441cff" providerId="ADAL" clId="{D0608F18-3840-4CA3-9A99-D984B41683E5}" dt="2020-12-23T15:21:13.221" v="932" actId="478"/>
          <ac:grpSpMkLst>
            <pc:docMk/>
            <pc:sldMk cId="1623957952" sldId="264"/>
            <ac:grpSpMk id="18" creationId="{C1A8B382-98E8-4955-A6A4-7FA3183B7319}"/>
          </ac:grpSpMkLst>
        </pc:grpChg>
        <pc:picChg chg="del">
          <ac:chgData name="Chhabra, Aniket" userId="598e0514-bef3-4e71-b6aa-f2edd6441cff" providerId="ADAL" clId="{D0608F18-3840-4CA3-9A99-D984B41683E5}" dt="2020-12-23T15:21:13.221" v="932" actId="478"/>
          <ac:picMkLst>
            <pc:docMk/>
            <pc:sldMk cId="1623957952" sldId="264"/>
            <ac:picMk id="5" creationId="{AD7F2E6F-E5B9-4C00-A6B1-68F82B7C8E89}"/>
          </ac:picMkLst>
        </pc:picChg>
        <pc:picChg chg="add del">
          <ac:chgData name="Chhabra, Aniket" userId="598e0514-bef3-4e71-b6aa-f2edd6441cff" providerId="ADAL" clId="{D0608F18-3840-4CA3-9A99-D984B41683E5}" dt="2020-12-24T08:45:27.577" v="1122" actId="478"/>
          <ac:picMkLst>
            <pc:docMk/>
            <pc:sldMk cId="1623957952" sldId="264"/>
            <ac:picMk id="6" creationId="{7E25F395-ABAD-442F-A907-1139D9EC8AAE}"/>
          </ac:picMkLst>
        </pc:picChg>
        <pc:picChg chg="del">
          <ac:chgData name="Chhabra, Aniket" userId="598e0514-bef3-4e71-b6aa-f2edd6441cff" providerId="ADAL" clId="{D0608F18-3840-4CA3-9A99-D984B41683E5}" dt="2020-12-23T15:21:13.221" v="932" actId="478"/>
          <ac:picMkLst>
            <pc:docMk/>
            <pc:sldMk cId="1623957952" sldId="264"/>
            <ac:picMk id="7" creationId="{41F958F5-6865-4A3F-929D-B6F753AC2D76}"/>
          </ac:picMkLst>
        </pc:picChg>
        <pc:picChg chg="add del mod">
          <ac:chgData name="Chhabra, Aniket" userId="598e0514-bef3-4e71-b6aa-f2edd6441cff" providerId="ADAL" clId="{D0608F18-3840-4CA3-9A99-D984B41683E5}" dt="2020-12-24T09:01:48.852" v="1254" actId="21"/>
          <ac:picMkLst>
            <pc:docMk/>
            <pc:sldMk cId="1623957952" sldId="264"/>
            <ac:picMk id="8" creationId="{FA613A4B-C363-40DA-8042-786AF332A1F4}"/>
          </ac:picMkLst>
        </pc:picChg>
      </pc:sldChg>
      <pc:sldChg chg="addSp delSp modSp new mod ord">
        <pc:chgData name="Chhabra, Aniket" userId="598e0514-bef3-4e71-b6aa-f2edd6441cff" providerId="ADAL" clId="{D0608F18-3840-4CA3-9A99-D984B41683E5}" dt="2020-12-25T03:57:58.136" v="2603" actId="14100"/>
        <pc:sldMkLst>
          <pc:docMk/>
          <pc:sldMk cId="3984249581" sldId="265"/>
        </pc:sldMkLst>
        <pc:spChg chg="mod">
          <ac:chgData name="Chhabra, Aniket" userId="598e0514-bef3-4e71-b6aa-f2edd6441cff" providerId="ADAL" clId="{D0608F18-3840-4CA3-9A99-D984B41683E5}" dt="2020-12-24T09:38:01.682" v="1593" actId="27636"/>
          <ac:spMkLst>
            <pc:docMk/>
            <pc:sldMk cId="3984249581" sldId="265"/>
            <ac:spMk id="2" creationId="{8930873A-47BB-4799-A633-7CD6F940B805}"/>
          </ac:spMkLst>
        </pc:spChg>
        <pc:spChg chg="del">
          <ac:chgData name="Chhabra, Aniket" userId="598e0514-bef3-4e71-b6aa-f2edd6441cff" providerId="ADAL" clId="{D0608F18-3840-4CA3-9A99-D984B41683E5}" dt="2020-12-24T09:34:57.801" v="1447" actId="478"/>
          <ac:spMkLst>
            <pc:docMk/>
            <pc:sldMk cId="3984249581" sldId="265"/>
            <ac:spMk id="3" creationId="{75901451-0DB9-41B3-9D68-82D181943944}"/>
          </ac:spMkLst>
        </pc:spChg>
        <pc:spChg chg="add del mod">
          <ac:chgData name="Chhabra, Aniket" userId="598e0514-bef3-4e71-b6aa-f2edd6441cff" providerId="ADAL" clId="{D0608F18-3840-4CA3-9A99-D984B41683E5}" dt="2020-12-24T09:35:08.309" v="1455"/>
          <ac:spMkLst>
            <pc:docMk/>
            <pc:sldMk cId="3984249581" sldId="265"/>
            <ac:spMk id="6" creationId="{ED573CB3-15BB-4DBC-BE42-9BB453B9CD94}"/>
          </ac:spMkLst>
        </pc:spChg>
        <pc:spChg chg="add del mod">
          <ac:chgData name="Chhabra, Aniket" userId="598e0514-bef3-4e71-b6aa-f2edd6441cff" providerId="ADAL" clId="{D0608F18-3840-4CA3-9A99-D984B41683E5}" dt="2020-12-24T09:35:08.309" v="1455"/>
          <ac:spMkLst>
            <pc:docMk/>
            <pc:sldMk cId="3984249581" sldId="265"/>
            <ac:spMk id="7" creationId="{7F90E2E1-7A56-44E6-A301-FD5509E186DA}"/>
          </ac:spMkLst>
        </pc:spChg>
        <pc:spChg chg="add del mod">
          <ac:chgData name="Chhabra, Aniket" userId="598e0514-bef3-4e71-b6aa-f2edd6441cff" providerId="ADAL" clId="{D0608F18-3840-4CA3-9A99-D984B41683E5}" dt="2020-12-24T09:35:08.309" v="1455"/>
          <ac:spMkLst>
            <pc:docMk/>
            <pc:sldMk cId="3984249581" sldId="265"/>
            <ac:spMk id="8" creationId="{0DCE62E6-B2C9-4B65-BB66-CFE4DB944543}"/>
          </ac:spMkLst>
        </pc:spChg>
        <pc:spChg chg="add del mod">
          <ac:chgData name="Chhabra, Aniket" userId="598e0514-bef3-4e71-b6aa-f2edd6441cff" providerId="ADAL" clId="{D0608F18-3840-4CA3-9A99-D984B41683E5}" dt="2020-12-24T09:35:08.309" v="1455"/>
          <ac:spMkLst>
            <pc:docMk/>
            <pc:sldMk cId="3984249581" sldId="265"/>
            <ac:spMk id="9" creationId="{EEEFF5B7-3E11-40A1-8DDF-1FEC06B41A07}"/>
          </ac:spMkLst>
        </pc:spChg>
        <pc:spChg chg="add del mod">
          <ac:chgData name="Chhabra, Aniket" userId="598e0514-bef3-4e71-b6aa-f2edd6441cff" providerId="ADAL" clId="{D0608F18-3840-4CA3-9A99-D984B41683E5}" dt="2020-12-24T09:35:08.309" v="1455"/>
          <ac:spMkLst>
            <pc:docMk/>
            <pc:sldMk cId="3984249581" sldId="265"/>
            <ac:spMk id="10" creationId="{E69F18D6-38A7-4004-BCC9-2320952D7E9E}"/>
          </ac:spMkLst>
        </pc:spChg>
        <pc:spChg chg="add del mod">
          <ac:chgData name="Chhabra, Aniket" userId="598e0514-bef3-4e71-b6aa-f2edd6441cff" providerId="ADAL" clId="{D0608F18-3840-4CA3-9A99-D984B41683E5}" dt="2020-12-24T09:35:08.309" v="1455"/>
          <ac:spMkLst>
            <pc:docMk/>
            <pc:sldMk cId="3984249581" sldId="265"/>
            <ac:spMk id="11" creationId="{2D5DABB0-FFCB-4FE5-BFD6-4B893863BE62}"/>
          </ac:spMkLst>
        </pc:spChg>
        <pc:spChg chg="add del mod">
          <ac:chgData name="Chhabra, Aniket" userId="598e0514-bef3-4e71-b6aa-f2edd6441cff" providerId="ADAL" clId="{D0608F18-3840-4CA3-9A99-D984B41683E5}" dt="2020-12-24T09:35:08.309" v="1455"/>
          <ac:spMkLst>
            <pc:docMk/>
            <pc:sldMk cId="3984249581" sldId="265"/>
            <ac:spMk id="12" creationId="{CF324BCC-C95B-4808-BE92-8C32ED8B8EBB}"/>
          </ac:spMkLst>
        </pc:spChg>
        <pc:spChg chg="add del mod">
          <ac:chgData name="Chhabra, Aniket" userId="598e0514-bef3-4e71-b6aa-f2edd6441cff" providerId="ADAL" clId="{D0608F18-3840-4CA3-9A99-D984B41683E5}" dt="2020-12-24T09:35:08.309" v="1455"/>
          <ac:spMkLst>
            <pc:docMk/>
            <pc:sldMk cId="3984249581" sldId="265"/>
            <ac:spMk id="13" creationId="{EACEB9E5-73C8-444A-A85A-5D171282A19E}"/>
          </ac:spMkLst>
        </pc:spChg>
        <pc:spChg chg="add del mod">
          <ac:chgData name="Chhabra, Aniket" userId="598e0514-bef3-4e71-b6aa-f2edd6441cff" providerId="ADAL" clId="{D0608F18-3840-4CA3-9A99-D984B41683E5}" dt="2020-12-24T09:35:08.309" v="1455"/>
          <ac:spMkLst>
            <pc:docMk/>
            <pc:sldMk cId="3984249581" sldId="265"/>
            <ac:spMk id="14" creationId="{B037C479-A5F4-4186-BFA9-041F4CCF16B4}"/>
          </ac:spMkLst>
        </pc:spChg>
        <pc:spChg chg="add del mod">
          <ac:chgData name="Chhabra, Aniket" userId="598e0514-bef3-4e71-b6aa-f2edd6441cff" providerId="ADAL" clId="{D0608F18-3840-4CA3-9A99-D984B41683E5}" dt="2020-12-24T09:35:08.309" v="1455"/>
          <ac:spMkLst>
            <pc:docMk/>
            <pc:sldMk cId="3984249581" sldId="265"/>
            <ac:spMk id="15" creationId="{83428A54-5C2F-4930-A0BC-D3DA5A2A0B65}"/>
          </ac:spMkLst>
        </pc:spChg>
        <pc:spChg chg="add del mod">
          <ac:chgData name="Chhabra, Aniket" userId="598e0514-bef3-4e71-b6aa-f2edd6441cff" providerId="ADAL" clId="{D0608F18-3840-4CA3-9A99-D984B41683E5}" dt="2020-12-24T09:35:08.309" v="1455"/>
          <ac:spMkLst>
            <pc:docMk/>
            <pc:sldMk cId="3984249581" sldId="265"/>
            <ac:spMk id="16" creationId="{0C573C5D-FD97-4BB5-BC16-8B9052C9B98D}"/>
          </ac:spMkLst>
        </pc:spChg>
        <pc:spChg chg="add del mod">
          <ac:chgData name="Chhabra, Aniket" userId="598e0514-bef3-4e71-b6aa-f2edd6441cff" providerId="ADAL" clId="{D0608F18-3840-4CA3-9A99-D984B41683E5}" dt="2020-12-24T09:35:08.309" v="1455"/>
          <ac:spMkLst>
            <pc:docMk/>
            <pc:sldMk cId="3984249581" sldId="265"/>
            <ac:spMk id="17" creationId="{002ED746-91FC-476D-BD62-69B4EC1C1406}"/>
          </ac:spMkLst>
        </pc:spChg>
        <pc:spChg chg="add del mod">
          <ac:chgData name="Chhabra, Aniket" userId="598e0514-bef3-4e71-b6aa-f2edd6441cff" providerId="ADAL" clId="{D0608F18-3840-4CA3-9A99-D984B41683E5}" dt="2020-12-24T09:35:08.309" v="1455"/>
          <ac:spMkLst>
            <pc:docMk/>
            <pc:sldMk cId="3984249581" sldId="265"/>
            <ac:spMk id="18" creationId="{29060696-00D9-4C07-8461-93FB51E0CD73}"/>
          </ac:spMkLst>
        </pc:spChg>
        <pc:spChg chg="add del mod">
          <ac:chgData name="Chhabra, Aniket" userId="598e0514-bef3-4e71-b6aa-f2edd6441cff" providerId="ADAL" clId="{D0608F18-3840-4CA3-9A99-D984B41683E5}" dt="2020-12-24T09:35:08.309" v="1455"/>
          <ac:spMkLst>
            <pc:docMk/>
            <pc:sldMk cId="3984249581" sldId="265"/>
            <ac:spMk id="19" creationId="{6E987A64-362E-4205-B119-C7E733856BEA}"/>
          </ac:spMkLst>
        </pc:spChg>
        <pc:spChg chg="add del mod">
          <ac:chgData name="Chhabra, Aniket" userId="598e0514-bef3-4e71-b6aa-f2edd6441cff" providerId="ADAL" clId="{D0608F18-3840-4CA3-9A99-D984B41683E5}" dt="2020-12-24T09:35:14.688" v="1457"/>
          <ac:spMkLst>
            <pc:docMk/>
            <pc:sldMk cId="3984249581" sldId="265"/>
            <ac:spMk id="20" creationId="{A3E7354A-2A11-40E2-9714-79E5B4B703DE}"/>
          </ac:spMkLst>
        </pc:spChg>
        <pc:spChg chg="add del mod">
          <ac:chgData name="Chhabra, Aniket" userId="598e0514-bef3-4e71-b6aa-f2edd6441cff" providerId="ADAL" clId="{D0608F18-3840-4CA3-9A99-D984B41683E5}" dt="2020-12-24T09:35:14.688" v="1457"/>
          <ac:spMkLst>
            <pc:docMk/>
            <pc:sldMk cId="3984249581" sldId="265"/>
            <ac:spMk id="21" creationId="{C25E7838-8FCE-4AE3-9C46-06D46DF0A9CA}"/>
          </ac:spMkLst>
        </pc:spChg>
        <pc:spChg chg="add del mod">
          <ac:chgData name="Chhabra, Aniket" userId="598e0514-bef3-4e71-b6aa-f2edd6441cff" providerId="ADAL" clId="{D0608F18-3840-4CA3-9A99-D984B41683E5}" dt="2020-12-24T09:35:14.688" v="1457"/>
          <ac:spMkLst>
            <pc:docMk/>
            <pc:sldMk cId="3984249581" sldId="265"/>
            <ac:spMk id="22" creationId="{BF04321A-65B6-44E7-96C7-A86B85EF2BC2}"/>
          </ac:spMkLst>
        </pc:spChg>
        <pc:spChg chg="add del mod">
          <ac:chgData name="Chhabra, Aniket" userId="598e0514-bef3-4e71-b6aa-f2edd6441cff" providerId="ADAL" clId="{D0608F18-3840-4CA3-9A99-D984B41683E5}" dt="2020-12-24T09:35:14.688" v="1457"/>
          <ac:spMkLst>
            <pc:docMk/>
            <pc:sldMk cId="3984249581" sldId="265"/>
            <ac:spMk id="23" creationId="{88845E62-DB16-4173-BA37-91C560F310A3}"/>
          </ac:spMkLst>
        </pc:spChg>
        <pc:spChg chg="add del mod">
          <ac:chgData name="Chhabra, Aniket" userId="598e0514-bef3-4e71-b6aa-f2edd6441cff" providerId="ADAL" clId="{D0608F18-3840-4CA3-9A99-D984B41683E5}" dt="2020-12-24T09:35:14.688" v="1457"/>
          <ac:spMkLst>
            <pc:docMk/>
            <pc:sldMk cId="3984249581" sldId="265"/>
            <ac:spMk id="24" creationId="{600E4EFB-47FA-4987-8E17-A1EA0CE59C74}"/>
          </ac:spMkLst>
        </pc:spChg>
        <pc:spChg chg="add del mod">
          <ac:chgData name="Chhabra, Aniket" userId="598e0514-bef3-4e71-b6aa-f2edd6441cff" providerId="ADAL" clId="{D0608F18-3840-4CA3-9A99-D984B41683E5}" dt="2020-12-24T09:35:14.688" v="1457"/>
          <ac:spMkLst>
            <pc:docMk/>
            <pc:sldMk cId="3984249581" sldId="265"/>
            <ac:spMk id="25" creationId="{8D255387-5B4F-4256-B284-AAA3F76C6BE0}"/>
          </ac:spMkLst>
        </pc:spChg>
        <pc:spChg chg="add del mod">
          <ac:chgData name="Chhabra, Aniket" userId="598e0514-bef3-4e71-b6aa-f2edd6441cff" providerId="ADAL" clId="{D0608F18-3840-4CA3-9A99-D984B41683E5}" dt="2020-12-24T09:35:14.688" v="1457"/>
          <ac:spMkLst>
            <pc:docMk/>
            <pc:sldMk cId="3984249581" sldId="265"/>
            <ac:spMk id="26" creationId="{0F554607-BB2C-4971-8E74-0A441A5EDE38}"/>
          </ac:spMkLst>
        </pc:spChg>
        <pc:spChg chg="add del mod">
          <ac:chgData name="Chhabra, Aniket" userId="598e0514-bef3-4e71-b6aa-f2edd6441cff" providerId="ADAL" clId="{D0608F18-3840-4CA3-9A99-D984B41683E5}" dt="2020-12-24T09:35:14.688" v="1457"/>
          <ac:spMkLst>
            <pc:docMk/>
            <pc:sldMk cId="3984249581" sldId="265"/>
            <ac:spMk id="27" creationId="{77E34521-BEF6-486E-ACF0-2138A1A7E032}"/>
          </ac:spMkLst>
        </pc:spChg>
        <pc:spChg chg="add del mod">
          <ac:chgData name="Chhabra, Aniket" userId="598e0514-bef3-4e71-b6aa-f2edd6441cff" providerId="ADAL" clId="{D0608F18-3840-4CA3-9A99-D984B41683E5}" dt="2020-12-24T09:35:14.688" v="1457"/>
          <ac:spMkLst>
            <pc:docMk/>
            <pc:sldMk cId="3984249581" sldId="265"/>
            <ac:spMk id="28" creationId="{3A971695-046E-47DB-BF9C-5892F1283D00}"/>
          </ac:spMkLst>
        </pc:spChg>
        <pc:spChg chg="add del mod">
          <ac:chgData name="Chhabra, Aniket" userId="598e0514-bef3-4e71-b6aa-f2edd6441cff" providerId="ADAL" clId="{D0608F18-3840-4CA3-9A99-D984B41683E5}" dt="2020-12-24T09:35:14.688" v="1457"/>
          <ac:spMkLst>
            <pc:docMk/>
            <pc:sldMk cId="3984249581" sldId="265"/>
            <ac:spMk id="29" creationId="{805410CE-F69D-477B-A150-BE3E5D6711CD}"/>
          </ac:spMkLst>
        </pc:spChg>
        <pc:spChg chg="add del mod">
          <ac:chgData name="Chhabra, Aniket" userId="598e0514-bef3-4e71-b6aa-f2edd6441cff" providerId="ADAL" clId="{D0608F18-3840-4CA3-9A99-D984B41683E5}" dt="2020-12-24T09:35:14.688" v="1457"/>
          <ac:spMkLst>
            <pc:docMk/>
            <pc:sldMk cId="3984249581" sldId="265"/>
            <ac:spMk id="30" creationId="{3BC1FFC4-AD92-454D-AE47-8034D9A42C57}"/>
          </ac:spMkLst>
        </pc:spChg>
        <pc:spChg chg="add del mod">
          <ac:chgData name="Chhabra, Aniket" userId="598e0514-bef3-4e71-b6aa-f2edd6441cff" providerId="ADAL" clId="{D0608F18-3840-4CA3-9A99-D984B41683E5}" dt="2020-12-24T09:35:14.688" v="1457"/>
          <ac:spMkLst>
            <pc:docMk/>
            <pc:sldMk cId="3984249581" sldId="265"/>
            <ac:spMk id="31" creationId="{341039EC-0985-4DE8-BFD4-AEA7A42DDDA9}"/>
          </ac:spMkLst>
        </pc:spChg>
        <pc:spChg chg="add del mod">
          <ac:chgData name="Chhabra, Aniket" userId="598e0514-bef3-4e71-b6aa-f2edd6441cff" providerId="ADAL" clId="{D0608F18-3840-4CA3-9A99-D984B41683E5}" dt="2020-12-24T09:35:14.688" v="1457"/>
          <ac:spMkLst>
            <pc:docMk/>
            <pc:sldMk cId="3984249581" sldId="265"/>
            <ac:spMk id="32" creationId="{6F255EF0-7DF6-4B53-B3A5-DC66DC67559E}"/>
          </ac:spMkLst>
        </pc:spChg>
        <pc:spChg chg="add del mod">
          <ac:chgData name="Chhabra, Aniket" userId="598e0514-bef3-4e71-b6aa-f2edd6441cff" providerId="ADAL" clId="{D0608F18-3840-4CA3-9A99-D984B41683E5}" dt="2020-12-24T09:35:14.688" v="1457"/>
          <ac:spMkLst>
            <pc:docMk/>
            <pc:sldMk cId="3984249581" sldId="265"/>
            <ac:spMk id="33" creationId="{DC6B8FCE-9382-411F-9AE8-C37A066D5F2C}"/>
          </ac:spMkLst>
        </pc:spChg>
        <pc:spChg chg="add mod">
          <ac:chgData name="Chhabra, Aniket" userId="598e0514-bef3-4e71-b6aa-f2edd6441cff" providerId="ADAL" clId="{D0608F18-3840-4CA3-9A99-D984B41683E5}" dt="2020-12-25T03:57:52.587" v="2601" actId="1076"/>
          <ac:spMkLst>
            <pc:docMk/>
            <pc:sldMk cId="3984249581" sldId="265"/>
            <ac:spMk id="35" creationId="{24E86C64-DC5C-46E1-BD5B-24CE1D04857D}"/>
          </ac:spMkLst>
        </pc:spChg>
        <pc:spChg chg="add mod">
          <ac:chgData name="Chhabra, Aniket" userId="598e0514-bef3-4e71-b6aa-f2edd6441cff" providerId="ADAL" clId="{D0608F18-3840-4CA3-9A99-D984B41683E5}" dt="2020-12-25T03:57:52.587" v="2601" actId="1076"/>
          <ac:spMkLst>
            <pc:docMk/>
            <pc:sldMk cId="3984249581" sldId="265"/>
            <ac:spMk id="36" creationId="{FB46A8D8-92AB-407F-AFEB-E694A563D660}"/>
          </ac:spMkLst>
        </pc:spChg>
        <pc:spChg chg="add mod">
          <ac:chgData name="Chhabra, Aniket" userId="598e0514-bef3-4e71-b6aa-f2edd6441cff" providerId="ADAL" clId="{D0608F18-3840-4CA3-9A99-D984B41683E5}" dt="2020-12-25T03:57:52.587" v="2601" actId="1076"/>
          <ac:spMkLst>
            <pc:docMk/>
            <pc:sldMk cId="3984249581" sldId="265"/>
            <ac:spMk id="37" creationId="{0C0FF37F-B282-43CF-9833-ABF3F4719E26}"/>
          </ac:spMkLst>
        </pc:spChg>
        <pc:graphicFrameChg chg="add mod modGraphic">
          <ac:chgData name="Chhabra, Aniket" userId="598e0514-bef3-4e71-b6aa-f2edd6441cff" providerId="ADAL" clId="{D0608F18-3840-4CA3-9A99-D984B41683E5}" dt="2020-12-25T03:57:58.136" v="2603" actId="14100"/>
          <ac:graphicFrameMkLst>
            <pc:docMk/>
            <pc:sldMk cId="3984249581" sldId="265"/>
            <ac:graphicFrameMk id="34" creationId="{DB09E4A5-DDFA-473D-BC65-826FDCF31E64}"/>
          </ac:graphicFrameMkLst>
        </pc:graphicFrameChg>
        <pc:picChg chg="add del">
          <ac:chgData name="Chhabra, Aniket" userId="598e0514-bef3-4e71-b6aa-f2edd6441cff" providerId="ADAL" clId="{D0608F18-3840-4CA3-9A99-D984B41683E5}" dt="2020-12-24T09:04:24.085" v="1316" actId="478"/>
          <ac:picMkLst>
            <pc:docMk/>
            <pc:sldMk cId="3984249581" sldId="265"/>
            <ac:picMk id="5" creationId="{DEFF6B5C-BBEC-4E82-B644-AB532F8DA2A6}"/>
          </ac:picMkLst>
        </pc:picChg>
      </pc:sldChg>
      <pc:sldChg chg="addSp delSp modSp new mod">
        <pc:chgData name="Chhabra, Aniket" userId="598e0514-bef3-4e71-b6aa-f2edd6441cff" providerId="ADAL" clId="{D0608F18-3840-4CA3-9A99-D984B41683E5}" dt="2020-12-27T04:29:01.509" v="2900" actId="207"/>
        <pc:sldMkLst>
          <pc:docMk/>
          <pc:sldMk cId="371788107" sldId="266"/>
        </pc:sldMkLst>
        <pc:spChg chg="del mod">
          <ac:chgData name="Chhabra, Aniket" userId="598e0514-bef3-4e71-b6aa-f2edd6441cff" providerId="ADAL" clId="{D0608F18-3840-4CA3-9A99-D984B41683E5}" dt="2020-12-24T09:41:07.656" v="1648" actId="478"/>
          <ac:spMkLst>
            <pc:docMk/>
            <pc:sldMk cId="371788107" sldId="266"/>
            <ac:spMk id="2" creationId="{1A2A733E-5253-486A-AC4A-2B997E29A5D3}"/>
          </ac:spMkLst>
        </pc:spChg>
        <pc:spChg chg="del">
          <ac:chgData name="Chhabra, Aniket" userId="598e0514-bef3-4e71-b6aa-f2edd6441cff" providerId="ADAL" clId="{D0608F18-3840-4CA3-9A99-D984B41683E5}" dt="2020-12-24T09:41:23.383" v="1696" actId="478"/>
          <ac:spMkLst>
            <pc:docMk/>
            <pc:sldMk cId="371788107" sldId="266"/>
            <ac:spMk id="3" creationId="{11B321AD-9847-4319-B81E-C6D6CE1FE8CD}"/>
          </ac:spMkLst>
        </pc:spChg>
        <pc:spChg chg="add mod">
          <ac:chgData name="Chhabra, Aniket" userId="598e0514-bef3-4e71-b6aa-f2edd6441cff" providerId="ADAL" clId="{D0608F18-3840-4CA3-9A99-D984B41683E5}" dt="2020-12-26T05:15:28.920" v="2721" actId="1035"/>
          <ac:spMkLst>
            <pc:docMk/>
            <pc:sldMk cId="371788107" sldId="266"/>
            <ac:spMk id="6" creationId="{88494800-514D-4B65-B6DD-AF40FBEE70D2}"/>
          </ac:spMkLst>
        </pc:spChg>
        <pc:spChg chg="add del mod">
          <ac:chgData name="Chhabra, Aniket" userId="598e0514-bef3-4e71-b6aa-f2edd6441cff" providerId="ADAL" clId="{D0608F18-3840-4CA3-9A99-D984B41683E5}" dt="2020-12-24T09:45:07.253" v="1699" actId="478"/>
          <ac:spMkLst>
            <pc:docMk/>
            <pc:sldMk cId="371788107" sldId="266"/>
            <ac:spMk id="8" creationId="{B4E0C403-5A3E-4FAC-8085-3B5BFE840D14}"/>
          </ac:spMkLst>
        </pc:spChg>
        <pc:spChg chg="mod">
          <ac:chgData name="Chhabra, Aniket" userId="598e0514-bef3-4e71-b6aa-f2edd6441cff" providerId="ADAL" clId="{D0608F18-3840-4CA3-9A99-D984B41683E5}" dt="2020-12-26T05:06:15.444" v="2607" actId="404"/>
          <ac:spMkLst>
            <pc:docMk/>
            <pc:sldMk cId="371788107" sldId="266"/>
            <ac:spMk id="10" creationId="{715EA650-2E0C-4DAA-AFD4-32614392A4D1}"/>
          </ac:spMkLst>
        </pc:spChg>
        <pc:spChg chg="mod">
          <ac:chgData name="Chhabra, Aniket" userId="598e0514-bef3-4e71-b6aa-f2edd6441cff" providerId="ADAL" clId="{D0608F18-3840-4CA3-9A99-D984B41683E5}" dt="2020-12-26T05:06:15.444" v="2607" actId="404"/>
          <ac:spMkLst>
            <pc:docMk/>
            <pc:sldMk cId="371788107" sldId="266"/>
            <ac:spMk id="11" creationId="{8D43689B-C9CD-4C12-A18C-84F5B1D19C76}"/>
          </ac:spMkLst>
        </pc:spChg>
        <pc:spChg chg="add mod">
          <ac:chgData name="Chhabra, Aniket" userId="598e0514-bef3-4e71-b6aa-f2edd6441cff" providerId="ADAL" clId="{D0608F18-3840-4CA3-9A99-D984B41683E5}" dt="2020-12-26T05:15:34.220" v="2742" actId="1035"/>
          <ac:spMkLst>
            <pc:docMk/>
            <pc:sldMk cId="371788107" sldId="266"/>
            <ac:spMk id="13" creationId="{4CB186CF-C4B2-4701-B1C1-9DBFCBA5F0D3}"/>
          </ac:spMkLst>
        </pc:spChg>
        <pc:spChg chg="add mod">
          <ac:chgData name="Chhabra, Aniket" userId="598e0514-bef3-4e71-b6aa-f2edd6441cff" providerId="ADAL" clId="{D0608F18-3840-4CA3-9A99-D984B41683E5}" dt="2020-12-26T05:15:34.220" v="2742" actId="1035"/>
          <ac:spMkLst>
            <pc:docMk/>
            <pc:sldMk cId="371788107" sldId="266"/>
            <ac:spMk id="17" creationId="{F491F3A9-EECD-49AB-ACE5-413A93AEEEFB}"/>
          </ac:spMkLst>
        </pc:spChg>
        <pc:spChg chg="mod">
          <ac:chgData name="Chhabra, Aniket" userId="598e0514-bef3-4e71-b6aa-f2edd6441cff" providerId="ADAL" clId="{D0608F18-3840-4CA3-9A99-D984B41683E5}" dt="2020-12-26T05:06:10.472" v="2605" actId="404"/>
          <ac:spMkLst>
            <pc:docMk/>
            <pc:sldMk cId="371788107" sldId="266"/>
            <ac:spMk id="19" creationId="{1D9069EE-5CFF-4D87-885E-2279235188AD}"/>
          </ac:spMkLst>
        </pc:spChg>
        <pc:spChg chg="mod">
          <ac:chgData name="Chhabra, Aniket" userId="598e0514-bef3-4e71-b6aa-f2edd6441cff" providerId="ADAL" clId="{D0608F18-3840-4CA3-9A99-D984B41683E5}" dt="2020-12-26T05:06:10.472" v="2605" actId="404"/>
          <ac:spMkLst>
            <pc:docMk/>
            <pc:sldMk cId="371788107" sldId="266"/>
            <ac:spMk id="20" creationId="{61EFED0A-BC70-4A1C-90AD-0DF8EA5272B1}"/>
          </ac:spMkLst>
        </pc:spChg>
        <pc:spChg chg="add mod">
          <ac:chgData name="Chhabra, Aniket" userId="598e0514-bef3-4e71-b6aa-f2edd6441cff" providerId="ADAL" clId="{D0608F18-3840-4CA3-9A99-D984B41683E5}" dt="2020-12-26T05:15:39.264" v="2759" actId="1036"/>
          <ac:spMkLst>
            <pc:docMk/>
            <pc:sldMk cId="371788107" sldId="266"/>
            <ac:spMk id="22" creationId="{6396CEA7-A4AA-4A7A-9344-7C5E4041EC8C}"/>
          </ac:spMkLst>
        </pc:spChg>
        <pc:spChg chg="add mod">
          <ac:chgData name="Chhabra, Aniket" userId="598e0514-bef3-4e71-b6aa-f2edd6441cff" providerId="ADAL" clId="{D0608F18-3840-4CA3-9A99-D984B41683E5}" dt="2020-12-26T05:15:39.264" v="2759" actId="1036"/>
          <ac:spMkLst>
            <pc:docMk/>
            <pc:sldMk cId="371788107" sldId="266"/>
            <ac:spMk id="26" creationId="{1A91FC3E-F5E0-447C-B369-A275F32ABE0C}"/>
          </ac:spMkLst>
        </pc:spChg>
        <pc:spChg chg="mod">
          <ac:chgData name="Chhabra, Aniket" userId="598e0514-bef3-4e71-b6aa-f2edd6441cff" providerId="ADAL" clId="{D0608F18-3840-4CA3-9A99-D984B41683E5}" dt="2020-12-26T05:07:06.191" v="2652"/>
          <ac:spMkLst>
            <pc:docMk/>
            <pc:sldMk cId="371788107" sldId="266"/>
            <ac:spMk id="30" creationId="{1D2E8158-BE77-49DC-849C-F391B4A58942}"/>
          </ac:spMkLst>
        </pc:spChg>
        <pc:spChg chg="mod">
          <ac:chgData name="Chhabra, Aniket" userId="598e0514-bef3-4e71-b6aa-f2edd6441cff" providerId="ADAL" clId="{D0608F18-3840-4CA3-9A99-D984B41683E5}" dt="2020-12-26T05:06:54.909" v="2649" actId="20577"/>
          <ac:spMkLst>
            <pc:docMk/>
            <pc:sldMk cId="371788107" sldId="266"/>
            <ac:spMk id="31" creationId="{C0B9AB64-58BA-49AE-ADA9-5512F0D21FA1}"/>
          </ac:spMkLst>
        </pc:spChg>
        <pc:spChg chg="add del mod">
          <ac:chgData name="Chhabra, Aniket" userId="598e0514-bef3-4e71-b6aa-f2edd6441cff" providerId="ADAL" clId="{D0608F18-3840-4CA3-9A99-D984B41683E5}" dt="2020-12-26T05:08:00.187" v="2665" actId="478"/>
          <ac:spMkLst>
            <pc:docMk/>
            <pc:sldMk cId="371788107" sldId="266"/>
            <ac:spMk id="32" creationId="{4E9530FA-2B9B-476E-8E2F-9B06145F650A}"/>
          </ac:spMkLst>
        </pc:spChg>
        <pc:spChg chg="add mod">
          <ac:chgData name="Chhabra, Aniket" userId="598e0514-bef3-4e71-b6aa-f2edd6441cff" providerId="ADAL" clId="{D0608F18-3840-4CA3-9A99-D984B41683E5}" dt="2020-12-26T05:16:21.454" v="2797" actId="14100"/>
          <ac:spMkLst>
            <pc:docMk/>
            <pc:sldMk cId="371788107" sldId="266"/>
            <ac:spMk id="37" creationId="{03F1D95C-4484-4AE8-84B9-3682FABDAE5E}"/>
          </ac:spMkLst>
        </pc:spChg>
        <pc:spChg chg="add mod">
          <ac:chgData name="Chhabra, Aniket" userId="598e0514-bef3-4e71-b6aa-f2edd6441cff" providerId="ADAL" clId="{D0608F18-3840-4CA3-9A99-D984B41683E5}" dt="2020-12-27T04:29:01.509" v="2900" actId="207"/>
          <ac:spMkLst>
            <pc:docMk/>
            <pc:sldMk cId="371788107" sldId="266"/>
            <ac:spMk id="40" creationId="{461A33E5-8ECD-47B4-BBAF-291F07E1AD52}"/>
          </ac:spMkLst>
        </pc:spChg>
        <pc:grpChg chg="add mod">
          <ac:chgData name="Chhabra, Aniket" userId="598e0514-bef3-4e71-b6aa-f2edd6441cff" providerId="ADAL" clId="{D0608F18-3840-4CA3-9A99-D984B41683E5}" dt="2020-12-26T05:15:34.220" v="2742" actId="1035"/>
          <ac:grpSpMkLst>
            <pc:docMk/>
            <pc:sldMk cId="371788107" sldId="266"/>
            <ac:grpSpMk id="9" creationId="{91EB64F8-D2BC-4B16-80A3-B15D6536C5F4}"/>
          </ac:grpSpMkLst>
        </pc:grpChg>
        <pc:grpChg chg="add mod">
          <ac:chgData name="Chhabra, Aniket" userId="598e0514-bef3-4e71-b6aa-f2edd6441cff" providerId="ADAL" clId="{D0608F18-3840-4CA3-9A99-D984B41683E5}" dt="2020-12-26T05:15:39.264" v="2759" actId="1036"/>
          <ac:grpSpMkLst>
            <pc:docMk/>
            <pc:sldMk cId="371788107" sldId="266"/>
            <ac:grpSpMk id="18" creationId="{82E026E8-31E8-4B45-8CC8-534FE71C3826}"/>
          </ac:grpSpMkLst>
        </pc:grpChg>
        <pc:grpChg chg="add mod">
          <ac:chgData name="Chhabra, Aniket" userId="598e0514-bef3-4e71-b6aa-f2edd6441cff" providerId="ADAL" clId="{D0608F18-3840-4CA3-9A99-D984B41683E5}" dt="2020-12-26T05:15:43.609" v="2778" actId="1035"/>
          <ac:grpSpMkLst>
            <pc:docMk/>
            <pc:sldMk cId="371788107" sldId="266"/>
            <ac:grpSpMk id="29" creationId="{E3E80C3E-2403-473C-87F3-886C1C3D7D70}"/>
          </ac:grpSpMkLst>
        </pc:grpChg>
        <pc:grpChg chg="add mod">
          <ac:chgData name="Chhabra, Aniket" userId="598e0514-bef3-4e71-b6aa-f2edd6441cff" providerId="ADAL" clId="{D0608F18-3840-4CA3-9A99-D984B41683E5}" dt="2020-12-26T05:16:12.558" v="2794" actId="14100"/>
          <ac:grpSpMkLst>
            <pc:docMk/>
            <pc:sldMk cId="371788107" sldId="266"/>
            <ac:grpSpMk id="38" creationId="{EF87F8CF-B294-4B23-B7C8-1A23448760C1}"/>
          </ac:grpSpMkLst>
        </pc:grpChg>
        <pc:picChg chg="add del">
          <ac:chgData name="Chhabra, Aniket" userId="598e0514-bef3-4e71-b6aa-f2edd6441cff" providerId="ADAL" clId="{D0608F18-3840-4CA3-9A99-D984B41683E5}" dt="2020-12-24T09:04:26.806" v="1317" actId="478"/>
          <ac:picMkLst>
            <pc:docMk/>
            <pc:sldMk cId="371788107" sldId="266"/>
            <ac:picMk id="5" creationId="{089F730D-3711-42AF-97FB-52F1877FA69A}"/>
          </ac:picMkLst>
        </pc:picChg>
        <pc:picChg chg="add mod">
          <ac:chgData name="Chhabra, Aniket" userId="598e0514-bef3-4e71-b6aa-f2edd6441cff" providerId="ADAL" clId="{D0608F18-3840-4CA3-9A99-D984B41683E5}" dt="2020-12-26T05:15:34.220" v="2742" actId="1035"/>
          <ac:picMkLst>
            <pc:docMk/>
            <pc:sldMk cId="371788107" sldId="266"/>
            <ac:picMk id="15" creationId="{63402CC7-62B7-4989-A831-15F5E1EBB063}"/>
          </ac:picMkLst>
        </pc:picChg>
        <pc:picChg chg="add mod">
          <ac:chgData name="Chhabra, Aniket" userId="598e0514-bef3-4e71-b6aa-f2edd6441cff" providerId="ADAL" clId="{D0608F18-3840-4CA3-9A99-D984B41683E5}" dt="2020-12-26T05:15:39.264" v="2759" actId="1036"/>
          <ac:picMkLst>
            <pc:docMk/>
            <pc:sldMk cId="371788107" sldId="266"/>
            <ac:picMk id="24" creationId="{C32EE874-00F3-4766-86FA-3C958D59AAAD}"/>
          </ac:picMkLst>
        </pc:picChg>
        <pc:picChg chg="add mod">
          <ac:chgData name="Chhabra, Aniket" userId="598e0514-bef3-4e71-b6aa-f2edd6441cff" providerId="ADAL" clId="{D0608F18-3840-4CA3-9A99-D984B41683E5}" dt="2020-12-26T05:15:39.264" v="2759" actId="1036"/>
          <ac:picMkLst>
            <pc:docMk/>
            <pc:sldMk cId="371788107" sldId="266"/>
            <ac:picMk id="28" creationId="{30C2FB5D-D532-4564-A94A-3D37B612917C}"/>
          </ac:picMkLst>
        </pc:picChg>
        <pc:picChg chg="add mod">
          <ac:chgData name="Chhabra, Aniket" userId="598e0514-bef3-4e71-b6aa-f2edd6441cff" providerId="ADAL" clId="{D0608F18-3840-4CA3-9A99-D984B41683E5}" dt="2020-12-26T05:16:08.957" v="2792" actId="164"/>
          <ac:picMkLst>
            <pc:docMk/>
            <pc:sldMk cId="371788107" sldId="266"/>
            <ac:picMk id="34" creationId="{1AD051E0-4BD1-4DED-A7CD-304828BC7523}"/>
          </ac:picMkLst>
        </pc:picChg>
        <pc:picChg chg="add mod ord">
          <ac:chgData name="Chhabra, Aniket" userId="598e0514-bef3-4e71-b6aa-f2edd6441cff" providerId="ADAL" clId="{D0608F18-3840-4CA3-9A99-D984B41683E5}" dt="2020-12-26T05:16:08.957" v="2792" actId="164"/>
          <ac:picMkLst>
            <pc:docMk/>
            <pc:sldMk cId="371788107" sldId="266"/>
            <ac:picMk id="36" creationId="{EEED8B4B-3CC5-405E-B91A-9D780BBD8E8B}"/>
          </ac:picMkLst>
        </pc:picChg>
      </pc:sldChg>
      <pc:sldChg chg="addSp delSp modSp new mod ord">
        <pc:chgData name="Chhabra, Aniket" userId="598e0514-bef3-4e71-b6aa-f2edd6441cff" providerId="ADAL" clId="{D0608F18-3840-4CA3-9A99-D984B41683E5}" dt="2020-12-24T09:04:42.966" v="1320" actId="1076"/>
        <pc:sldMkLst>
          <pc:docMk/>
          <pc:sldMk cId="3787768608" sldId="267"/>
        </pc:sldMkLst>
        <pc:spChg chg="del">
          <ac:chgData name="Chhabra, Aniket" userId="598e0514-bef3-4e71-b6aa-f2edd6441cff" providerId="ADAL" clId="{D0608F18-3840-4CA3-9A99-D984B41683E5}" dt="2020-12-24T09:00:18.376" v="1199" actId="478"/>
          <ac:spMkLst>
            <pc:docMk/>
            <pc:sldMk cId="3787768608" sldId="267"/>
            <ac:spMk id="2" creationId="{BEC1EBA0-2D55-44E3-A902-5C3F4DCC1D9A}"/>
          </ac:spMkLst>
        </pc:spChg>
        <pc:spChg chg="del">
          <ac:chgData name="Chhabra, Aniket" userId="598e0514-bef3-4e71-b6aa-f2edd6441cff" providerId="ADAL" clId="{D0608F18-3840-4CA3-9A99-D984B41683E5}" dt="2020-12-24T09:00:17.170" v="1198" actId="478"/>
          <ac:spMkLst>
            <pc:docMk/>
            <pc:sldMk cId="3787768608" sldId="267"/>
            <ac:spMk id="3" creationId="{90223E7B-E356-46D9-99F6-17F32557B318}"/>
          </ac:spMkLst>
        </pc:spChg>
        <pc:spChg chg="mod">
          <ac:chgData name="Chhabra, Aniket" userId="598e0514-bef3-4e71-b6aa-f2edd6441cff" providerId="ADAL" clId="{D0608F18-3840-4CA3-9A99-D984B41683E5}" dt="2020-12-24T08:58:41.855" v="1153"/>
          <ac:spMkLst>
            <pc:docMk/>
            <pc:sldMk cId="3787768608" sldId="267"/>
            <ac:spMk id="5" creationId="{D507A996-096C-4EB0-B9A3-B337A18218C9}"/>
          </ac:spMkLst>
        </pc:spChg>
        <pc:spChg chg="mod">
          <ac:chgData name="Chhabra, Aniket" userId="598e0514-bef3-4e71-b6aa-f2edd6441cff" providerId="ADAL" clId="{D0608F18-3840-4CA3-9A99-D984B41683E5}" dt="2020-12-24T09:00:57.526" v="1210" actId="20577"/>
          <ac:spMkLst>
            <pc:docMk/>
            <pc:sldMk cId="3787768608" sldId="267"/>
            <ac:spMk id="6" creationId="{2CE036FE-A76A-4E6E-804A-E6438CD498DA}"/>
          </ac:spMkLst>
        </pc:spChg>
        <pc:spChg chg="add del mod">
          <ac:chgData name="Chhabra, Aniket" userId="598e0514-bef3-4e71-b6aa-f2edd6441cff" providerId="ADAL" clId="{D0608F18-3840-4CA3-9A99-D984B41683E5}" dt="2020-12-24T09:00:29.569" v="1202" actId="478"/>
          <ac:spMkLst>
            <pc:docMk/>
            <pc:sldMk cId="3787768608" sldId="267"/>
            <ac:spMk id="7" creationId="{E5040F3F-7D9B-450A-9DDA-12167543AB94}"/>
          </ac:spMkLst>
        </pc:spChg>
        <pc:spChg chg="add mod">
          <ac:chgData name="Chhabra, Aniket" userId="598e0514-bef3-4e71-b6aa-f2edd6441cff" providerId="ADAL" clId="{D0608F18-3840-4CA3-9A99-D984B41683E5}" dt="2020-12-24T09:00:26.946" v="1200"/>
          <ac:spMkLst>
            <pc:docMk/>
            <pc:sldMk cId="3787768608" sldId="267"/>
            <ac:spMk id="9" creationId="{442EA98B-C391-47BB-AB13-D66D41246D18}"/>
          </ac:spMkLst>
        </pc:spChg>
        <pc:spChg chg="add mod">
          <ac:chgData name="Chhabra, Aniket" userId="598e0514-bef3-4e71-b6aa-f2edd6441cff" providerId="ADAL" clId="{D0608F18-3840-4CA3-9A99-D984B41683E5}" dt="2020-12-24T09:00:26.946" v="1200"/>
          <ac:spMkLst>
            <pc:docMk/>
            <pc:sldMk cId="3787768608" sldId="267"/>
            <ac:spMk id="10" creationId="{2314A0DF-25C3-4060-A086-A1CFA72FFBC3}"/>
          </ac:spMkLst>
        </pc:spChg>
        <pc:spChg chg="add mod ord">
          <ac:chgData name="Chhabra, Aniket" userId="598e0514-bef3-4e71-b6aa-f2edd6441cff" providerId="ADAL" clId="{D0608F18-3840-4CA3-9A99-D984B41683E5}" dt="2020-12-24T09:04:42.966" v="1320" actId="1076"/>
          <ac:spMkLst>
            <pc:docMk/>
            <pc:sldMk cId="3787768608" sldId="267"/>
            <ac:spMk id="11" creationId="{86A175F8-7D59-449D-ADB6-31DB59BF6459}"/>
          </ac:spMkLst>
        </pc:spChg>
        <pc:spChg chg="mod">
          <ac:chgData name="Chhabra, Aniket" userId="598e0514-bef3-4e71-b6aa-f2edd6441cff" providerId="ADAL" clId="{D0608F18-3840-4CA3-9A99-D984B41683E5}" dt="2020-12-24T09:02:01.067" v="1270" actId="20577"/>
          <ac:spMkLst>
            <pc:docMk/>
            <pc:sldMk cId="3787768608" sldId="267"/>
            <ac:spMk id="13" creationId="{7ED8AC67-8EC4-42C7-9716-70B645301DB2}"/>
          </ac:spMkLst>
        </pc:spChg>
        <pc:spChg chg="mod">
          <ac:chgData name="Chhabra, Aniket" userId="598e0514-bef3-4e71-b6aa-f2edd6441cff" providerId="ADAL" clId="{D0608F18-3840-4CA3-9A99-D984B41683E5}" dt="2020-12-24T09:03:57.974" v="1306" actId="20577"/>
          <ac:spMkLst>
            <pc:docMk/>
            <pc:sldMk cId="3787768608" sldId="267"/>
            <ac:spMk id="14" creationId="{EAFF5B31-2ED9-470B-8A91-1CF39329F04D}"/>
          </ac:spMkLst>
        </pc:spChg>
        <pc:spChg chg="mod">
          <ac:chgData name="Chhabra, Aniket" userId="598e0514-bef3-4e71-b6aa-f2edd6441cff" providerId="ADAL" clId="{D0608F18-3840-4CA3-9A99-D984B41683E5}" dt="2020-12-24T09:01:40.172" v="1249" actId="20577"/>
          <ac:spMkLst>
            <pc:docMk/>
            <pc:sldMk cId="3787768608" sldId="267"/>
            <ac:spMk id="16" creationId="{05F7827A-6956-4272-833F-C226962C6E83}"/>
          </ac:spMkLst>
        </pc:spChg>
        <pc:spChg chg="mod">
          <ac:chgData name="Chhabra, Aniket" userId="598e0514-bef3-4e71-b6aa-f2edd6441cff" providerId="ADAL" clId="{D0608F18-3840-4CA3-9A99-D984B41683E5}" dt="2020-12-24T09:04:02.553" v="1310" actId="1076"/>
          <ac:spMkLst>
            <pc:docMk/>
            <pc:sldMk cId="3787768608" sldId="267"/>
            <ac:spMk id="17" creationId="{52839683-031C-46F7-A885-98C641191FCE}"/>
          </ac:spMkLst>
        </pc:spChg>
        <pc:spChg chg="mod">
          <ac:chgData name="Chhabra, Aniket" userId="598e0514-bef3-4e71-b6aa-f2edd6441cff" providerId="ADAL" clId="{D0608F18-3840-4CA3-9A99-D984B41683E5}" dt="2020-12-24T09:01:44.391" v="1253" actId="20577"/>
          <ac:spMkLst>
            <pc:docMk/>
            <pc:sldMk cId="3787768608" sldId="267"/>
            <ac:spMk id="19" creationId="{A1CC0036-9243-4A4E-B784-FAFBCBB480B6}"/>
          </ac:spMkLst>
        </pc:spChg>
        <pc:spChg chg="mod">
          <ac:chgData name="Chhabra, Aniket" userId="598e0514-bef3-4e71-b6aa-f2edd6441cff" providerId="ADAL" clId="{D0608F18-3840-4CA3-9A99-D984B41683E5}" dt="2020-12-24T09:04:04.967" v="1312" actId="20577"/>
          <ac:spMkLst>
            <pc:docMk/>
            <pc:sldMk cId="3787768608" sldId="267"/>
            <ac:spMk id="20" creationId="{DE06CB97-A38A-4B4E-BCFB-2B8E3575B087}"/>
          </ac:spMkLst>
        </pc:spChg>
        <pc:spChg chg="add mod">
          <ac:chgData name="Chhabra, Aniket" userId="598e0514-bef3-4e71-b6aa-f2edd6441cff" providerId="ADAL" clId="{D0608F18-3840-4CA3-9A99-D984B41683E5}" dt="2020-12-24T09:03:33.927" v="1294" actId="1076"/>
          <ac:spMkLst>
            <pc:docMk/>
            <pc:sldMk cId="3787768608" sldId="267"/>
            <ac:spMk id="24" creationId="{36E29184-390C-4F8B-8E75-9AD1EEF579C4}"/>
          </ac:spMkLst>
        </pc:spChg>
        <pc:spChg chg="mod">
          <ac:chgData name="Chhabra, Aniket" userId="598e0514-bef3-4e71-b6aa-f2edd6441cff" providerId="ADAL" clId="{D0608F18-3840-4CA3-9A99-D984B41683E5}" dt="2020-12-24T09:03:25.536" v="1291"/>
          <ac:spMkLst>
            <pc:docMk/>
            <pc:sldMk cId="3787768608" sldId="267"/>
            <ac:spMk id="28" creationId="{0EAF22F8-1CD5-4E1F-9822-89EC845EAE43}"/>
          </ac:spMkLst>
        </pc:spChg>
        <pc:spChg chg="mod">
          <ac:chgData name="Chhabra, Aniket" userId="598e0514-bef3-4e71-b6aa-f2edd6441cff" providerId="ADAL" clId="{D0608F18-3840-4CA3-9A99-D984B41683E5}" dt="2020-12-24T09:04:08.191" v="1314" actId="20577"/>
          <ac:spMkLst>
            <pc:docMk/>
            <pc:sldMk cId="3787768608" sldId="267"/>
            <ac:spMk id="29" creationId="{7492495A-D091-4C68-9E0F-FE531FA8A78A}"/>
          </ac:spMkLst>
        </pc:spChg>
        <pc:spChg chg="add mod">
          <ac:chgData name="Chhabra, Aniket" userId="598e0514-bef3-4e71-b6aa-f2edd6441cff" providerId="ADAL" clId="{D0608F18-3840-4CA3-9A99-D984B41683E5}" dt="2020-12-24T09:03:53.748" v="1304" actId="1076"/>
          <ac:spMkLst>
            <pc:docMk/>
            <pc:sldMk cId="3787768608" sldId="267"/>
            <ac:spMk id="31" creationId="{5791F04B-CF44-4D45-96B2-F24392A81067}"/>
          </ac:spMkLst>
        </pc:spChg>
        <pc:grpChg chg="add del mod">
          <ac:chgData name="Chhabra, Aniket" userId="598e0514-bef3-4e71-b6aa-f2edd6441cff" providerId="ADAL" clId="{D0608F18-3840-4CA3-9A99-D984B41683E5}" dt="2020-12-24T09:03:23.818" v="1290" actId="21"/>
          <ac:grpSpMkLst>
            <pc:docMk/>
            <pc:sldMk cId="3787768608" sldId="267"/>
            <ac:grpSpMk id="4" creationId="{B7D7A277-5365-4A52-B1D1-7BD719E88B47}"/>
          </ac:grpSpMkLst>
        </pc:grpChg>
        <pc:grpChg chg="add mod">
          <ac:chgData name="Chhabra, Aniket" userId="598e0514-bef3-4e71-b6aa-f2edd6441cff" providerId="ADAL" clId="{D0608F18-3840-4CA3-9A99-D984B41683E5}" dt="2020-12-24T09:03:31.960" v="1293" actId="1076"/>
          <ac:grpSpMkLst>
            <pc:docMk/>
            <pc:sldMk cId="3787768608" sldId="267"/>
            <ac:grpSpMk id="12" creationId="{660F38C5-736B-4E21-AE5B-6D347E40DDF0}"/>
          </ac:grpSpMkLst>
        </pc:grpChg>
        <pc:grpChg chg="add mod">
          <ac:chgData name="Chhabra, Aniket" userId="598e0514-bef3-4e71-b6aa-f2edd6441cff" providerId="ADAL" clId="{D0608F18-3840-4CA3-9A99-D984B41683E5}" dt="2020-12-24T09:03:31.960" v="1293" actId="1076"/>
          <ac:grpSpMkLst>
            <pc:docMk/>
            <pc:sldMk cId="3787768608" sldId="267"/>
            <ac:grpSpMk id="15" creationId="{3EF3AD91-07FE-4A65-914D-9F0248AF683D}"/>
          </ac:grpSpMkLst>
        </pc:grpChg>
        <pc:grpChg chg="add mod">
          <ac:chgData name="Chhabra, Aniket" userId="598e0514-bef3-4e71-b6aa-f2edd6441cff" providerId="ADAL" clId="{D0608F18-3840-4CA3-9A99-D984B41683E5}" dt="2020-12-24T09:03:31.960" v="1293" actId="1076"/>
          <ac:grpSpMkLst>
            <pc:docMk/>
            <pc:sldMk cId="3787768608" sldId="267"/>
            <ac:grpSpMk id="18" creationId="{FB9A7EA4-5E7B-4FEA-B491-ADE884B0329B}"/>
          </ac:grpSpMkLst>
        </pc:grpChg>
        <pc:grpChg chg="add mod">
          <ac:chgData name="Chhabra, Aniket" userId="598e0514-bef3-4e71-b6aa-f2edd6441cff" providerId="ADAL" clId="{D0608F18-3840-4CA3-9A99-D984B41683E5}" dt="2020-12-24T09:04:13.345" v="1315" actId="1076"/>
          <ac:grpSpMkLst>
            <pc:docMk/>
            <pc:sldMk cId="3787768608" sldId="267"/>
            <ac:grpSpMk id="27" creationId="{6876E73A-98F6-4909-A769-81659B099F5C}"/>
          </ac:grpSpMkLst>
        </pc:grpChg>
        <pc:picChg chg="add del mod">
          <ac:chgData name="Chhabra, Aniket" userId="598e0514-bef3-4e71-b6aa-f2edd6441cff" providerId="ADAL" clId="{D0608F18-3840-4CA3-9A99-D984B41683E5}" dt="2020-12-24T09:03:23.818" v="1290" actId="21"/>
          <ac:picMkLst>
            <pc:docMk/>
            <pc:sldMk cId="3787768608" sldId="267"/>
            <ac:picMk id="8" creationId="{A1A9F9CC-E132-485A-B49D-BA807F5005CB}"/>
          </ac:picMkLst>
        </pc:picChg>
        <pc:picChg chg="add mod">
          <ac:chgData name="Chhabra, Aniket" userId="598e0514-bef3-4e71-b6aa-f2edd6441cff" providerId="ADAL" clId="{D0608F18-3840-4CA3-9A99-D984B41683E5}" dt="2020-12-24T09:03:31.960" v="1293" actId="1076"/>
          <ac:picMkLst>
            <pc:docMk/>
            <pc:sldMk cId="3787768608" sldId="267"/>
            <ac:picMk id="21" creationId="{7C9D482F-693F-4C4E-AF4A-3CA4DC39698C}"/>
          </ac:picMkLst>
        </pc:picChg>
        <pc:picChg chg="add mod">
          <ac:chgData name="Chhabra, Aniket" userId="598e0514-bef3-4e71-b6aa-f2edd6441cff" providerId="ADAL" clId="{D0608F18-3840-4CA3-9A99-D984B41683E5}" dt="2020-12-24T09:03:35.359" v="1295" actId="1076"/>
          <ac:picMkLst>
            <pc:docMk/>
            <pc:sldMk cId="3787768608" sldId="267"/>
            <ac:picMk id="23" creationId="{0BE550DE-CD12-44C1-B130-8A994EC73227}"/>
          </ac:picMkLst>
        </pc:picChg>
        <pc:picChg chg="add mod">
          <ac:chgData name="Chhabra, Aniket" userId="598e0514-bef3-4e71-b6aa-f2edd6441cff" providerId="ADAL" clId="{D0608F18-3840-4CA3-9A99-D984B41683E5}" dt="2020-12-24T09:03:46.424" v="1300" actId="1076"/>
          <ac:picMkLst>
            <pc:docMk/>
            <pc:sldMk cId="3787768608" sldId="267"/>
            <ac:picMk id="26" creationId="{FF76E17A-BB55-4C09-8D41-A2A08F341300}"/>
          </ac:picMkLst>
        </pc:picChg>
        <pc:picChg chg="add mod">
          <ac:chgData name="Chhabra, Aniket" userId="598e0514-bef3-4e71-b6aa-f2edd6441cff" providerId="ADAL" clId="{D0608F18-3840-4CA3-9A99-D984B41683E5}" dt="2020-12-24T09:04:13.345" v="1315" actId="1076"/>
          <ac:picMkLst>
            <pc:docMk/>
            <pc:sldMk cId="3787768608" sldId="267"/>
            <ac:picMk id="30" creationId="{10F83AAA-43EF-467C-A357-DF04067B0D73}"/>
          </ac:picMkLst>
        </pc:picChg>
      </pc:sldChg>
      <pc:sldChg chg="addSp delSp modSp add del mod">
        <pc:chgData name="Chhabra, Aniket" userId="598e0514-bef3-4e71-b6aa-f2edd6441cff" providerId="ADAL" clId="{D0608F18-3840-4CA3-9A99-D984B41683E5}" dt="2020-12-27T01:28:15.021" v="2844" actId="47"/>
        <pc:sldMkLst>
          <pc:docMk/>
          <pc:sldMk cId="81862220" sldId="268"/>
        </pc:sldMkLst>
        <pc:spChg chg="mod">
          <ac:chgData name="Chhabra, Aniket" userId="598e0514-bef3-4e71-b6aa-f2edd6441cff" providerId="ADAL" clId="{D0608F18-3840-4CA3-9A99-D984B41683E5}" dt="2020-12-25T02:36:28.733" v="1795"/>
          <ac:spMkLst>
            <pc:docMk/>
            <pc:sldMk cId="81862220" sldId="268"/>
            <ac:spMk id="2" creationId="{8930873A-47BB-4799-A633-7CD6F940B805}"/>
          </ac:spMkLst>
        </pc:spChg>
        <pc:spChg chg="add mod">
          <ac:chgData name="Chhabra, Aniket" userId="598e0514-bef3-4e71-b6aa-f2edd6441cff" providerId="ADAL" clId="{D0608F18-3840-4CA3-9A99-D984B41683E5}" dt="2020-12-25T02:36:59.783" v="1803" actId="14100"/>
          <ac:spMkLst>
            <pc:docMk/>
            <pc:sldMk cId="81862220" sldId="268"/>
            <ac:spMk id="8" creationId="{6EFEB083-AE62-44BB-B50D-14E8C294590E}"/>
          </ac:spMkLst>
        </pc:spChg>
        <pc:spChg chg="add mod">
          <ac:chgData name="Chhabra, Aniket" userId="598e0514-bef3-4e71-b6aa-f2edd6441cff" providerId="ADAL" clId="{D0608F18-3840-4CA3-9A99-D984B41683E5}" dt="2020-12-25T02:54:51.827" v="1828" actId="948"/>
          <ac:spMkLst>
            <pc:docMk/>
            <pc:sldMk cId="81862220" sldId="268"/>
            <ac:spMk id="10" creationId="{EDBF997A-09A2-4812-8A04-383C9116681C}"/>
          </ac:spMkLst>
        </pc:spChg>
        <pc:spChg chg="mod topLvl">
          <ac:chgData name="Chhabra, Aniket" userId="598e0514-bef3-4e71-b6aa-f2edd6441cff" providerId="ADAL" clId="{D0608F18-3840-4CA3-9A99-D984B41683E5}" dt="2020-12-25T02:54:27.153" v="1819" actId="478"/>
          <ac:spMkLst>
            <pc:docMk/>
            <pc:sldMk cId="81862220" sldId="268"/>
            <ac:spMk id="12" creationId="{6A13FC59-7C55-46E3-9556-FB2F8637DDD4}"/>
          </ac:spMkLst>
        </pc:spChg>
        <pc:spChg chg="del mod topLvl">
          <ac:chgData name="Chhabra, Aniket" userId="598e0514-bef3-4e71-b6aa-f2edd6441cff" providerId="ADAL" clId="{D0608F18-3840-4CA3-9A99-D984B41683E5}" dt="2020-12-25T02:54:27.153" v="1819" actId="478"/>
          <ac:spMkLst>
            <pc:docMk/>
            <pc:sldMk cId="81862220" sldId="268"/>
            <ac:spMk id="13" creationId="{F234BD27-5655-420B-B37D-590E516BC501}"/>
          </ac:spMkLst>
        </pc:spChg>
        <pc:spChg chg="add mod">
          <ac:chgData name="Chhabra, Aniket" userId="598e0514-bef3-4e71-b6aa-f2edd6441cff" providerId="ADAL" clId="{D0608F18-3840-4CA3-9A99-D984B41683E5}" dt="2020-12-25T02:54:34.298" v="1826" actId="20577"/>
          <ac:spMkLst>
            <pc:docMk/>
            <pc:sldMk cId="81862220" sldId="268"/>
            <ac:spMk id="14" creationId="{928E37E4-147C-4FC9-91F1-F40F5998149B}"/>
          </ac:spMkLst>
        </pc:spChg>
        <pc:spChg chg="add mod">
          <ac:chgData name="Chhabra, Aniket" userId="598e0514-bef3-4e71-b6aa-f2edd6441cff" providerId="ADAL" clId="{D0608F18-3840-4CA3-9A99-D984B41683E5}" dt="2020-12-25T02:55:18.914" v="1837" actId="1038"/>
          <ac:spMkLst>
            <pc:docMk/>
            <pc:sldMk cId="81862220" sldId="268"/>
            <ac:spMk id="16" creationId="{4B46021A-DD8B-4E19-AC5E-97DDEC550F82}"/>
          </ac:spMkLst>
        </pc:spChg>
        <pc:spChg chg="del">
          <ac:chgData name="Chhabra, Aniket" userId="598e0514-bef3-4e71-b6aa-f2edd6441cff" providerId="ADAL" clId="{D0608F18-3840-4CA3-9A99-D984B41683E5}" dt="2020-12-25T02:36:55.985" v="1802" actId="478"/>
          <ac:spMkLst>
            <pc:docMk/>
            <pc:sldMk cId="81862220" sldId="268"/>
            <ac:spMk id="35" creationId="{24E86C64-DC5C-46E1-BD5B-24CE1D04857D}"/>
          </ac:spMkLst>
        </pc:spChg>
        <pc:spChg chg="del">
          <ac:chgData name="Chhabra, Aniket" userId="598e0514-bef3-4e71-b6aa-f2edd6441cff" providerId="ADAL" clId="{D0608F18-3840-4CA3-9A99-D984B41683E5}" dt="2020-12-25T02:36:55.985" v="1802" actId="478"/>
          <ac:spMkLst>
            <pc:docMk/>
            <pc:sldMk cId="81862220" sldId="268"/>
            <ac:spMk id="36" creationId="{FB46A8D8-92AB-407F-AFEB-E694A563D660}"/>
          </ac:spMkLst>
        </pc:spChg>
        <pc:spChg chg="del">
          <ac:chgData name="Chhabra, Aniket" userId="598e0514-bef3-4e71-b6aa-f2edd6441cff" providerId="ADAL" clId="{D0608F18-3840-4CA3-9A99-D984B41683E5}" dt="2020-12-25T02:36:55.985" v="1802" actId="478"/>
          <ac:spMkLst>
            <pc:docMk/>
            <pc:sldMk cId="81862220" sldId="268"/>
            <ac:spMk id="37" creationId="{0C0FF37F-B282-43CF-9833-ABF3F4719E26}"/>
          </ac:spMkLst>
        </pc:spChg>
        <pc:grpChg chg="add del mod">
          <ac:chgData name="Chhabra, Aniket" userId="598e0514-bef3-4e71-b6aa-f2edd6441cff" providerId="ADAL" clId="{D0608F18-3840-4CA3-9A99-D984B41683E5}" dt="2020-12-25T02:54:27.153" v="1819" actId="478"/>
          <ac:grpSpMkLst>
            <pc:docMk/>
            <pc:sldMk cId="81862220" sldId="268"/>
            <ac:grpSpMk id="11" creationId="{25820606-EFA7-414D-A865-25DB5BF67C7C}"/>
          </ac:grpSpMkLst>
        </pc:grpChg>
        <pc:graphicFrameChg chg="del">
          <ac:chgData name="Chhabra, Aniket" userId="598e0514-bef3-4e71-b6aa-f2edd6441cff" providerId="ADAL" clId="{D0608F18-3840-4CA3-9A99-D984B41683E5}" dt="2020-12-25T02:34:50.537" v="1794" actId="478"/>
          <ac:graphicFrameMkLst>
            <pc:docMk/>
            <pc:sldMk cId="81862220" sldId="268"/>
            <ac:graphicFrameMk id="34" creationId="{DB09E4A5-DDFA-473D-BC65-826FDCF31E64}"/>
          </ac:graphicFrameMkLst>
        </pc:graphicFrameChg>
      </pc:sldChg>
      <pc:sldChg chg="new del">
        <pc:chgData name="Chhabra, Aniket" userId="598e0514-bef3-4e71-b6aa-f2edd6441cff" providerId="ADAL" clId="{D0608F18-3840-4CA3-9A99-D984B41683E5}" dt="2020-12-25T02:34:45.815" v="1792" actId="680"/>
        <pc:sldMkLst>
          <pc:docMk/>
          <pc:sldMk cId="1008517262" sldId="268"/>
        </pc:sldMkLst>
      </pc:sldChg>
      <pc:sldChg chg="new del">
        <pc:chgData name="Chhabra, Aniket" userId="598e0514-bef3-4e71-b6aa-f2edd6441cff" providerId="ADAL" clId="{D0608F18-3840-4CA3-9A99-D984B41683E5}" dt="2020-12-25T03:43:13.127" v="2600" actId="47"/>
        <pc:sldMkLst>
          <pc:docMk/>
          <pc:sldMk cId="2308507859" sldId="269"/>
        </pc:sldMkLst>
      </pc:sldChg>
      <pc:sldChg chg="addSp delSp modSp add mod">
        <pc:chgData name="Chhabra, Aniket" userId="598e0514-bef3-4e71-b6aa-f2edd6441cff" providerId="ADAL" clId="{D0608F18-3840-4CA3-9A99-D984B41683E5}" dt="2020-12-25T03:13:39.920" v="2075" actId="1076"/>
        <pc:sldMkLst>
          <pc:docMk/>
          <pc:sldMk cId="2367509862" sldId="270"/>
        </pc:sldMkLst>
        <pc:spChg chg="mod">
          <ac:chgData name="Chhabra, Aniket" userId="598e0514-bef3-4e71-b6aa-f2edd6441cff" providerId="ADAL" clId="{D0608F18-3840-4CA3-9A99-D984B41683E5}" dt="2020-12-25T02:59:22.964" v="1857" actId="1035"/>
          <ac:spMkLst>
            <pc:docMk/>
            <pc:sldMk cId="2367509862" sldId="270"/>
            <ac:spMk id="8" creationId="{6EFEB083-AE62-44BB-B50D-14E8C294590E}"/>
          </ac:spMkLst>
        </pc:spChg>
        <pc:spChg chg="add mod">
          <ac:chgData name="Chhabra, Aniket" userId="598e0514-bef3-4e71-b6aa-f2edd6441cff" providerId="ADAL" clId="{D0608F18-3840-4CA3-9A99-D984B41683E5}" dt="2020-12-25T03:06:12.181" v="1967" actId="255"/>
          <ac:spMkLst>
            <pc:docMk/>
            <pc:sldMk cId="2367509862" sldId="270"/>
            <ac:spMk id="9" creationId="{46CCCB06-EADC-4C4D-82A6-573F2790C15B}"/>
          </ac:spMkLst>
        </pc:spChg>
        <pc:spChg chg="mod">
          <ac:chgData name="Chhabra, Aniket" userId="598e0514-bef3-4e71-b6aa-f2edd6441cff" providerId="ADAL" clId="{D0608F18-3840-4CA3-9A99-D984B41683E5}" dt="2020-12-25T02:59:28.580" v="1858" actId="1076"/>
          <ac:spMkLst>
            <pc:docMk/>
            <pc:sldMk cId="2367509862" sldId="270"/>
            <ac:spMk id="10" creationId="{EDBF997A-09A2-4812-8A04-383C9116681C}"/>
          </ac:spMkLst>
        </pc:spChg>
        <pc:spChg chg="add del mod">
          <ac:chgData name="Chhabra, Aniket" userId="598e0514-bef3-4e71-b6aa-f2edd6441cff" providerId="ADAL" clId="{D0608F18-3840-4CA3-9A99-D984B41683E5}" dt="2020-12-25T03:00:27.781" v="1887" actId="478"/>
          <ac:spMkLst>
            <pc:docMk/>
            <pc:sldMk cId="2367509862" sldId="270"/>
            <ac:spMk id="11" creationId="{469F21DD-5407-409F-A188-D9F65531D6C5}"/>
          </ac:spMkLst>
        </pc:spChg>
        <pc:spChg chg="mod">
          <ac:chgData name="Chhabra, Aniket" userId="598e0514-bef3-4e71-b6aa-f2edd6441cff" providerId="ADAL" clId="{D0608F18-3840-4CA3-9A99-D984B41683E5}" dt="2020-12-25T02:59:28.580" v="1858" actId="1076"/>
          <ac:spMkLst>
            <pc:docMk/>
            <pc:sldMk cId="2367509862" sldId="270"/>
            <ac:spMk id="12" creationId="{6A13FC59-7C55-46E3-9556-FB2F8637DDD4}"/>
          </ac:spMkLst>
        </pc:spChg>
        <pc:spChg chg="add del mod">
          <ac:chgData name="Chhabra, Aniket" userId="598e0514-bef3-4e71-b6aa-f2edd6441cff" providerId="ADAL" clId="{D0608F18-3840-4CA3-9A99-D984B41683E5}" dt="2020-12-25T03:00:27.781" v="1887" actId="478"/>
          <ac:spMkLst>
            <pc:docMk/>
            <pc:sldMk cId="2367509862" sldId="270"/>
            <ac:spMk id="13" creationId="{27105B7B-88F6-49F5-9A5B-5205C6E2DDA9}"/>
          </ac:spMkLst>
        </pc:spChg>
        <pc:spChg chg="mod">
          <ac:chgData name="Chhabra, Aniket" userId="598e0514-bef3-4e71-b6aa-f2edd6441cff" providerId="ADAL" clId="{D0608F18-3840-4CA3-9A99-D984B41683E5}" dt="2020-12-25T02:59:33.313" v="1859" actId="1076"/>
          <ac:spMkLst>
            <pc:docMk/>
            <pc:sldMk cId="2367509862" sldId="270"/>
            <ac:spMk id="14" creationId="{928E37E4-147C-4FC9-91F1-F40F5998149B}"/>
          </ac:spMkLst>
        </pc:spChg>
        <pc:spChg chg="add del mod">
          <ac:chgData name="Chhabra, Aniket" userId="598e0514-bef3-4e71-b6aa-f2edd6441cff" providerId="ADAL" clId="{D0608F18-3840-4CA3-9A99-D984B41683E5}" dt="2020-12-25T03:00:27.781" v="1887" actId="478"/>
          <ac:spMkLst>
            <pc:docMk/>
            <pc:sldMk cId="2367509862" sldId="270"/>
            <ac:spMk id="15" creationId="{E63F20FF-FE66-4CB5-9D8F-0A952348B307}"/>
          </ac:spMkLst>
        </pc:spChg>
        <pc:spChg chg="mod">
          <ac:chgData name="Chhabra, Aniket" userId="598e0514-bef3-4e71-b6aa-f2edd6441cff" providerId="ADAL" clId="{D0608F18-3840-4CA3-9A99-D984B41683E5}" dt="2020-12-25T02:59:33.313" v="1859" actId="1076"/>
          <ac:spMkLst>
            <pc:docMk/>
            <pc:sldMk cId="2367509862" sldId="270"/>
            <ac:spMk id="16" creationId="{4B46021A-DD8B-4E19-AC5E-97DDEC550F82}"/>
          </ac:spMkLst>
        </pc:spChg>
        <pc:spChg chg="add del mod">
          <ac:chgData name="Chhabra, Aniket" userId="598e0514-bef3-4e71-b6aa-f2edd6441cff" providerId="ADAL" clId="{D0608F18-3840-4CA3-9A99-D984B41683E5}" dt="2020-12-25T03:00:27.781" v="1887" actId="478"/>
          <ac:spMkLst>
            <pc:docMk/>
            <pc:sldMk cId="2367509862" sldId="270"/>
            <ac:spMk id="17" creationId="{655E78FF-BA1A-4331-B3C4-247F620BD3D8}"/>
          </ac:spMkLst>
        </pc:spChg>
        <pc:spChg chg="add del mod">
          <ac:chgData name="Chhabra, Aniket" userId="598e0514-bef3-4e71-b6aa-f2edd6441cff" providerId="ADAL" clId="{D0608F18-3840-4CA3-9A99-D984B41683E5}" dt="2020-12-25T03:00:27.781" v="1887" actId="478"/>
          <ac:spMkLst>
            <pc:docMk/>
            <pc:sldMk cId="2367509862" sldId="270"/>
            <ac:spMk id="18" creationId="{E067D350-D7F2-43E2-B37C-A16C0127B837}"/>
          </ac:spMkLst>
        </pc:spChg>
        <pc:spChg chg="add del mod">
          <ac:chgData name="Chhabra, Aniket" userId="598e0514-bef3-4e71-b6aa-f2edd6441cff" providerId="ADAL" clId="{D0608F18-3840-4CA3-9A99-D984B41683E5}" dt="2020-12-25T03:00:27.781" v="1887" actId="478"/>
          <ac:spMkLst>
            <pc:docMk/>
            <pc:sldMk cId="2367509862" sldId="270"/>
            <ac:spMk id="19" creationId="{D15D8308-4CB8-4FF3-8A3B-09AA498C7BE4}"/>
          </ac:spMkLst>
        </pc:spChg>
        <pc:spChg chg="add del mod">
          <ac:chgData name="Chhabra, Aniket" userId="598e0514-bef3-4e71-b6aa-f2edd6441cff" providerId="ADAL" clId="{D0608F18-3840-4CA3-9A99-D984B41683E5}" dt="2020-12-25T03:00:27.781" v="1887" actId="478"/>
          <ac:spMkLst>
            <pc:docMk/>
            <pc:sldMk cId="2367509862" sldId="270"/>
            <ac:spMk id="20" creationId="{BB622BC2-A322-47F3-9C46-9CBE2C021334}"/>
          </ac:spMkLst>
        </pc:spChg>
        <pc:spChg chg="add del mod">
          <ac:chgData name="Chhabra, Aniket" userId="598e0514-bef3-4e71-b6aa-f2edd6441cff" providerId="ADAL" clId="{D0608F18-3840-4CA3-9A99-D984B41683E5}" dt="2020-12-25T03:00:27.781" v="1887" actId="478"/>
          <ac:spMkLst>
            <pc:docMk/>
            <pc:sldMk cId="2367509862" sldId="270"/>
            <ac:spMk id="21" creationId="{51B8A079-C3B5-44EB-B100-14170418DA13}"/>
          </ac:spMkLst>
        </pc:spChg>
        <pc:spChg chg="add del mod">
          <ac:chgData name="Chhabra, Aniket" userId="598e0514-bef3-4e71-b6aa-f2edd6441cff" providerId="ADAL" clId="{D0608F18-3840-4CA3-9A99-D984B41683E5}" dt="2020-12-25T03:00:27.781" v="1887" actId="478"/>
          <ac:spMkLst>
            <pc:docMk/>
            <pc:sldMk cId="2367509862" sldId="270"/>
            <ac:spMk id="22" creationId="{5514DB5A-06BA-49CA-AC6A-07F21A8E2211}"/>
          </ac:spMkLst>
        </pc:spChg>
        <pc:spChg chg="add del mod">
          <ac:chgData name="Chhabra, Aniket" userId="598e0514-bef3-4e71-b6aa-f2edd6441cff" providerId="ADAL" clId="{D0608F18-3840-4CA3-9A99-D984B41683E5}" dt="2020-12-25T03:00:27.781" v="1887" actId="478"/>
          <ac:spMkLst>
            <pc:docMk/>
            <pc:sldMk cId="2367509862" sldId="270"/>
            <ac:spMk id="23" creationId="{7D41865B-D341-48EA-A193-1E039C295743}"/>
          </ac:spMkLst>
        </pc:spChg>
        <pc:spChg chg="add del mod">
          <ac:chgData name="Chhabra, Aniket" userId="598e0514-bef3-4e71-b6aa-f2edd6441cff" providerId="ADAL" clId="{D0608F18-3840-4CA3-9A99-D984B41683E5}" dt="2020-12-25T03:00:27.781" v="1887" actId="478"/>
          <ac:spMkLst>
            <pc:docMk/>
            <pc:sldMk cId="2367509862" sldId="270"/>
            <ac:spMk id="24" creationId="{51AA15C1-EF05-4B55-91A0-1087C5F80232}"/>
          </ac:spMkLst>
        </pc:spChg>
        <pc:spChg chg="add mod">
          <ac:chgData name="Chhabra, Aniket" userId="598e0514-bef3-4e71-b6aa-f2edd6441cff" providerId="ADAL" clId="{D0608F18-3840-4CA3-9A99-D984B41683E5}" dt="2020-12-25T03:02:39.451" v="1907" actId="14100"/>
          <ac:spMkLst>
            <pc:docMk/>
            <pc:sldMk cId="2367509862" sldId="270"/>
            <ac:spMk id="25" creationId="{44D6ADFF-9AC4-4A0A-9052-5C5B07AFEDD5}"/>
          </ac:spMkLst>
        </pc:spChg>
        <pc:spChg chg="add mod">
          <ac:chgData name="Chhabra, Aniket" userId="598e0514-bef3-4e71-b6aa-f2edd6441cff" providerId="ADAL" clId="{D0608F18-3840-4CA3-9A99-D984B41683E5}" dt="2020-12-25T03:02:36.728" v="1906" actId="14100"/>
          <ac:spMkLst>
            <pc:docMk/>
            <pc:sldMk cId="2367509862" sldId="270"/>
            <ac:spMk id="26" creationId="{1D541AD4-6498-4B6C-9070-D2E5D295BA3B}"/>
          </ac:spMkLst>
        </pc:spChg>
        <pc:spChg chg="add mod">
          <ac:chgData name="Chhabra, Aniket" userId="598e0514-bef3-4e71-b6aa-f2edd6441cff" providerId="ADAL" clId="{D0608F18-3840-4CA3-9A99-D984B41683E5}" dt="2020-12-25T03:02:47.902" v="1918" actId="1038"/>
          <ac:spMkLst>
            <pc:docMk/>
            <pc:sldMk cId="2367509862" sldId="270"/>
            <ac:spMk id="27" creationId="{A28DE615-0E6E-45F0-AE3E-232355E939E9}"/>
          </ac:spMkLst>
        </pc:spChg>
        <pc:spChg chg="add mod">
          <ac:chgData name="Chhabra, Aniket" userId="598e0514-bef3-4e71-b6aa-f2edd6441cff" providerId="ADAL" clId="{D0608F18-3840-4CA3-9A99-D984B41683E5}" dt="2020-12-25T03:13:39.920" v="2075" actId="1076"/>
          <ac:spMkLst>
            <pc:docMk/>
            <pc:sldMk cId="2367509862" sldId="270"/>
            <ac:spMk id="28" creationId="{8FC98B8F-7117-40CD-BF14-AE91D659250E}"/>
          </ac:spMkLst>
        </pc:spChg>
        <pc:spChg chg="add mod">
          <ac:chgData name="Chhabra, Aniket" userId="598e0514-bef3-4e71-b6aa-f2edd6441cff" providerId="ADAL" clId="{D0608F18-3840-4CA3-9A99-D984B41683E5}" dt="2020-12-25T03:02:56.861" v="1934" actId="1035"/>
          <ac:spMkLst>
            <pc:docMk/>
            <pc:sldMk cId="2367509862" sldId="270"/>
            <ac:spMk id="29" creationId="{B82571C2-711A-4CCB-B311-7CAAC80A8F66}"/>
          </ac:spMkLst>
        </pc:spChg>
        <pc:spChg chg="add mod">
          <ac:chgData name="Chhabra, Aniket" userId="598e0514-bef3-4e71-b6aa-f2edd6441cff" providerId="ADAL" clId="{D0608F18-3840-4CA3-9A99-D984B41683E5}" dt="2020-12-25T03:03:09.238" v="1944" actId="1036"/>
          <ac:spMkLst>
            <pc:docMk/>
            <pc:sldMk cId="2367509862" sldId="270"/>
            <ac:spMk id="30" creationId="{1143A33B-3562-4045-9EE8-8CCBDCC376F2}"/>
          </ac:spMkLst>
        </pc:spChg>
        <pc:spChg chg="add mod">
          <ac:chgData name="Chhabra, Aniket" userId="598e0514-bef3-4e71-b6aa-f2edd6441cff" providerId="ADAL" clId="{D0608F18-3840-4CA3-9A99-D984B41683E5}" dt="2020-12-25T03:03:27.883" v="1951" actId="2711"/>
          <ac:spMkLst>
            <pc:docMk/>
            <pc:sldMk cId="2367509862" sldId="270"/>
            <ac:spMk id="31" creationId="{B04E37B1-B797-4BED-97C2-5470D5BE65BC}"/>
          </ac:spMkLst>
        </pc:spChg>
      </pc:sldChg>
      <pc:sldChg chg="addSp delSp modSp add mod">
        <pc:chgData name="Chhabra, Aniket" userId="598e0514-bef3-4e71-b6aa-f2edd6441cff" providerId="ADAL" clId="{D0608F18-3840-4CA3-9A99-D984B41683E5}" dt="2020-12-25T03:19:36.482" v="2258" actId="1036"/>
        <pc:sldMkLst>
          <pc:docMk/>
          <pc:sldMk cId="441586831" sldId="271"/>
        </pc:sldMkLst>
        <pc:spChg chg="del">
          <ac:chgData name="Chhabra, Aniket" userId="598e0514-bef3-4e71-b6aa-f2edd6441cff" providerId="ADAL" clId="{D0608F18-3840-4CA3-9A99-D984B41683E5}" dt="2020-12-25T03:06:32.493" v="1970" actId="478"/>
          <ac:spMkLst>
            <pc:docMk/>
            <pc:sldMk cId="441586831" sldId="271"/>
            <ac:spMk id="8" creationId="{6EFEB083-AE62-44BB-B50D-14E8C294590E}"/>
          </ac:spMkLst>
        </pc:spChg>
        <pc:spChg chg="mod">
          <ac:chgData name="Chhabra, Aniket" userId="598e0514-bef3-4e71-b6aa-f2edd6441cff" providerId="ADAL" clId="{D0608F18-3840-4CA3-9A99-D984B41683E5}" dt="2020-12-25T03:07:38.431" v="2013" actId="1036"/>
          <ac:spMkLst>
            <pc:docMk/>
            <pc:sldMk cId="441586831" sldId="271"/>
            <ac:spMk id="9" creationId="{46CCCB06-EADC-4C4D-82A6-573F2790C15B}"/>
          </ac:spMkLst>
        </pc:spChg>
        <pc:spChg chg="del">
          <ac:chgData name="Chhabra, Aniket" userId="598e0514-bef3-4e71-b6aa-f2edd6441cff" providerId="ADAL" clId="{D0608F18-3840-4CA3-9A99-D984B41683E5}" dt="2020-12-25T03:06:29.966" v="1969" actId="478"/>
          <ac:spMkLst>
            <pc:docMk/>
            <pc:sldMk cId="441586831" sldId="271"/>
            <ac:spMk id="10" creationId="{EDBF997A-09A2-4812-8A04-383C9116681C}"/>
          </ac:spMkLst>
        </pc:spChg>
        <pc:spChg chg="del">
          <ac:chgData name="Chhabra, Aniket" userId="598e0514-bef3-4e71-b6aa-f2edd6441cff" providerId="ADAL" clId="{D0608F18-3840-4CA3-9A99-D984B41683E5}" dt="2020-12-25T03:06:29.966" v="1969" actId="478"/>
          <ac:spMkLst>
            <pc:docMk/>
            <pc:sldMk cId="441586831" sldId="271"/>
            <ac:spMk id="12" creationId="{6A13FC59-7C55-46E3-9556-FB2F8637DDD4}"/>
          </ac:spMkLst>
        </pc:spChg>
        <pc:spChg chg="del">
          <ac:chgData name="Chhabra, Aniket" userId="598e0514-bef3-4e71-b6aa-f2edd6441cff" providerId="ADAL" clId="{D0608F18-3840-4CA3-9A99-D984B41683E5}" dt="2020-12-25T03:06:29.966" v="1969" actId="478"/>
          <ac:spMkLst>
            <pc:docMk/>
            <pc:sldMk cId="441586831" sldId="271"/>
            <ac:spMk id="14" creationId="{928E37E4-147C-4FC9-91F1-F40F5998149B}"/>
          </ac:spMkLst>
        </pc:spChg>
        <pc:spChg chg="del">
          <ac:chgData name="Chhabra, Aniket" userId="598e0514-bef3-4e71-b6aa-f2edd6441cff" providerId="ADAL" clId="{D0608F18-3840-4CA3-9A99-D984B41683E5}" dt="2020-12-25T03:06:29.966" v="1969" actId="478"/>
          <ac:spMkLst>
            <pc:docMk/>
            <pc:sldMk cId="441586831" sldId="271"/>
            <ac:spMk id="16" creationId="{4B46021A-DD8B-4E19-AC5E-97DDEC550F82}"/>
          </ac:spMkLst>
        </pc:spChg>
        <pc:spChg chg="add mod">
          <ac:chgData name="Chhabra, Aniket" userId="598e0514-bef3-4e71-b6aa-f2edd6441cff" providerId="ADAL" clId="{D0608F18-3840-4CA3-9A99-D984B41683E5}" dt="2020-12-25T03:19:36.482" v="2258" actId="1036"/>
          <ac:spMkLst>
            <pc:docMk/>
            <pc:sldMk cId="441586831" sldId="271"/>
            <ac:spMk id="18" creationId="{2E0FBA43-40A3-4A53-B2B3-50025B81FD25}"/>
          </ac:spMkLst>
        </pc:spChg>
        <pc:spChg chg="add mod">
          <ac:chgData name="Chhabra, Aniket" userId="598e0514-bef3-4e71-b6aa-f2edd6441cff" providerId="ADAL" clId="{D0608F18-3840-4CA3-9A99-D984B41683E5}" dt="2020-12-25T03:12:47.860" v="2045" actId="1036"/>
          <ac:spMkLst>
            <pc:docMk/>
            <pc:sldMk cId="441586831" sldId="271"/>
            <ac:spMk id="19" creationId="{70CE6FD3-23EB-464E-9FFD-8E83CE3C73B1}"/>
          </ac:spMkLst>
        </pc:spChg>
        <pc:spChg chg="add mod">
          <ac:chgData name="Chhabra, Aniket" userId="598e0514-bef3-4e71-b6aa-f2edd6441cff" providerId="ADAL" clId="{D0608F18-3840-4CA3-9A99-D984B41683E5}" dt="2020-12-25T03:12:47.860" v="2045" actId="1036"/>
          <ac:spMkLst>
            <pc:docMk/>
            <pc:sldMk cId="441586831" sldId="271"/>
            <ac:spMk id="21" creationId="{CABD5280-D5CB-4757-BE66-C5ECBD6E263C}"/>
          </ac:spMkLst>
        </pc:spChg>
        <pc:spChg chg="del mod">
          <ac:chgData name="Chhabra, Aniket" userId="598e0514-bef3-4e71-b6aa-f2edd6441cff" providerId="ADAL" clId="{D0608F18-3840-4CA3-9A99-D984B41683E5}" dt="2020-12-25T03:07:33.404" v="1999" actId="478"/>
          <ac:spMkLst>
            <pc:docMk/>
            <pc:sldMk cId="441586831" sldId="271"/>
            <ac:spMk id="25" creationId="{44D6ADFF-9AC4-4A0A-9052-5C5B07AFEDD5}"/>
          </ac:spMkLst>
        </pc:spChg>
        <pc:spChg chg="del">
          <ac:chgData name="Chhabra, Aniket" userId="598e0514-bef3-4e71-b6aa-f2edd6441cff" providerId="ADAL" clId="{D0608F18-3840-4CA3-9A99-D984B41683E5}" dt="2020-12-25T03:07:18.726" v="1991" actId="478"/>
          <ac:spMkLst>
            <pc:docMk/>
            <pc:sldMk cId="441586831" sldId="271"/>
            <ac:spMk id="26" creationId="{1D541AD4-6498-4B6C-9070-D2E5D295BA3B}"/>
          </ac:spMkLst>
        </pc:spChg>
        <pc:spChg chg="del">
          <ac:chgData name="Chhabra, Aniket" userId="598e0514-bef3-4e71-b6aa-f2edd6441cff" providerId="ADAL" clId="{D0608F18-3840-4CA3-9A99-D984B41683E5}" dt="2020-12-25T03:07:20.829" v="1992" actId="478"/>
          <ac:spMkLst>
            <pc:docMk/>
            <pc:sldMk cId="441586831" sldId="271"/>
            <ac:spMk id="27" creationId="{A28DE615-0E6E-45F0-AE3E-232355E939E9}"/>
          </ac:spMkLst>
        </pc:spChg>
        <pc:spChg chg="del">
          <ac:chgData name="Chhabra, Aniket" userId="598e0514-bef3-4e71-b6aa-f2edd6441cff" providerId="ADAL" clId="{D0608F18-3840-4CA3-9A99-D984B41683E5}" dt="2020-12-25T03:07:22.786" v="1993" actId="478"/>
          <ac:spMkLst>
            <pc:docMk/>
            <pc:sldMk cId="441586831" sldId="271"/>
            <ac:spMk id="28" creationId="{8FC98B8F-7117-40CD-BF14-AE91D659250E}"/>
          </ac:spMkLst>
        </pc:spChg>
        <pc:spChg chg="del">
          <ac:chgData name="Chhabra, Aniket" userId="598e0514-bef3-4e71-b6aa-f2edd6441cff" providerId="ADAL" clId="{D0608F18-3840-4CA3-9A99-D984B41683E5}" dt="2020-12-25T03:07:20.829" v="1992" actId="478"/>
          <ac:spMkLst>
            <pc:docMk/>
            <pc:sldMk cId="441586831" sldId="271"/>
            <ac:spMk id="29" creationId="{B82571C2-711A-4CCB-B311-7CAAC80A8F66}"/>
          </ac:spMkLst>
        </pc:spChg>
        <pc:spChg chg="del">
          <ac:chgData name="Chhabra, Aniket" userId="598e0514-bef3-4e71-b6aa-f2edd6441cff" providerId="ADAL" clId="{D0608F18-3840-4CA3-9A99-D984B41683E5}" dt="2020-12-25T03:07:20.829" v="1992" actId="478"/>
          <ac:spMkLst>
            <pc:docMk/>
            <pc:sldMk cId="441586831" sldId="271"/>
            <ac:spMk id="30" creationId="{1143A33B-3562-4045-9EE8-8CCBDCC376F2}"/>
          </ac:spMkLst>
        </pc:spChg>
        <pc:spChg chg="del">
          <ac:chgData name="Chhabra, Aniket" userId="598e0514-bef3-4e71-b6aa-f2edd6441cff" providerId="ADAL" clId="{D0608F18-3840-4CA3-9A99-D984B41683E5}" dt="2020-12-25T03:07:20.829" v="1992" actId="478"/>
          <ac:spMkLst>
            <pc:docMk/>
            <pc:sldMk cId="441586831" sldId="271"/>
            <ac:spMk id="31" creationId="{B04E37B1-B797-4BED-97C2-5470D5BE65BC}"/>
          </ac:spMkLst>
        </pc:spChg>
        <pc:picChg chg="add mod">
          <ac:chgData name="Chhabra, Aniket" userId="598e0514-bef3-4e71-b6aa-f2edd6441cff" providerId="ADAL" clId="{D0608F18-3840-4CA3-9A99-D984B41683E5}" dt="2020-12-25T03:07:38.431" v="2013" actId="1036"/>
          <ac:picMkLst>
            <pc:docMk/>
            <pc:sldMk cId="441586831" sldId="271"/>
            <ac:picMk id="17" creationId="{8799915D-7C46-4111-8E00-AA2CB94FDACB}"/>
          </ac:picMkLst>
        </pc:picChg>
      </pc:sldChg>
      <pc:sldChg chg="addSp delSp modSp add mod">
        <pc:chgData name="Chhabra, Aniket" userId="598e0514-bef3-4e71-b6aa-f2edd6441cff" providerId="ADAL" clId="{D0608F18-3840-4CA3-9A99-D984B41683E5}" dt="2020-12-25T03:16:21.445" v="2123" actId="1035"/>
        <pc:sldMkLst>
          <pc:docMk/>
          <pc:sldMk cId="3946291041" sldId="272"/>
        </pc:sldMkLst>
        <pc:spChg chg="del">
          <ac:chgData name="Chhabra, Aniket" userId="598e0514-bef3-4e71-b6aa-f2edd6441cff" providerId="ADAL" clId="{D0608F18-3840-4CA3-9A99-D984B41683E5}" dt="2020-12-25T03:13:15.523" v="2049" actId="478"/>
          <ac:spMkLst>
            <pc:docMk/>
            <pc:sldMk cId="3946291041" sldId="272"/>
            <ac:spMk id="9" creationId="{46CCCB06-EADC-4C4D-82A6-573F2790C15B}"/>
          </ac:spMkLst>
        </pc:spChg>
        <pc:spChg chg="add mod">
          <ac:chgData name="Chhabra, Aniket" userId="598e0514-bef3-4e71-b6aa-f2edd6441cff" providerId="ADAL" clId="{D0608F18-3840-4CA3-9A99-D984B41683E5}" dt="2020-12-25T03:14:20.772" v="2088" actId="1076"/>
          <ac:spMkLst>
            <pc:docMk/>
            <pc:sldMk cId="3946291041" sldId="272"/>
            <ac:spMk id="10" creationId="{38B8A0EC-AF38-4B4D-B313-07242161151C}"/>
          </ac:spMkLst>
        </pc:spChg>
        <pc:spChg chg="add mod">
          <ac:chgData name="Chhabra, Aniket" userId="598e0514-bef3-4e71-b6aa-f2edd6441cff" providerId="ADAL" clId="{D0608F18-3840-4CA3-9A99-D984B41683E5}" dt="2020-12-25T03:15:51.200" v="2105"/>
          <ac:spMkLst>
            <pc:docMk/>
            <pc:sldMk cId="3946291041" sldId="272"/>
            <ac:spMk id="12" creationId="{AA6F6C78-95D5-4803-A575-ADCEE5710482}"/>
          </ac:spMkLst>
        </pc:spChg>
        <pc:spChg chg="add mod">
          <ac:chgData name="Chhabra, Aniket" userId="598e0514-bef3-4e71-b6aa-f2edd6441cff" providerId="ADAL" clId="{D0608F18-3840-4CA3-9A99-D984B41683E5}" dt="2020-12-25T03:16:21.445" v="2123" actId="1035"/>
          <ac:spMkLst>
            <pc:docMk/>
            <pc:sldMk cId="3946291041" sldId="272"/>
            <ac:spMk id="13" creationId="{EC6B817D-8229-463D-8ED3-34C9E9A3051F}"/>
          </ac:spMkLst>
        </pc:spChg>
        <pc:spChg chg="del">
          <ac:chgData name="Chhabra, Aniket" userId="598e0514-bef3-4e71-b6aa-f2edd6441cff" providerId="ADAL" clId="{D0608F18-3840-4CA3-9A99-D984B41683E5}" dt="2020-12-25T03:13:24.245" v="2053" actId="478"/>
          <ac:spMkLst>
            <pc:docMk/>
            <pc:sldMk cId="3946291041" sldId="272"/>
            <ac:spMk id="18" creationId="{2E0FBA43-40A3-4A53-B2B3-50025B81FD25}"/>
          </ac:spMkLst>
        </pc:spChg>
        <pc:spChg chg="mod">
          <ac:chgData name="Chhabra, Aniket" userId="598e0514-bef3-4e71-b6aa-f2edd6441cff" providerId="ADAL" clId="{D0608F18-3840-4CA3-9A99-D984B41683E5}" dt="2020-12-25T03:13:26.710" v="2054" actId="1076"/>
          <ac:spMkLst>
            <pc:docMk/>
            <pc:sldMk cId="3946291041" sldId="272"/>
            <ac:spMk id="19" creationId="{70CE6FD3-23EB-464E-9FFD-8E83CE3C73B1}"/>
          </ac:spMkLst>
        </pc:spChg>
        <pc:spChg chg="del mod">
          <ac:chgData name="Chhabra, Aniket" userId="598e0514-bef3-4e71-b6aa-f2edd6441cff" providerId="ADAL" clId="{D0608F18-3840-4CA3-9A99-D984B41683E5}" dt="2020-12-25T03:13:13.950" v="2048" actId="478"/>
          <ac:spMkLst>
            <pc:docMk/>
            <pc:sldMk cId="3946291041" sldId="272"/>
            <ac:spMk id="21" creationId="{CABD5280-D5CB-4757-BE66-C5ECBD6E263C}"/>
          </ac:spMkLst>
        </pc:spChg>
        <pc:picChg chg="add mod">
          <ac:chgData name="Chhabra, Aniket" userId="598e0514-bef3-4e71-b6aa-f2edd6441cff" providerId="ADAL" clId="{D0608F18-3840-4CA3-9A99-D984B41683E5}" dt="2020-12-25T03:15:37.530" v="2100" actId="1076"/>
          <ac:picMkLst>
            <pc:docMk/>
            <pc:sldMk cId="3946291041" sldId="272"/>
            <ac:picMk id="8" creationId="{55DF5014-E3EA-432F-9E45-BB589B614F9C}"/>
          </ac:picMkLst>
        </pc:picChg>
        <pc:picChg chg="add mod">
          <ac:chgData name="Chhabra, Aniket" userId="598e0514-bef3-4e71-b6aa-f2edd6441cff" providerId="ADAL" clId="{D0608F18-3840-4CA3-9A99-D984B41683E5}" dt="2020-12-25T03:15:34.136" v="2098" actId="14100"/>
          <ac:picMkLst>
            <pc:docMk/>
            <pc:sldMk cId="3946291041" sldId="272"/>
            <ac:picMk id="11" creationId="{21E3AF37-23A0-4687-8518-53B3B4020FE9}"/>
          </ac:picMkLst>
        </pc:picChg>
        <pc:picChg chg="del">
          <ac:chgData name="Chhabra, Aniket" userId="598e0514-bef3-4e71-b6aa-f2edd6441cff" providerId="ADAL" clId="{D0608F18-3840-4CA3-9A99-D984B41683E5}" dt="2020-12-25T03:13:21.838" v="2052" actId="478"/>
          <ac:picMkLst>
            <pc:docMk/>
            <pc:sldMk cId="3946291041" sldId="272"/>
            <ac:picMk id="17" creationId="{8799915D-7C46-4111-8E00-AA2CB94FDACB}"/>
          </ac:picMkLst>
        </pc:picChg>
      </pc:sldChg>
      <pc:sldChg chg="addSp delSp modSp add mod">
        <pc:chgData name="Chhabra, Aniket" userId="598e0514-bef3-4e71-b6aa-f2edd6441cff" providerId="ADAL" clId="{D0608F18-3840-4CA3-9A99-D984B41683E5}" dt="2020-12-25T03:32:23.224" v="2502" actId="14100"/>
        <pc:sldMkLst>
          <pc:docMk/>
          <pc:sldMk cId="2721962650" sldId="273"/>
        </pc:sldMkLst>
        <pc:spChg chg="del">
          <ac:chgData name="Chhabra, Aniket" userId="598e0514-bef3-4e71-b6aa-f2edd6441cff" providerId="ADAL" clId="{D0608F18-3840-4CA3-9A99-D984B41683E5}" dt="2020-12-25T03:16:42.054" v="2129" actId="478"/>
          <ac:spMkLst>
            <pc:docMk/>
            <pc:sldMk cId="2721962650" sldId="273"/>
            <ac:spMk id="10" creationId="{38B8A0EC-AF38-4B4D-B313-07242161151C}"/>
          </ac:spMkLst>
        </pc:spChg>
        <pc:spChg chg="add del mod">
          <ac:chgData name="Chhabra, Aniket" userId="598e0514-bef3-4e71-b6aa-f2edd6441cff" providerId="ADAL" clId="{D0608F18-3840-4CA3-9A99-D984B41683E5}" dt="2020-12-25T03:19:08.699" v="2243" actId="403"/>
          <ac:spMkLst>
            <pc:docMk/>
            <pc:sldMk cId="2721962650" sldId="273"/>
            <ac:spMk id="12" creationId="{AA6F6C78-95D5-4803-A575-ADCEE5710482}"/>
          </ac:spMkLst>
        </pc:spChg>
        <pc:spChg chg="add del mod">
          <ac:chgData name="Chhabra, Aniket" userId="598e0514-bef3-4e71-b6aa-f2edd6441cff" providerId="ADAL" clId="{D0608F18-3840-4CA3-9A99-D984B41683E5}" dt="2020-12-25T03:17:11.339" v="2144" actId="1035"/>
          <ac:spMkLst>
            <pc:docMk/>
            <pc:sldMk cId="2721962650" sldId="273"/>
            <ac:spMk id="13" creationId="{EC6B817D-8229-463D-8ED3-34C9E9A3051F}"/>
          </ac:spMkLst>
        </pc:spChg>
        <pc:spChg chg="add mod">
          <ac:chgData name="Chhabra, Aniket" userId="598e0514-bef3-4e71-b6aa-f2edd6441cff" providerId="ADAL" clId="{D0608F18-3840-4CA3-9A99-D984B41683E5}" dt="2020-12-25T03:18:36.288" v="2209" actId="20577"/>
          <ac:spMkLst>
            <pc:docMk/>
            <pc:sldMk cId="2721962650" sldId="273"/>
            <ac:spMk id="14" creationId="{FE1409D4-5E7F-4948-9502-A45E395BF76A}"/>
          </ac:spMkLst>
        </pc:spChg>
        <pc:spChg chg="mod">
          <ac:chgData name="Chhabra, Aniket" userId="598e0514-bef3-4e71-b6aa-f2edd6441cff" providerId="ADAL" clId="{D0608F18-3840-4CA3-9A99-D984B41683E5}" dt="2020-12-25T03:19:06.692" v="2242" actId="403"/>
          <ac:spMkLst>
            <pc:docMk/>
            <pc:sldMk cId="2721962650" sldId="273"/>
            <ac:spMk id="16" creationId="{C5C0985B-F236-46F8-82F2-F621B7AD730D}"/>
          </ac:spMkLst>
        </pc:spChg>
        <pc:spChg chg="mod">
          <ac:chgData name="Chhabra, Aniket" userId="598e0514-bef3-4e71-b6aa-f2edd6441cff" providerId="ADAL" clId="{D0608F18-3840-4CA3-9A99-D984B41683E5}" dt="2020-12-25T03:18:44.862" v="2210"/>
          <ac:spMkLst>
            <pc:docMk/>
            <pc:sldMk cId="2721962650" sldId="273"/>
            <ac:spMk id="17" creationId="{368A36AD-00F4-4883-9D24-97A0C8E12A41}"/>
          </ac:spMkLst>
        </pc:spChg>
        <pc:spChg chg="del">
          <ac:chgData name="Chhabra, Aniket" userId="598e0514-bef3-4e71-b6aa-f2edd6441cff" providerId="ADAL" clId="{D0608F18-3840-4CA3-9A99-D984B41683E5}" dt="2020-12-25T03:16:43.446" v="2130" actId="478"/>
          <ac:spMkLst>
            <pc:docMk/>
            <pc:sldMk cId="2721962650" sldId="273"/>
            <ac:spMk id="19" creationId="{70CE6FD3-23EB-464E-9FFD-8E83CE3C73B1}"/>
          </ac:spMkLst>
        </pc:spChg>
        <pc:spChg chg="mod">
          <ac:chgData name="Chhabra, Aniket" userId="598e0514-bef3-4e71-b6aa-f2edd6441cff" providerId="ADAL" clId="{D0608F18-3840-4CA3-9A99-D984B41683E5}" dt="2020-12-25T03:21:09.062" v="2312" actId="404"/>
          <ac:spMkLst>
            <pc:docMk/>
            <pc:sldMk cId="2721962650" sldId="273"/>
            <ac:spMk id="20" creationId="{8438D2CE-05F2-4FEF-B490-B6587F25C10D}"/>
          </ac:spMkLst>
        </pc:spChg>
        <pc:spChg chg="mod">
          <ac:chgData name="Chhabra, Aniket" userId="598e0514-bef3-4e71-b6aa-f2edd6441cff" providerId="ADAL" clId="{D0608F18-3840-4CA3-9A99-D984B41683E5}" dt="2020-12-25T03:18:44.862" v="2210"/>
          <ac:spMkLst>
            <pc:docMk/>
            <pc:sldMk cId="2721962650" sldId="273"/>
            <ac:spMk id="21" creationId="{9ED287A3-1EAB-4ACD-B0E1-15A83DF2B1AA}"/>
          </ac:spMkLst>
        </pc:spChg>
        <pc:spChg chg="add del">
          <ac:chgData name="Chhabra, Aniket" userId="598e0514-bef3-4e71-b6aa-f2edd6441cff" providerId="ADAL" clId="{D0608F18-3840-4CA3-9A99-D984B41683E5}" dt="2020-12-25T03:19:16.758" v="2245" actId="22"/>
          <ac:spMkLst>
            <pc:docMk/>
            <pc:sldMk cId="2721962650" sldId="273"/>
            <ac:spMk id="22" creationId="{4FB38AEA-C5AD-480D-B7E4-E37F9B0F9FDC}"/>
          </ac:spMkLst>
        </pc:spChg>
        <pc:spChg chg="add mod">
          <ac:chgData name="Chhabra, Aniket" userId="598e0514-bef3-4e71-b6aa-f2edd6441cff" providerId="ADAL" clId="{D0608F18-3840-4CA3-9A99-D984B41683E5}" dt="2020-12-25T03:32:23.224" v="2502" actId="14100"/>
          <ac:spMkLst>
            <pc:docMk/>
            <pc:sldMk cId="2721962650" sldId="273"/>
            <ac:spMk id="23" creationId="{421DE08B-D69B-4162-9DAA-3DF632E92DEE}"/>
          </ac:spMkLst>
        </pc:spChg>
        <pc:spChg chg="add mod">
          <ac:chgData name="Chhabra, Aniket" userId="598e0514-bef3-4e71-b6aa-f2edd6441cff" providerId="ADAL" clId="{D0608F18-3840-4CA3-9A99-D984B41683E5}" dt="2020-12-25T03:20:48.828" v="2294" actId="1076"/>
          <ac:spMkLst>
            <pc:docMk/>
            <pc:sldMk cId="2721962650" sldId="273"/>
            <ac:spMk id="24" creationId="{3E9B7EFC-E74F-49E2-89ED-B50D30C4DF70}"/>
          </ac:spMkLst>
        </pc:spChg>
        <pc:spChg chg="add mod">
          <ac:chgData name="Chhabra, Aniket" userId="598e0514-bef3-4e71-b6aa-f2edd6441cff" providerId="ADAL" clId="{D0608F18-3840-4CA3-9A99-D984B41683E5}" dt="2020-12-25T03:21:51.791" v="2335" actId="1035"/>
          <ac:spMkLst>
            <pc:docMk/>
            <pc:sldMk cId="2721962650" sldId="273"/>
            <ac:spMk id="25" creationId="{029D485C-FA17-492C-9CC8-00AEC4974891}"/>
          </ac:spMkLst>
        </pc:spChg>
        <pc:spChg chg="add mod">
          <ac:chgData name="Chhabra, Aniket" userId="598e0514-bef3-4e71-b6aa-f2edd6441cff" providerId="ADAL" clId="{D0608F18-3840-4CA3-9A99-D984B41683E5}" dt="2020-12-25T03:21:46.829" v="2326" actId="1076"/>
          <ac:spMkLst>
            <pc:docMk/>
            <pc:sldMk cId="2721962650" sldId="273"/>
            <ac:spMk id="26" creationId="{480DAE36-60A0-45FC-9594-8B9599259A8E}"/>
          </ac:spMkLst>
        </pc:spChg>
        <pc:grpChg chg="add mod">
          <ac:chgData name="Chhabra, Aniket" userId="598e0514-bef3-4e71-b6aa-f2edd6441cff" providerId="ADAL" clId="{D0608F18-3840-4CA3-9A99-D984B41683E5}" dt="2020-12-25T03:18:49.944" v="2213" actId="1076"/>
          <ac:grpSpMkLst>
            <pc:docMk/>
            <pc:sldMk cId="2721962650" sldId="273"/>
            <ac:grpSpMk id="15" creationId="{32C0AAE3-B372-4782-BCBD-C3C8A9FEA4A2}"/>
          </ac:grpSpMkLst>
        </pc:grpChg>
        <pc:grpChg chg="add mod">
          <ac:chgData name="Chhabra, Aniket" userId="598e0514-bef3-4e71-b6aa-f2edd6441cff" providerId="ADAL" clId="{D0608F18-3840-4CA3-9A99-D984B41683E5}" dt="2020-12-25T03:20:52.398" v="2295" actId="1076"/>
          <ac:grpSpMkLst>
            <pc:docMk/>
            <pc:sldMk cId="2721962650" sldId="273"/>
            <ac:grpSpMk id="18" creationId="{00FF280D-54CF-440E-80BB-8A9F7C7C56D9}"/>
          </ac:grpSpMkLst>
        </pc:grpChg>
        <pc:picChg chg="del mod">
          <ac:chgData name="Chhabra, Aniket" userId="598e0514-bef3-4e71-b6aa-f2edd6441cff" providerId="ADAL" clId="{D0608F18-3840-4CA3-9A99-D984B41683E5}" dt="2020-12-25T03:16:40.767" v="2128" actId="478"/>
          <ac:picMkLst>
            <pc:docMk/>
            <pc:sldMk cId="2721962650" sldId="273"/>
            <ac:picMk id="8" creationId="{55DF5014-E3EA-432F-9E45-BB589B614F9C}"/>
          </ac:picMkLst>
        </pc:picChg>
        <pc:picChg chg="del">
          <ac:chgData name="Chhabra, Aniket" userId="598e0514-bef3-4e71-b6aa-f2edd6441cff" providerId="ADAL" clId="{D0608F18-3840-4CA3-9A99-D984B41683E5}" dt="2020-12-25T03:16:40.767" v="2128" actId="478"/>
          <ac:picMkLst>
            <pc:docMk/>
            <pc:sldMk cId="2721962650" sldId="273"/>
            <ac:picMk id="11" creationId="{21E3AF37-23A0-4687-8518-53B3B4020FE9}"/>
          </ac:picMkLst>
        </pc:picChg>
        <pc:picChg chg="add mod">
          <ac:chgData name="Chhabra, Aniket" userId="598e0514-bef3-4e71-b6aa-f2edd6441cff" providerId="ADAL" clId="{D0608F18-3840-4CA3-9A99-D984B41683E5}" dt="2020-12-25T03:32:18.840" v="2501" actId="1076"/>
          <ac:picMkLst>
            <pc:docMk/>
            <pc:sldMk cId="2721962650" sldId="273"/>
            <ac:picMk id="27" creationId="{D18818E7-2D90-427A-98AC-4AE5FF6153D8}"/>
          </ac:picMkLst>
        </pc:picChg>
      </pc:sldChg>
      <pc:sldChg chg="addSp delSp modSp add mod">
        <pc:chgData name="Chhabra, Aniket" userId="598e0514-bef3-4e71-b6aa-f2edd6441cff" providerId="ADAL" clId="{D0608F18-3840-4CA3-9A99-D984B41683E5}" dt="2020-12-25T03:31:25.467" v="2498" actId="1035"/>
        <pc:sldMkLst>
          <pc:docMk/>
          <pc:sldMk cId="500321756" sldId="274"/>
        </pc:sldMkLst>
        <pc:spChg chg="del">
          <ac:chgData name="Chhabra, Aniket" userId="598e0514-bef3-4e71-b6aa-f2edd6441cff" providerId="ADAL" clId="{D0608F18-3840-4CA3-9A99-D984B41683E5}" dt="2020-12-25T03:22:26.087" v="2339" actId="478"/>
          <ac:spMkLst>
            <pc:docMk/>
            <pc:sldMk cId="500321756" sldId="274"/>
            <ac:spMk id="12" creationId="{AA6F6C78-95D5-4803-A575-ADCEE5710482}"/>
          </ac:spMkLst>
        </pc:spChg>
        <pc:spChg chg="del">
          <ac:chgData name="Chhabra, Aniket" userId="598e0514-bef3-4e71-b6aa-f2edd6441cff" providerId="ADAL" clId="{D0608F18-3840-4CA3-9A99-D984B41683E5}" dt="2020-12-25T03:22:29.822" v="2340" actId="478"/>
          <ac:spMkLst>
            <pc:docMk/>
            <pc:sldMk cId="500321756" sldId="274"/>
            <ac:spMk id="13" creationId="{EC6B817D-8229-463D-8ED3-34C9E9A3051F}"/>
          </ac:spMkLst>
        </pc:spChg>
        <pc:spChg chg="del">
          <ac:chgData name="Chhabra, Aniket" userId="598e0514-bef3-4e71-b6aa-f2edd6441cff" providerId="ADAL" clId="{D0608F18-3840-4CA3-9A99-D984B41683E5}" dt="2020-12-25T03:22:32.561" v="2341" actId="478"/>
          <ac:spMkLst>
            <pc:docMk/>
            <pc:sldMk cId="500321756" sldId="274"/>
            <ac:spMk id="14" creationId="{FE1409D4-5E7F-4948-9502-A45E395BF76A}"/>
          </ac:spMkLst>
        </pc:spChg>
        <pc:spChg chg="mod">
          <ac:chgData name="Chhabra, Aniket" userId="598e0514-bef3-4e71-b6aa-f2edd6441cff" providerId="ADAL" clId="{D0608F18-3840-4CA3-9A99-D984B41683E5}" dt="2020-12-25T03:22:45.962" v="2353" actId="20577"/>
          <ac:spMkLst>
            <pc:docMk/>
            <pc:sldMk cId="500321756" sldId="274"/>
            <ac:spMk id="16" creationId="{C5C0985B-F236-46F8-82F2-F621B7AD730D}"/>
          </ac:spMkLst>
        </pc:spChg>
        <pc:spChg chg="mod">
          <ac:chgData name="Chhabra, Aniket" userId="598e0514-bef3-4e71-b6aa-f2edd6441cff" providerId="ADAL" clId="{D0608F18-3840-4CA3-9A99-D984B41683E5}" dt="2020-12-25T03:22:41.919" v="2346" actId="20577"/>
          <ac:spMkLst>
            <pc:docMk/>
            <pc:sldMk cId="500321756" sldId="274"/>
            <ac:spMk id="17" creationId="{368A36AD-00F4-4883-9D24-97A0C8E12A41}"/>
          </ac:spMkLst>
        </pc:spChg>
        <pc:spChg chg="add mod">
          <ac:chgData name="Chhabra, Aniket" userId="598e0514-bef3-4e71-b6aa-f2edd6441cff" providerId="ADAL" clId="{D0608F18-3840-4CA3-9A99-D984B41683E5}" dt="2020-12-25T03:23:22.493" v="2370" actId="1076"/>
          <ac:spMkLst>
            <pc:docMk/>
            <pc:sldMk cId="500321756" sldId="274"/>
            <ac:spMk id="19" creationId="{AD567D68-6CA5-40AF-9A25-53C291E978F2}"/>
          </ac:spMkLst>
        </pc:spChg>
        <pc:spChg chg="mod">
          <ac:chgData name="Chhabra, Aniket" userId="598e0514-bef3-4e71-b6aa-f2edd6441cff" providerId="ADAL" clId="{D0608F18-3840-4CA3-9A99-D984B41683E5}" dt="2020-12-25T03:24:01.847" v="2399" actId="20577"/>
          <ac:spMkLst>
            <pc:docMk/>
            <pc:sldMk cId="500321756" sldId="274"/>
            <ac:spMk id="20" creationId="{8438D2CE-05F2-4FEF-B490-B6587F25C10D}"/>
          </ac:spMkLst>
        </pc:spChg>
        <pc:spChg chg="mod">
          <ac:chgData name="Chhabra, Aniket" userId="598e0514-bef3-4e71-b6aa-f2edd6441cff" providerId="ADAL" clId="{D0608F18-3840-4CA3-9A99-D984B41683E5}" dt="2020-12-25T03:23:36.741" v="2373" actId="20577"/>
          <ac:spMkLst>
            <pc:docMk/>
            <pc:sldMk cId="500321756" sldId="274"/>
            <ac:spMk id="21" creationId="{9ED287A3-1EAB-4ACD-B0E1-15A83DF2B1AA}"/>
          </ac:spMkLst>
        </pc:spChg>
        <pc:spChg chg="add mod">
          <ac:chgData name="Chhabra, Aniket" userId="598e0514-bef3-4e71-b6aa-f2edd6441cff" providerId="ADAL" clId="{D0608F18-3840-4CA3-9A99-D984B41683E5}" dt="2020-12-25T03:24:23.710" v="2403" actId="1076"/>
          <ac:spMkLst>
            <pc:docMk/>
            <pc:sldMk cId="500321756" sldId="274"/>
            <ac:spMk id="22" creationId="{00171551-C4C9-45E3-9F83-67CA96B7698D}"/>
          </ac:spMkLst>
        </pc:spChg>
        <pc:spChg chg="mod">
          <ac:chgData name="Chhabra, Aniket" userId="598e0514-bef3-4e71-b6aa-f2edd6441cff" providerId="ADAL" clId="{D0608F18-3840-4CA3-9A99-D984B41683E5}" dt="2020-12-25T03:23:08.485" v="2364" actId="1035"/>
          <ac:spMkLst>
            <pc:docMk/>
            <pc:sldMk cId="500321756" sldId="274"/>
            <ac:spMk id="23" creationId="{421DE08B-D69B-4162-9DAA-3DF632E92DEE}"/>
          </ac:spMkLst>
        </pc:spChg>
        <pc:spChg chg="del mod">
          <ac:chgData name="Chhabra, Aniket" userId="598e0514-bef3-4e71-b6aa-f2edd6441cff" providerId="ADAL" clId="{D0608F18-3840-4CA3-9A99-D984B41683E5}" dt="2020-12-25T03:23:14.466" v="2365" actId="478"/>
          <ac:spMkLst>
            <pc:docMk/>
            <pc:sldMk cId="500321756" sldId="274"/>
            <ac:spMk id="24" creationId="{3E9B7EFC-E74F-49E2-89ED-B50D30C4DF70}"/>
          </ac:spMkLst>
        </pc:spChg>
        <pc:spChg chg="mod">
          <ac:chgData name="Chhabra, Aniket" userId="598e0514-bef3-4e71-b6aa-f2edd6441cff" providerId="ADAL" clId="{D0608F18-3840-4CA3-9A99-D984B41683E5}" dt="2020-12-25T03:24:35.896" v="2417" actId="20577"/>
          <ac:spMkLst>
            <pc:docMk/>
            <pc:sldMk cId="500321756" sldId="274"/>
            <ac:spMk id="25" creationId="{029D485C-FA17-492C-9CC8-00AEC4974891}"/>
          </ac:spMkLst>
        </pc:spChg>
        <pc:spChg chg="del mod">
          <ac:chgData name="Chhabra, Aniket" userId="598e0514-bef3-4e71-b6aa-f2edd6441cff" providerId="ADAL" clId="{D0608F18-3840-4CA3-9A99-D984B41683E5}" dt="2020-12-25T03:23:48.718" v="2378" actId="478"/>
          <ac:spMkLst>
            <pc:docMk/>
            <pc:sldMk cId="500321756" sldId="274"/>
            <ac:spMk id="26" creationId="{480DAE36-60A0-45FC-9594-8B9599259A8E}"/>
          </ac:spMkLst>
        </pc:spChg>
        <pc:spChg chg="mod">
          <ac:chgData name="Chhabra, Aniket" userId="598e0514-bef3-4e71-b6aa-f2edd6441cff" providerId="ADAL" clId="{D0608F18-3840-4CA3-9A99-D984B41683E5}" dt="2020-12-25T03:28:59.667" v="2475" actId="20577"/>
          <ac:spMkLst>
            <pc:docMk/>
            <pc:sldMk cId="500321756" sldId="274"/>
            <ac:spMk id="28" creationId="{00CC090F-BCE4-4C5A-BD88-EDF3D63E68E0}"/>
          </ac:spMkLst>
        </pc:spChg>
        <pc:spChg chg="mod">
          <ac:chgData name="Chhabra, Aniket" userId="598e0514-bef3-4e71-b6aa-f2edd6441cff" providerId="ADAL" clId="{D0608F18-3840-4CA3-9A99-D984B41683E5}" dt="2020-12-25T03:31:25.467" v="2498" actId="1035"/>
          <ac:spMkLst>
            <pc:docMk/>
            <pc:sldMk cId="500321756" sldId="274"/>
            <ac:spMk id="29" creationId="{AB01C17A-3131-4087-9272-784CB03B6282}"/>
          </ac:spMkLst>
        </pc:spChg>
        <pc:spChg chg="add mod">
          <ac:chgData name="Chhabra, Aniket" userId="598e0514-bef3-4e71-b6aa-f2edd6441cff" providerId="ADAL" clId="{D0608F18-3840-4CA3-9A99-D984B41683E5}" dt="2020-12-25T03:31:01.946" v="2489" actId="404"/>
          <ac:spMkLst>
            <pc:docMk/>
            <pc:sldMk cId="500321756" sldId="274"/>
            <ac:spMk id="30" creationId="{4308456F-568F-4932-9D7F-D71B9B9528D1}"/>
          </ac:spMkLst>
        </pc:spChg>
        <pc:grpChg chg="mod">
          <ac:chgData name="Chhabra, Aniket" userId="598e0514-bef3-4e71-b6aa-f2edd6441cff" providerId="ADAL" clId="{D0608F18-3840-4CA3-9A99-D984B41683E5}" dt="2020-12-25T03:22:39.009" v="2342" actId="1076"/>
          <ac:grpSpMkLst>
            <pc:docMk/>
            <pc:sldMk cId="500321756" sldId="274"/>
            <ac:grpSpMk id="15" creationId="{32C0AAE3-B372-4782-BCBD-C3C8A9FEA4A2}"/>
          </ac:grpSpMkLst>
        </pc:grpChg>
        <pc:grpChg chg="mod">
          <ac:chgData name="Chhabra, Aniket" userId="598e0514-bef3-4e71-b6aa-f2edd6441cff" providerId="ADAL" clId="{D0608F18-3840-4CA3-9A99-D984B41683E5}" dt="2020-12-25T03:23:34.224" v="2371" actId="1076"/>
          <ac:grpSpMkLst>
            <pc:docMk/>
            <pc:sldMk cId="500321756" sldId="274"/>
            <ac:grpSpMk id="18" creationId="{00FF280D-54CF-440E-80BB-8A9F7C7C56D9}"/>
          </ac:grpSpMkLst>
        </pc:grpChg>
        <pc:grpChg chg="add mod">
          <ac:chgData name="Chhabra, Aniket" userId="598e0514-bef3-4e71-b6aa-f2edd6441cff" providerId="ADAL" clId="{D0608F18-3840-4CA3-9A99-D984B41683E5}" dt="2020-12-25T03:24:56.384" v="2419" actId="1076"/>
          <ac:grpSpMkLst>
            <pc:docMk/>
            <pc:sldMk cId="500321756" sldId="274"/>
            <ac:grpSpMk id="27" creationId="{0CF6BED4-30CF-4B3D-9A21-0CF7BFB0D203}"/>
          </ac:grpSpMkLst>
        </pc:grpChg>
        <pc:picChg chg="add mod">
          <ac:chgData name="Chhabra, Aniket" userId="598e0514-bef3-4e71-b6aa-f2edd6441cff" providerId="ADAL" clId="{D0608F18-3840-4CA3-9A99-D984B41683E5}" dt="2020-12-25T03:31:20.231" v="2491" actId="1076"/>
          <ac:picMkLst>
            <pc:docMk/>
            <pc:sldMk cId="500321756" sldId="274"/>
            <ac:picMk id="4" creationId="{45838E79-1755-4BC8-8ACF-88D4F6792CFE}"/>
          </ac:picMkLst>
        </pc:picChg>
      </pc:sldChg>
      <pc:sldChg chg="new del">
        <pc:chgData name="Chhabra, Aniket" userId="598e0514-bef3-4e71-b6aa-f2edd6441cff" providerId="ADAL" clId="{D0608F18-3840-4CA3-9A99-D984B41683E5}" dt="2020-12-25T03:22:17.250" v="2337" actId="680"/>
        <pc:sldMkLst>
          <pc:docMk/>
          <pc:sldMk cId="1389533653" sldId="274"/>
        </pc:sldMkLst>
      </pc:sldChg>
      <pc:sldChg chg="addSp delSp modSp add mod">
        <pc:chgData name="Chhabra, Aniket" userId="598e0514-bef3-4e71-b6aa-f2edd6441cff" providerId="ADAL" clId="{D0608F18-3840-4CA3-9A99-D984B41683E5}" dt="2020-12-25T03:42:13.059" v="2599" actId="113"/>
        <pc:sldMkLst>
          <pc:docMk/>
          <pc:sldMk cId="4003175818" sldId="275"/>
        </pc:sldMkLst>
        <pc:spChg chg="mod">
          <ac:chgData name="Chhabra, Aniket" userId="598e0514-bef3-4e71-b6aa-f2edd6441cff" providerId="ADAL" clId="{D0608F18-3840-4CA3-9A99-D984B41683E5}" dt="2020-12-25T03:32:57.127" v="2533" actId="20577"/>
          <ac:spMkLst>
            <pc:docMk/>
            <pc:sldMk cId="4003175818" sldId="275"/>
            <ac:spMk id="2" creationId="{8930873A-47BB-4799-A633-7CD6F940B805}"/>
          </ac:spMkLst>
        </pc:spChg>
        <pc:spChg chg="del">
          <ac:chgData name="Chhabra, Aniket" userId="598e0514-bef3-4e71-b6aa-f2edd6441cff" providerId="ADAL" clId="{D0608F18-3840-4CA3-9A99-D984B41683E5}" dt="2020-12-25T03:39:42.616" v="2536" actId="478"/>
          <ac:spMkLst>
            <pc:docMk/>
            <pc:sldMk cId="4003175818" sldId="275"/>
            <ac:spMk id="10" creationId="{38B8A0EC-AF38-4B4D-B313-07242161151C}"/>
          </ac:spMkLst>
        </pc:spChg>
        <pc:spChg chg="del">
          <ac:chgData name="Chhabra, Aniket" userId="598e0514-bef3-4e71-b6aa-f2edd6441cff" providerId="ADAL" clId="{D0608F18-3840-4CA3-9A99-D984B41683E5}" dt="2020-12-25T03:39:43.920" v="2537" actId="478"/>
          <ac:spMkLst>
            <pc:docMk/>
            <pc:sldMk cId="4003175818" sldId="275"/>
            <ac:spMk id="12" creationId="{AA6F6C78-95D5-4803-A575-ADCEE5710482}"/>
          </ac:spMkLst>
        </pc:spChg>
        <pc:spChg chg="del">
          <ac:chgData name="Chhabra, Aniket" userId="598e0514-bef3-4e71-b6aa-f2edd6441cff" providerId="ADAL" clId="{D0608F18-3840-4CA3-9A99-D984B41683E5}" dt="2020-12-25T03:39:45.183" v="2538" actId="478"/>
          <ac:spMkLst>
            <pc:docMk/>
            <pc:sldMk cId="4003175818" sldId="275"/>
            <ac:spMk id="13" creationId="{EC6B817D-8229-463D-8ED3-34C9E9A3051F}"/>
          </ac:spMkLst>
        </pc:spChg>
        <pc:spChg chg="add mod">
          <ac:chgData name="Chhabra, Aniket" userId="598e0514-bef3-4e71-b6aa-f2edd6441cff" providerId="ADAL" clId="{D0608F18-3840-4CA3-9A99-D984B41683E5}" dt="2020-12-25T03:42:13.059" v="2599" actId="113"/>
          <ac:spMkLst>
            <pc:docMk/>
            <pc:sldMk cId="4003175818" sldId="275"/>
            <ac:spMk id="14" creationId="{C266DB6F-3443-4825-B5D6-25910C210BFE}"/>
          </ac:spMkLst>
        </pc:spChg>
        <pc:spChg chg="add del mod">
          <ac:chgData name="Chhabra, Aniket" userId="598e0514-bef3-4e71-b6aa-f2edd6441cff" providerId="ADAL" clId="{D0608F18-3840-4CA3-9A99-D984B41683E5}" dt="2020-12-25T03:41:34.329" v="2591"/>
          <ac:spMkLst>
            <pc:docMk/>
            <pc:sldMk cId="4003175818" sldId="275"/>
            <ac:spMk id="15" creationId="{F6681347-F4FC-4421-B73B-0D11EFA4C0B0}"/>
          </ac:spMkLst>
        </pc:spChg>
        <pc:spChg chg="add del mod">
          <ac:chgData name="Chhabra, Aniket" userId="598e0514-bef3-4e71-b6aa-f2edd6441cff" providerId="ADAL" clId="{D0608F18-3840-4CA3-9A99-D984B41683E5}" dt="2020-12-25T03:41:34.329" v="2591"/>
          <ac:spMkLst>
            <pc:docMk/>
            <pc:sldMk cId="4003175818" sldId="275"/>
            <ac:spMk id="16" creationId="{B495ECC6-44A6-4821-AD2A-A9C67ED3F456}"/>
          </ac:spMkLst>
        </pc:spChg>
        <pc:spChg chg="add del mod">
          <ac:chgData name="Chhabra, Aniket" userId="598e0514-bef3-4e71-b6aa-f2edd6441cff" providerId="ADAL" clId="{D0608F18-3840-4CA3-9A99-D984B41683E5}" dt="2020-12-25T03:41:34.329" v="2591"/>
          <ac:spMkLst>
            <pc:docMk/>
            <pc:sldMk cId="4003175818" sldId="275"/>
            <ac:spMk id="17" creationId="{5C5BB398-A64E-4DE8-BC85-FB34F35B7BAE}"/>
          </ac:spMkLst>
        </pc:spChg>
        <pc:spChg chg="add del mod">
          <ac:chgData name="Chhabra, Aniket" userId="598e0514-bef3-4e71-b6aa-f2edd6441cff" providerId="ADAL" clId="{D0608F18-3840-4CA3-9A99-D984B41683E5}" dt="2020-12-25T03:41:34.329" v="2591"/>
          <ac:spMkLst>
            <pc:docMk/>
            <pc:sldMk cId="4003175818" sldId="275"/>
            <ac:spMk id="18" creationId="{3F59E158-E692-497E-93BD-C5F2334DC54E}"/>
          </ac:spMkLst>
        </pc:spChg>
        <pc:spChg chg="del">
          <ac:chgData name="Chhabra, Aniket" userId="598e0514-bef3-4e71-b6aa-f2edd6441cff" providerId="ADAL" clId="{D0608F18-3840-4CA3-9A99-D984B41683E5}" dt="2020-12-25T03:40:34.040" v="2540" actId="478"/>
          <ac:spMkLst>
            <pc:docMk/>
            <pc:sldMk cId="4003175818" sldId="275"/>
            <ac:spMk id="19" creationId="{70CE6FD3-23EB-464E-9FFD-8E83CE3C73B1}"/>
          </ac:spMkLst>
        </pc:spChg>
        <pc:spChg chg="add del mod">
          <ac:chgData name="Chhabra, Aniket" userId="598e0514-bef3-4e71-b6aa-f2edd6441cff" providerId="ADAL" clId="{D0608F18-3840-4CA3-9A99-D984B41683E5}" dt="2020-12-25T03:41:34.329" v="2591"/>
          <ac:spMkLst>
            <pc:docMk/>
            <pc:sldMk cId="4003175818" sldId="275"/>
            <ac:spMk id="20" creationId="{F7D1432D-7977-4AD5-BA63-FFB2E5439DFF}"/>
          </ac:spMkLst>
        </pc:spChg>
        <pc:spChg chg="add del mod">
          <ac:chgData name="Chhabra, Aniket" userId="598e0514-bef3-4e71-b6aa-f2edd6441cff" providerId="ADAL" clId="{D0608F18-3840-4CA3-9A99-D984B41683E5}" dt="2020-12-25T03:41:34.329" v="2591"/>
          <ac:spMkLst>
            <pc:docMk/>
            <pc:sldMk cId="4003175818" sldId="275"/>
            <ac:spMk id="21" creationId="{DC741776-B4DF-4F7B-AF44-673FBDA65642}"/>
          </ac:spMkLst>
        </pc:spChg>
        <pc:spChg chg="add del mod">
          <ac:chgData name="Chhabra, Aniket" userId="598e0514-bef3-4e71-b6aa-f2edd6441cff" providerId="ADAL" clId="{D0608F18-3840-4CA3-9A99-D984B41683E5}" dt="2020-12-25T03:41:34.329" v="2591"/>
          <ac:spMkLst>
            <pc:docMk/>
            <pc:sldMk cId="4003175818" sldId="275"/>
            <ac:spMk id="22" creationId="{5E482AA2-4072-48B0-8B89-C66372A967A5}"/>
          </ac:spMkLst>
        </pc:spChg>
        <pc:spChg chg="add del mod">
          <ac:chgData name="Chhabra, Aniket" userId="598e0514-bef3-4e71-b6aa-f2edd6441cff" providerId="ADAL" clId="{D0608F18-3840-4CA3-9A99-D984B41683E5}" dt="2020-12-25T03:41:34.329" v="2591"/>
          <ac:spMkLst>
            <pc:docMk/>
            <pc:sldMk cId="4003175818" sldId="275"/>
            <ac:spMk id="23" creationId="{2804889A-D38F-41FE-8C26-38AD6C271C5D}"/>
          </ac:spMkLst>
        </pc:spChg>
        <pc:spChg chg="add del mod">
          <ac:chgData name="Chhabra, Aniket" userId="598e0514-bef3-4e71-b6aa-f2edd6441cff" providerId="ADAL" clId="{D0608F18-3840-4CA3-9A99-D984B41683E5}" dt="2020-12-25T03:41:34.329" v="2591"/>
          <ac:spMkLst>
            <pc:docMk/>
            <pc:sldMk cId="4003175818" sldId="275"/>
            <ac:spMk id="24" creationId="{CB2C37BD-28E5-4101-BA81-9CC0B607C8A2}"/>
          </ac:spMkLst>
        </pc:spChg>
        <pc:spChg chg="add del mod">
          <ac:chgData name="Chhabra, Aniket" userId="598e0514-bef3-4e71-b6aa-f2edd6441cff" providerId="ADAL" clId="{D0608F18-3840-4CA3-9A99-D984B41683E5}" dt="2020-12-25T03:41:34.329" v="2591"/>
          <ac:spMkLst>
            <pc:docMk/>
            <pc:sldMk cId="4003175818" sldId="275"/>
            <ac:spMk id="25" creationId="{7DF393C5-C9F5-43BC-A260-1637EF555997}"/>
          </ac:spMkLst>
        </pc:spChg>
        <pc:spChg chg="add del mod">
          <ac:chgData name="Chhabra, Aniket" userId="598e0514-bef3-4e71-b6aa-f2edd6441cff" providerId="ADAL" clId="{D0608F18-3840-4CA3-9A99-D984B41683E5}" dt="2020-12-25T03:41:34.329" v="2591"/>
          <ac:spMkLst>
            <pc:docMk/>
            <pc:sldMk cId="4003175818" sldId="275"/>
            <ac:spMk id="26" creationId="{327CD55D-99A6-41EB-893A-0444669164CA}"/>
          </ac:spMkLst>
        </pc:spChg>
        <pc:spChg chg="add del mod">
          <ac:chgData name="Chhabra, Aniket" userId="598e0514-bef3-4e71-b6aa-f2edd6441cff" providerId="ADAL" clId="{D0608F18-3840-4CA3-9A99-D984B41683E5}" dt="2020-12-25T03:41:34.329" v="2591"/>
          <ac:spMkLst>
            <pc:docMk/>
            <pc:sldMk cId="4003175818" sldId="275"/>
            <ac:spMk id="27" creationId="{4E3577C0-1040-461B-A795-4A25D5E7294D}"/>
          </ac:spMkLst>
        </pc:spChg>
        <pc:spChg chg="add del mod">
          <ac:chgData name="Chhabra, Aniket" userId="598e0514-bef3-4e71-b6aa-f2edd6441cff" providerId="ADAL" clId="{D0608F18-3840-4CA3-9A99-D984B41683E5}" dt="2020-12-25T03:41:34.329" v="2591"/>
          <ac:spMkLst>
            <pc:docMk/>
            <pc:sldMk cId="4003175818" sldId="275"/>
            <ac:spMk id="28" creationId="{84540CE4-0883-4679-9AD7-587BA834D652}"/>
          </ac:spMkLst>
        </pc:spChg>
        <pc:spChg chg="add del mod">
          <ac:chgData name="Chhabra, Aniket" userId="598e0514-bef3-4e71-b6aa-f2edd6441cff" providerId="ADAL" clId="{D0608F18-3840-4CA3-9A99-D984B41683E5}" dt="2020-12-25T03:41:34.329" v="2591"/>
          <ac:spMkLst>
            <pc:docMk/>
            <pc:sldMk cId="4003175818" sldId="275"/>
            <ac:spMk id="29" creationId="{E9C69059-BF6B-49F6-99A5-D008C218D62C}"/>
          </ac:spMkLst>
        </pc:spChg>
        <pc:spChg chg="add del mod">
          <ac:chgData name="Chhabra, Aniket" userId="598e0514-bef3-4e71-b6aa-f2edd6441cff" providerId="ADAL" clId="{D0608F18-3840-4CA3-9A99-D984B41683E5}" dt="2020-12-25T03:41:34.329" v="2591"/>
          <ac:spMkLst>
            <pc:docMk/>
            <pc:sldMk cId="4003175818" sldId="275"/>
            <ac:spMk id="30" creationId="{6ADC8D3A-5A9C-438F-BB49-8100FDBDFCAC}"/>
          </ac:spMkLst>
        </pc:spChg>
        <pc:spChg chg="add del mod">
          <ac:chgData name="Chhabra, Aniket" userId="598e0514-bef3-4e71-b6aa-f2edd6441cff" providerId="ADAL" clId="{D0608F18-3840-4CA3-9A99-D984B41683E5}" dt="2020-12-25T03:41:34.329" v="2591"/>
          <ac:spMkLst>
            <pc:docMk/>
            <pc:sldMk cId="4003175818" sldId="275"/>
            <ac:spMk id="31" creationId="{281EABFB-725C-4D4C-8FE2-96A20E806BBE}"/>
          </ac:spMkLst>
        </pc:spChg>
        <pc:spChg chg="add del mod">
          <ac:chgData name="Chhabra, Aniket" userId="598e0514-bef3-4e71-b6aa-f2edd6441cff" providerId="ADAL" clId="{D0608F18-3840-4CA3-9A99-D984B41683E5}" dt="2020-12-25T03:41:34.329" v="2591"/>
          <ac:spMkLst>
            <pc:docMk/>
            <pc:sldMk cId="4003175818" sldId="275"/>
            <ac:spMk id="32" creationId="{0132D049-2FB3-4802-A149-600924CE0A80}"/>
          </ac:spMkLst>
        </pc:spChg>
        <pc:spChg chg="add del mod">
          <ac:chgData name="Chhabra, Aniket" userId="598e0514-bef3-4e71-b6aa-f2edd6441cff" providerId="ADAL" clId="{D0608F18-3840-4CA3-9A99-D984B41683E5}" dt="2020-12-25T03:41:34.329" v="2591"/>
          <ac:spMkLst>
            <pc:docMk/>
            <pc:sldMk cId="4003175818" sldId="275"/>
            <ac:spMk id="33" creationId="{B2AD3278-AEF1-4745-A1CF-2E94FC76D3C2}"/>
          </ac:spMkLst>
        </pc:spChg>
        <pc:spChg chg="add del mod">
          <ac:chgData name="Chhabra, Aniket" userId="598e0514-bef3-4e71-b6aa-f2edd6441cff" providerId="ADAL" clId="{D0608F18-3840-4CA3-9A99-D984B41683E5}" dt="2020-12-25T03:41:34.329" v="2591"/>
          <ac:spMkLst>
            <pc:docMk/>
            <pc:sldMk cId="4003175818" sldId="275"/>
            <ac:spMk id="34" creationId="{A44CD794-7EA4-440D-8566-49767ECA0897}"/>
          </ac:spMkLst>
        </pc:spChg>
        <pc:spChg chg="add del mod">
          <ac:chgData name="Chhabra, Aniket" userId="598e0514-bef3-4e71-b6aa-f2edd6441cff" providerId="ADAL" clId="{D0608F18-3840-4CA3-9A99-D984B41683E5}" dt="2020-12-25T03:41:34.329" v="2591"/>
          <ac:spMkLst>
            <pc:docMk/>
            <pc:sldMk cId="4003175818" sldId="275"/>
            <ac:spMk id="35" creationId="{F67921FF-446A-44FF-83BE-94756B49110A}"/>
          </ac:spMkLst>
        </pc:spChg>
        <pc:spChg chg="add del mod">
          <ac:chgData name="Chhabra, Aniket" userId="598e0514-bef3-4e71-b6aa-f2edd6441cff" providerId="ADAL" clId="{D0608F18-3840-4CA3-9A99-D984B41683E5}" dt="2020-12-25T03:41:34.329" v="2591"/>
          <ac:spMkLst>
            <pc:docMk/>
            <pc:sldMk cId="4003175818" sldId="275"/>
            <ac:spMk id="36" creationId="{C50F9171-F4BC-4436-8110-1B68A8417908}"/>
          </ac:spMkLst>
        </pc:spChg>
        <pc:spChg chg="add del mod">
          <ac:chgData name="Chhabra, Aniket" userId="598e0514-bef3-4e71-b6aa-f2edd6441cff" providerId="ADAL" clId="{D0608F18-3840-4CA3-9A99-D984B41683E5}" dt="2020-12-25T03:41:34.329" v="2591"/>
          <ac:spMkLst>
            <pc:docMk/>
            <pc:sldMk cId="4003175818" sldId="275"/>
            <ac:spMk id="37" creationId="{296E8D6A-1E74-4987-A4E9-B209921167A8}"/>
          </ac:spMkLst>
        </pc:spChg>
        <pc:spChg chg="add del mod">
          <ac:chgData name="Chhabra, Aniket" userId="598e0514-bef3-4e71-b6aa-f2edd6441cff" providerId="ADAL" clId="{D0608F18-3840-4CA3-9A99-D984B41683E5}" dt="2020-12-25T03:41:34.329" v="2591"/>
          <ac:spMkLst>
            <pc:docMk/>
            <pc:sldMk cId="4003175818" sldId="275"/>
            <ac:spMk id="38" creationId="{7163A9E9-62CB-4953-8E3F-9D00E3D7D87B}"/>
          </ac:spMkLst>
        </pc:spChg>
        <pc:spChg chg="add del mod">
          <ac:chgData name="Chhabra, Aniket" userId="598e0514-bef3-4e71-b6aa-f2edd6441cff" providerId="ADAL" clId="{D0608F18-3840-4CA3-9A99-D984B41683E5}" dt="2020-12-25T03:41:34.329" v="2591"/>
          <ac:spMkLst>
            <pc:docMk/>
            <pc:sldMk cId="4003175818" sldId="275"/>
            <ac:spMk id="39" creationId="{EF549304-EE63-419A-B8BB-1213A7F2A2A2}"/>
          </ac:spMkLst>
        </pc:spChg>
        <pc:spChg chg="add del mod">
          <ac:chgData name="Chhabra, Aniket" userId="598e0514-bef3-4e71-b6aa-f2edd6441cff" providerId="ADAL" clId="{D0608F18-3840-4CA3-9A99-D984B41683E5}" dt="2020-12-25T03:41:34.329" v="2591"/>
          <ac:spMkLst>
            <pc:docMk/>
            <pc:sldMk cId="4003175818" sldId="275"/>
            <ac:spMk id="40" creationId="{33E81838-6429-4AE3-A752-D48E927CEBA1}"/>
          </ac:spMkLst>
        </pc:spChg>
        <pc:spChg chg="add del mod">
          <ac:chgData name="Chhabra, Aniket" userId="598e0514-bef3-4e71-b6aa-f2edd6441cff" providerId="ADAL" clId="{D0608F18-3840-4CA3-9A99-D984B41683E5}" dt="2020-12-25T03:41:34.329" v="2591"/>
          <ac:spMkLst>
            <pc:docMk/>
            <pc:sldMk cId="4003175818" sldId="275"/>
            <ac:spMk id="41" creationId="{40A335CA-B620-424E-8014-2A6C5C5A849C}"/>
          </ac:spMkLst>
        </pc:spChg>
        <pc:spChg chg="add del mod">
          <ac:chgData name="Chhabra, Aniket" userId="598e0514-bef3-4e71-b6aa-f2edd6441cff" providerId="ADAL" clId="{D0608F18-3840-4CA3-9A99-D984B41683E5}" dt="2020-12-25T03:41:34.329" v="2591"/>
          <ac:spMkLst>
            <pc:docMk/>
            <pc:sldMk cId="4003175818" sldId="275"/>
            <ac:spMk id="42" creationId="{A52949CF-A0D0-49EB-AD6D-F718A2104059}"/>
          </ac:spMkLst>
        </pc:spChg>
        <pc:spChg chg="add del mod">
          <ac:chgData name="Chhabra, Aniket" userId="598e0514-bef3-4e71-b6aa-f2edd6441cff" providerId="ADAL" clId="{D0608F18-3840-4CA3-9A99-D984B41683E5}" dt="2020-12-25T03:41:34.329" v="2591"/>
          <ac:spMkLst>
            <pc:docMk/>
            <pc:sldMk cId="4003175818" sldId="275"/>
            <ac:spMk id="43" creationId="{541A1883-C333-47A6-93EB-E53703323CCC}"/>
          </ac:spMkLst>
        </pc:spChg>
        <pc:spChg chg="add del mod">
          <ac:chgData name="Chhabra, Aniket" userId="598e0514-bef3-4e71-b6aa-f2edd6441cff" providerId="ADAL" clId="{D0608F18-3840-4CA3-9A99-D984B41683E5}" dt="2020-12-25T03:41:34.329" v="2591"/>
          <ac:spMkLst>
            <pc:docMk/>
            <pc:sldMk cId="4003175818" sldId="275"/>
            <ac:spMk id="44" creationId="{9F125471-2DC1-4126-B32F-8D30D940133F}"/>
          </ac:spMkLst>
        </pc:spChg>
        <pc:spChg chg="add del mod">
          <ac:chgData name="Chhabra, Aniket" userId="598e0514-bef3-4e71-b6aa-f2edd6441cff" providerId="ADAL" clId="{D0608F18-3840-4CA3-9A99-D984B41683E5}" dt="2020-12-25T03:41:34.329" v="2591"/>
          <ac:spMkLst>
            <pc:docMk/>
            <pc:sldMk cId="4003175818" sldId="275"/>
            <ac:spMk id="45" creationId="{08F18AD4-942B-47B6-9715-563C084C717D}"/>
          </ac:spMkLst>
        </pc:spChg>
        <pc:spChg chg="add del mod">
          <ac:chgData name="Chhabra, Aniket" userId="598e0514-bef3-4e71-b6aa-f2edd6441cff" providerId="ADAL" clId="{D0608F18-3840-4CA3-9A99-D984B41683E5}" dt="2020-12-25T03:41:34.329" v="2591"/>
          <ac:spMkLst>
            <pc:docMk/>
            <pc:sldMk cId="4003175818" sldId="275"/>
            <ac:spMk id="46" creationId="{160ED747-B9CC-4342-BD54-DC98378536DE}"/>
          </ac:spMkLst>
        </pc:spChg>
        <pc:spChg chg="add del mod">
          <ac:chgData name="Chhabra, Aniket" userId="598e0514-bef3-4e71-b6aa-f2edd6441cff" providerId="ADAL" clId="{D0608F18-3840-4CA3-9A99-D984B41683E5}" dt="2020-12-25T03:41:34.329" v="2591"/>
          <ac:spMkLst>
            <pc:docMk/>
            <pc:sldMk cId="4003175818" sldId="275"/>
            <ac:spMk id="47" creationId="{E8C383D7-1C2D-4F2D-BCFA-41D7F76446C9}"/>
          </ac:spMkLst>
        </pc:spChg>
        <pc:spChg chg="add del mod">
          <ac:chgData name="Chhabra, Aniket" userId="598e0514-bef3-4e71-b6aa-f2edd6441cff" providerId="ADAL" clId="{D0608F18-3840-4CA3-9A99-D984B41683E5}" dt="2020-12-25T03:41:34.329" v="2591"/>
          <ac:spMkLst>
            <pc:docMk/>
            <pc:sldMk cId="4003175818" sldId="275"/>
            <ac:spMk id="48" creationId="{65A51EA1-189D-43DC-A74D-F9CBED1384A8}"/>
          </ac:spMkLst>
        </pc:spChg>
        <pc:spChg chg="add del mod">
          <ac:chgData name="Chhabra, Aniket" userId="598e0514-bef3-4e71-b6aa-f2edd6441cff" providerId="ADAL" clId="{D0608F18-3840-4CA3-9A99-D984B41683E5}" dt="2020-12-25T03:41:34.329" v="2591"/>
          <ac:spMkLst>
            <pc:docMk/>
            <pc:sldMk cId="4003175818" sldId="275"/>
            <ac:spMk id="49" creationId="{77FBBBF8-A5D3-42E8-81E9-9F790B7AE521}"/>
          </ac:spMkLst>
        </pc:spChg>
        <pc:spChg chg="add del mod">
          <ac:chgData name="Chhabra, Aniket" userId="598e0514-bef3-4e71-b6aa-f2edd6441cff" providerId="ADAL" clId="{D0608F18-3840-4CA3-9A99-D984B41683E5}" dt="2020-12-25T03:41:34.329" v="2591"/>
          <ac:spMkLst>
            <pc:docMk/>
            <pc:sldMk cId="4003175818" sldId="275"/>
            <ac:spMk id="50" creationId="{8540593B-C8E5-47A3-B12C-C95D9D625EC0}"/>
          </ac:spMkLst>
        </pc:spChg>
        <pc:spChg chg="add del mod">
          <ac:chgData name="Chhabra, Aniket" userId="598e0514-bef3-4e71-b6aa-f2edd6441cff" providerId="ADAL" clId="{D0608F18-3840-4CA3-9A99-D984B41683E5}" dt="2020-12-25T03:41:34.329" v="2591"/>
          <ac:spMkLst>
            <pc:docMk/>
            <pc:sldMk cId="4003175818" sldId="275"/>
            <ac:spMk id="51" creationId="{8A4A7E04-C99F-4561-9923-58A31A217A9A}"/>
          </ac:spMkLst>
        </pc:spChg>
        <pc:spChg chg="add del mod">
          <ac:chgData name="Chhabra, Aniket" userId="598e0514-bef3-4e71-b6aa-f2edd6441cff" providerId="ADAL" clId="{D0608F18-3840-4CA3-9A99-D984B41683E5}" dt="2020-12-25T03:41:34.329" v="2591"/>
          <ac:spMkLst>
            <pc:docMk/>
            <pc:sldMk cId="4003175818" sldId="275"/>
            <ac:spMk id="52" creationId="{754B49B4-6478-48D1-99AB-2C70F09842C8}"/>
          </ac:spMkLst>
        </pc:spChg>
        <pc:spChg chg="add del mod">
          <ac:chgData name="Chhabra, Aniket" userId="598e0514-bef3-4e71-b6aa-f2edd6441cff" providerId="ADAL" clId="{D0608F18-3840-4CA3-9A99-D984B41683E5}" dt="2020-12-25T03:41:34.329" v="2591"/>
          <ac:spMkLst>
            <pc:docMk/>
            <pc:sldMk cId="4003175818" sldId="275"/>
            <ac:spMk id="53" creationId="{3D4A1D2A-5F24-437C-8EA8-6B8D45E7F75E}"/>
          </ac:spMkLst>
        </pc:spChg>
        <pc:spChg chg="add del mod">
          <ac:chgData name="Chhabra, Aniket" userId="598e0514-bef3-4e71-b6aa-f2edd6441cff" providerId="ADAL" clId="{D0608F18-3840-4CA3-9A99-D984B41683E5}" dt="2020-12-25T03:41:34.329" v="2591"/>
          <ac:spMkLst>
            <pc:docMk/>
            <pc:sldMk cId="4003175818" sldId="275"/>
            <ac:spMk id="54" creationId="{5413ED07-388D-4923-86B2-A5D02C333CD2}"/>
          </ac:spMkLst>
        </pc:spChg>
        <pc:spChg chg="add del mod">
          <ac:chgData name="Chhabra, Aniket" userId="598e0514-bef3-4e71-b6aa-f2edd6441cff" providerId="ADAL" clId="{D0608F18-3840-4CA3-9A99-D984B41683E5}" dt="2020-12-25T03:41:34.329" v="2591"/>
          <ac:spMkLst>
            <pc:docMk/>
            <pc:sldMk cId="4003175818" sldId="275"/>
            <ac:spMk id="55" creationId="{1099A8C6-20EC-4AAC-93A3-E7D6C320FFB6}"/>
          </ac:spMkLst>
        </pc:spChg>
        <pc:spChg chg="add del mod">
          <ac:chgData name="Chhabra, Aniket" userId="598e0514-bef3-4e71-b6aa-f2edd6441cff" providerId="ADAL" clId="{D0608F18-3840-4CA3-9A99-D984B41683E5}" dt="2020-12-25T03:41:34.329" v="2591"/>
          <ac:spMkLst>
            <pc:docMk/>
            <pc:sldMk cId="4003175818" sldId="275"/>
            <ac:spMk id="56" creationId="{3B34E5E5-5FB2-488B-B0D0-1B483E945C1C}"/>
          </ac:spMkLst>
        </pc:spChg>
        <pc:spChg chg="add del mod">
          <ac:chgData name="Chhabra, Aniket" userId="598e0514-bef3-4e71-b6aa-f2edd6441cff" providerId="ADAL" clId="{D0608F18-3840-4CA3-9A99-D984B41683E5}" dt="2020-12-25T03:41:34.329" v="2591"/>
          <ac:spMkLst>
            <pc:docMk/>
            <pc:sldMk cId="4003175818" sldId="275"/>
            <ac:spMk id="57" creationId="{73A81966-7727-4CEF-B748-7F72CA59C960}"/>
          </ac:spMkLst>
        </pc:spChg>
        <pc:spChg chg="add del mod">
          <ac:chgData name="Chhabra, Aniket" userId="598e0514-bef3-4e71-b6aa-f2edd6441cff" providerId="ADAL" clId="{D0608F18-3840-4CA3-9A99-D984B41683E5}" dt="2020-12-25T03:41:34.329" v="2591"/>
          <ac:spMkLst>
            <pc:docMk/>
            <pc:sldMk cId="4003175818" sldId="275"/>
            <ac:spMk id="58" creationId="{D6205FA1-BDF6-4B3D-BEB7-22B9BC7FDDC5}"/>
          </ac:spMkLst>
        </pc:spChg>
        <pc:spChg chg="add del mod">
          <ac:chgData name="Chhabra, Aniket" userId="598e0514-bef3-4e71-b6aa-f2edd6441cff" providerId="ADAL" clId="{D0608F18-3840-4CA3-9A99-D984B41683E5}" dt="2020-12-25T03:41:34.329" v="2591"/>
          <ac:spMkLst>
            <pc:docMk/>
            <pc:sldMk cId="4003175818" sldId="275"/>
            <ac:spMk id="59" creationId="{DA7FA5A6-2057-4B5D-92E0-83D23DAEC7F0}"/>
          </ac:spMkLst>
        </pc:spChg>
        <pc:spChg chg="add del mod">
          <ac:chgData name="Chhabra, Aniket" userId="598e0514-bef3-4e71-b6aa-f2edd6441cff" providerId="ADAL" clId="{D0608F18-3840-4CA3-9A99-D984B41683E5}" dt="2020-12-25T03:41:34.329" v="2591"/>
          <ac:spMkLst>
            <pc:docMk/>
            <pc:sldMk cId="4003175818" sldId="275"/>
            <ac:spMk id="60" creationId="{3BECE87B-824D-4674-B6F7-23DB32887755}"/>
          </ac:spMkLst>
        </pc:spChg>
        <pc:spChg chg="add del mod">
          <ac:chgData name="Chhabra, Aniket" userId="598e0514-bef3-4e71-b6aa-f2edd6441cff" providerId="ADAL" clId="{D0608F18-3840-4CA3-9A99-D984B41683E5}" dt="2020-12-25T03:41:34.329" v="2591"/>
          <ac:spMkLst>
            <pc:docMk/>
            <pc:sldMk cId="4003175818" sldId="275"/>
            <ac:spMk id="61" creationId="{4251DF31-5CD3-45B5-8C1C-3EDAEFBD24B7}"/>
          </ac:spMkLst>
        </pc:spChg>
        <pc:spChg chg="add del mod">
          <ac:chgData name="Chhabra, Aniket" userId="598e0514-bef3-4e71-b6aa-f2edd6441cff" providerId="ADAL" clId="{D0608F18-3840-4CA3-9A99-D984B41683E5}" dt="2020-12-25T03:41:34.329" v="2591"/>
          <ac:spMkLst>
            <pc:docMk/>
            <pc:sldMk cId="4003175818" sldId="275"/>
            <ac:spMk id="62" creationId="{A77ACAEA-01F5-4E14-A0A3-AD5D7988F7FA}"/>
          </ac:spMkLst>
        </pc:spChg>
        <pc:spChg chg="add del mod">
          <ac:chgData name="Chhabra, Aniket" userId="598e0514-bef3-4e71-b6aa-f2edd6441cff" providerId="ADAL" clId="{D0608F18-3840-4CA3-9A99-D984B41683E5}" dt="2020-12-25T03:41:34.329" v="2591"/>
          <ac:spMkLst>
            <pc:docMk/>
            <pc:sldMk cId="4003175818" sldId="275"/>
            <ac:spMk id="63" creationId="{9BD7458D-9894-4CD3-93F5-A63978A5BCE1}"/>
          </ac:spMkLst>
        </pc:spChg>
        <pc:spChg chg="add del mod">
          <ac:chgData name="Chhabra, Aniket" userId="598e0514-bef3-4e71-b6aa-f2edd6441cff" providerId="ADAL" clId="{D0608F18-3840-4CA3-9A99-D984B41683E5}" dt="2020-12-25T03:41:34.329" v="2591"/>
          <ac:spMkLst>
            <pc:docMk/>
            <pc:sldMk cId="4003175818" sldId="275"/>
            <ac:spMk id="64" creationId="{F2D7C125-4A51-4557-990E-BA9A7E6BE963}"/>
          </ac:spMkLst>
        </pc:spChg>
        <pc:spChg chg="add del mod">
          <ac:chgData name="Chhabra, Aniket" userId="598e0514-bef3-4e71-b6aa-f2edd6441cff" providerId="ADAL" clId="{D0608F18-3840-4CA3-9A99-D984B41683E5}" dt="2020-12-25T03:41:34.329" v="2591"/>
          <ac:spMkLst>
            <pc:docMk/>
            <pc:sldMk cId="4003175818" sldId="275"/>
            <ac:spMk id="65" creationId="{8F836757-126B-4985-98CF-38EFD1603A11}"/>
          </ac:spMkLst>
        </pc:spChg>
        <pc:spChg chg="add del mod">
          <ac:chgData name="Chhabra, Aniket" userId="598e0514-bef3-4e71-b6aa-f2edd6441cff" providerId="ADAL" clId="{D0608F18-3840-4CA3-9A99-D984B41683E5}" dt="2020-12-25T03:41:34.329" v="2591"/>
          <ac:spMkLst>
            <pc:docMk/>
            <pc:sldMk cId="4003175818" sldId="275"/>
            <ac:spMk id="66" creationId="{A62B57B5-C87D-49F6-BA5A-5F97CF1A0A6E}"/>
          </ac:spMkLst>
        </pc:spChg>
        <pc:spChg chg="add del mod">
          <ac:chgData name="Chhabra, Aniket" userId="598e0514-bef3-4e71-b6aa-f2edd6441cff" providerId="ADAL" clId="{D0608F18-3840-4CA3-9A99-D984B41683E5}" dt="2020-12-25T03:41:34.329" v="2591"/>
          <ac:spMkLst>
            <pc:docMk/>
            <pc:sldMk cId="4003175818" sldId="275"/>
            <ac:spMk id="67" creationId="{88BB634A-71BA-4C28-9607-9C0033FC2680}"/>
          </ac:spMkLst>
        </pc:spChg>
        <pc:spChg chg="add del mod">
          <ac:chgData name="Chhabra, Aniket" userId="598e0514-bef3-4e71-b6aa-f2edd6441cff" providerId="ADAL" clId="{D0608F18-3840-4CA3-9A99-D984B41683E5}" dt="2020-12-25T03:41:34.329" v="2591"/>
          <ac:spMkLst>
            <pc:docMk/>
            <pc:sldMk cId="4003175818" sldId="275"/>
            <ac:spMk id="68" creationId="{65CF0552-4CB6-4FED-9E5C-3997A600D210}"/>
          </ac:spMkLst>
        </pc:spChg>
        <pc:spChg chg="add del mod">
          <ac:chgData name="Chhabra, Aniket" userId="598e0514-bef3-4e71-b6aa-f2edd6441cff" providerId="ADAL" clId="{D0608F18-3840-4CA3-9A99-D984B41683E5}" dt="2020-12-25T03:41:34.329" v="2591"/>
          <ac:spMkLst>
            <pc:docMk/>
            <pc:sldMk cId="4003175818" sldId="275"/>
            <ac:spMk id="69" creationId="{A2663297-4527-4E5A-9D1F-002CCFB28DEE}"/>
          </ac:spMkLst>
        </pc:spChg>
        <pc:spChg chg="add del mod">
          <ac:chgData name="Chhabra, Aniket" userId="598e0514-bef3-4e71-b6aa-f2edd6441cff" providerId="ADAL" clId="{D0608F18-3840-4CA3-9A99-D984B41683E5}" dt="2020-12-25T03:41:34.329" v="2591"/>
          <ac:spMkLst>
            <pc:docMk/>
            <pc:sldMk cId="4003175818" sldId="275"/>
            <ac:spMk id="70" creationId="{C4BBC06B-31BC-4D8E-97DA-053A18CFAA5F}"/>
          </ac:spMkLst>
        </pc:spChg>
        <pc:spChg chg="add del mod">
          <ac:chgData name="Chhabra, Aniket" userId="598e0514-bef3-4e71-b6aa-f2edd6441cff" providerId="ADAL" clId="{D0608F18-3840-4CA3-9A99-D984B41683E5}" dt="2020-12-25T03:41:34.329" v="2591"/>
          <ac:spMkLst>
            <pc:docMk/>
            <pc:sldMk cId="4003175818" sldId="275"/>
            <ac:spMk id="71" creationId="{866B160A-44D6-40B6-ABCD-27F6A9774DDF}"/>
          </ac:spMkLst>
        </pc:spChg>
        <pc:spChg chg="add del mod">
          <ac:chgData name="Chhabra, Aniket" userId="598e0514-bef3-4e71-b6aa-f2edd6441cff" providerId="ADAL" clId="{D0608F18-3840-4CA3-9A99-D984B41683E5}" dt="2020-12-25T03:41:34.329" v="2591"/>
          <ac:spMkLst>
            <pc:docMk/>
            <pc:sldMk cId="4003175818" sldId="275"/>
            <ac:spMk id="72" creationId="{AF68F960-B2B2-4BB2-9017-686F6515AEA7}"/>
          </ac:spMkLst>
        </pc:spChg>
        <pc:spChg chg="add del mod">
          <ac:chgData name="Chhabra, Aniket" userId="598e0514-bef3-4e71-b6aa-f2edd6441cff" providerId="ADAL" clId="{D0608F18-3840-4CA3-9A99-D984B41683E5}" dt="2020-12-25T03:41:34.329" v="2591"/>
          <ac:spMkLst>
            <pc:docMk/>
            <pc:sldMk cId="4003175818" sldId="275"/>
            <ac:spMk id="73" creationId="{B8A3FA99-6210-4F66-A0BA-E05C78F3F8CC}"/>
          </ac:spMkLst>
        </pc:spChg>
        <pc:spChg chg="add del mod">
          <ac:chgData name="Chhabra, Aniket" userId="598e0514-bef3-4e71-b6aa-f2edd6441cff" providerId="ADAL" clId="{D0608F18-3840-4CA3-9A99-D984B41683E5}" dt="2020-12-25T03:41:34.329" v="2591"/>
          <ac:spMkLst>
            <pc:docMk/>
            <pc:sldMk cId="4003175818" sldId="275"/>
            <ac:spMk id="74" creationId="{14283911-CBD0-4697-A6AA-1748D9D10A76}"/>
          </ac:spMkLst>
        </pc:spChg>
        <pc:spChg chg="add del mod">
          <ac:chgData name="Chhabra, Aniket" userId="598e0514-bef3-4e71-b6aa-f2edd6441cff" providerId="ADAL" clId="{D0608F18-3840-4CA3-9A99-D984B41683E5}" dt="2020-12-25T03:41:34.329" v="2591"/>
          <ac:spMkLst>
            <pc:docMk/>
            <pc:sldMk cId="4003175818" sldId="275"/>
            <ac:spMk id="75" creationId="{E36CFABB-0EB5-48BC-962D-15DEDF45BF44}"/>
          </ac:spMkLst>
        </pc:spChg>
        <pc:spChg chg="add del mod">
          <ac:chgData name="Chhabra, Aniket" userId="598e0514-bef3-4e71-b6aa-f2edd6441cff" providerId="ADAL" clId="{D0608F18-3840-4CA3-9A99-D984B41683E5}" dt="2020-12-25T03:41:34.329" v="2591"/>
          <ac:spMkLst>
            <pc:docMk/>
            <pc:sldMk cId="4003175818" sldId="275"/>
            <ac:spMk id="76" creationId="{5ECCA063-60BD-4D38-B077-E2988BD47A43}"/>
          </ac:spMkLst>
        </pc:spChg>
        <pc:spChg chg="add del mod">
          <ac:chgData name="Chhabra, Aniket" userId="598e0514-bef3-4e71-b6aa-f2edd6441cff" providerId="ADAL" clId="{D0608F18-3840-4CA3-9A99-D984B41683E5}" dt="2020-12-25T03:41:34.329" v="2591"/>
          <ac:spMkLst>
            <pc:docMk/>
            <pc:sldMk cId="4003175818" sldId="275"/>
            <ac:spMk id="77" creationId="{9A9CED81-253A-4500-8598-54AAE1566895}"/>
          </ac:spMkLst>
        </pc:spChg>
        <pc:spChg chg="add del mod">
          <ac:chgData name="Chhabra, Aniket" userId="598e0514-bef3-4e71-b6aa-f2edd6441cff" providerId="ADAL" clId="{D0608F18-3840-4CA3-9A99-D984B41683E5}" dt="2020-12-25T03:41:34.329" v="2591"/>
          <ac:spMkLst>
            <pc:docMk/>
            <pc:sldMk cId="4003175818" sldId="275"/>
            <ac:spMk id="78" creationId="{A945338E-0E14-45EC-AA17-27CED0A95933}"/>
          </ac:spMkLst>
        </pc:spChg>
        <pc:spChg chg="add del mod">
          <ac:chgData name="Chhabra, Aniket" userId="598e0514-bef3-4e71-b6aa-f2edd6441cff" providerId="ADAL" clId="{D0608F18-3840-4CA3-9A99-D984B41683E5}" dt="2020-12-25T03:41:34.329" v="2591"/>
          <ac:spMkLst>
            <pc:docMk/>
            <pc:sldMk cId="4003175818" sldId="275"/>
            <ac:spMk id="79" creationId="{5EB3A18B-99F3-4241-9D48-3DD2BF50F1DC}"/>
          </ac:spMkLst>
        </pc:spChg>
        <pc:spChg chg="add del mod">
          <ac:chgData name="Chhabra, Aniket" userId="598e0514-bef3-4e71-b6aa-f2edd6441cff" providerId="ADAL" clId="{D0608F18-3840-4CA3-9A99-D984B41683E5}" dt="2020-12-25T03:41:34.329" v="2591"/>
          <ac:spMkLst>
            <pc:docMk/>
            <pc:sldMk cId="4003175818" sldId="275"/>
            <ac:spMk id="80" creationId="{F0118828-3A55-4B1D-B0AC-E6066528324B}"/>
          </ac:spMkLst>
        </pc:spChg>
        <pc:spChg chg="add del mod">
          <ac:chgData name="Chhabra, Aniket" userId="598e0514-bef3-4e71-b6aa-f2edd6441cff" providerId="ADAL" clId="{D0608F18-3840-4CA3-9A99-D984B41683E5}" dt="2020-12-25T03:41:34.329" v="2591"/>
          <ac:spMkLst>
            <pc:docMk/>
            <pc:sldMk cId="4003175818" sldId="275"/>
            <ac:spMk id="81" creationId="{793EB3EE-66F8-4922-8428-64EDD212355A}"/>
          </ac:spMkLst>
        </pc:spChg>
        <pc:spChg chg="add del mod">
          <ac:chgData name="Chhabra, Aniket" userId="598e0514-bef3-4e71-b6aa-f2edd6441cff" providerId="ADAL" clId="{D0608F18-3840-4CA3-9A99-D984B41683E5}" dt="2020-12-25T03:41:34.329" v="2591"/>
          <ac:spMkLst>
            <pc:docMk/>
            <pc:sldMk cId="4003175818" sldId="275"/>
            <ac:spMk id="82" creationId="{4211E6E8-861E-49DE-B4BB-027D0495A7C3}"/>
          </ac:spMkLst>
        </pc:spChg>
        <pc:spChg chg="add del mod">
          <ac:chgData name="Chhabra, Aniket" userId="598e0514-bef3-4e71-b6aa-f2edd6441cff" providerId="ADAL" clId="{D0608F18-3840-4CA3-9A99-D984B41683E5}" dt="2020-12-25T03:41:37.401" v="2593"/>
          <ac:spMkLst>
            <pc:docMk/>
            <pc:sldMk cId="4003175818" sldId="275"/>
            <ac:spMk id="83" creationId="{1BD9A2D4-8B03-4505-BA94-3DDB857D2B44}"/>
          </ac:spMkLst>
        </pc:spChg>
        <pc:spChg chg="add del mod">
          <ac:chgData name="Chhabra, Aniket" userId="598e0514-bef3-4e71-b6aa-f2edd6441cff" providerId="ADAL" clId="{D0608F18-3840-4CA3-9A99-D984B41683E5}" dt="2020-12-25T03:41:37.401" v="2593"/>
          <ac:spMkLst>
            <pc:docMk/>
            <pc:sldMk cId="4003175818" sldId="275"/>
            <ac:spMk id="84" creationId="{D79F5BC0-199C-47DC-A0B7-574C36F6F612}"/>
          </ac:spMkLst>
        </pc:spChg>
        <pc:spChg chg="add del mod">
          <ac:chgData name="Chhabra, Aniket" userId="598e0514-bef3-4e71-b6aa-f2edd6441cff" providerId="ADAL" clId="{D0608F18-3840-4CA3-9A99-D984B41683E5}" dt="2020-12-25T03:41:37.401" v="2593"/>
          <ac:spMkLst>
            <pc:docMk/>
            <pc:sldMk cId="4003175818" sldId="275"/>
            <ac:spMk id="85" creationId="{C25F2B31-25DC-4C12-BE86-5592DDE6378A}"/>
          </ac:spMkLst>
        </pc:spChg>
        <pc:spChg chg="add del mod">
          <ac:chgData name="Chhabra, Aniket" userId="598e0514-bef3-4e71-b6aa-f2edd6441cff" providerId="ADAL" clId="{D0608F18-3840-4CA3-9A99-D984B41683E5}" dt="2020-12-25T03:41:37.401" v="2593"/>
          <ac:spMkLst>
            <pc:docMk/>
            <pc:sldMk cId="4003175818" sldId="275"/>
            <ac:spMk id="86" creationId="{D0BBCF90-885C-4A29-A953-3B24587104AD}"/>
          </ac:spMkLst>
        </pc:spChg>
        <pc:spChg chg="add del mod">
          <ac:chgData name="Chhabra, Aniket" userId="598e0514-bef3-4e71-b6aa-f2edd6441cff" providerId="ADAL" clId="{D0608F18-3840-4CA3-9A99-D984B41683E5}" dt="2020-12-25T03:41:37.401" v="2593"/>
          <ac:spMkLst>
            <pc:docMk/>
            <pc:sldMk cId="4003175818" sldId="275"/>
            <ac:spMk id="87" creationId="{FF225D71-DF02-4EEB-84E3-CA3520BB927D}"/>
          </ac:spMkLst>
        </pc:spChg>
        <pc:spChg chg="add del mod">
          <ac:chgData name="Chhabra, Aniket" userId="598e0514-bef3-4e71-b6aa-f2edd6441cff" providerId="ADAL" clId="{D0608F18-3840-4CA3-9A99-D984B41683E5}" dt="2020-12-25T03:41:37.401" v="2593"/>
          <ac:spMkLst>
            <pc:docMk/>
            <pc:sldMk cId="4003175818" sldId="275"/>
            <ac:spMk id="88" creationId="{03494B32-2AB4-4ADA-88A9-45D3B5366CA2}"/>
          </ac:spMkLst>
        </pc:spChg>
        <pc:spChg chg="add del mod">
          <ac:chgData name="Chhabra, Aniket" userId="598e0514-bef3-4e71-b6aa-f2edd6441cff" providerId="ADAL" clId="{D0608F18-3840-4CA3-9A99-D984B41683E5}" dt="2020-12-25T03:41:37.401" v="2593"/>
          <ac:spMkLst>
            <pc:docMk/>
            <pc:sldMk cId="4003175818" sldId="275"/>
            <ac:spMk id="89" creationId="{F5DDD82D-461D-46B2-94AE-315446774AC9}"/>
          </ac:spMkLst>
        </pc:spChg>
        <pc:spChg chg="add del mod">
          <ac:chgData name="Chhabra, Aniket" userId="598e0514-bef3-4e71-b6aa-f2edd6441cff" providerId="ADAL" clId="{D0608F18-3840-4CA3-9A99-D984B41683E5}" dt="2020-12-25T03:41:37.401" v="2593"/>
          <ac:spMkLst>
            <pc:docMk/>
            <pc:sldMk cId="4003175818" sldId="275"/>
            <ac:spMk id="90" creationId="{73C6BF25-BA8E-4414-AA61-5C0C423C5AFF}"/>
          </ac:spMkLst>
        </pc:spChg>
        <pc:spChg chg="add del mod">
          <ac:chgData name="Chhabra, Aniket" userId="598e0514-bef3-4e71-b6aa-f2edd6441cff" providerId="ADAL" clId="{D0608F18-3840-4CA3-9A99-D984B41683E5}" dt="2020-12-25T03:41:37.401" v="2593"/>
          <ac:spMkLst>
            <pc:docMk/>
            <pc:sldMk cId="4003175818" sldId="275"/>
            <ac:spMk id="91" creationId="{DABAAEFF-FFA3-4D1C-8AC8-A22CE19B795C}"/>
          </ac:spMkLst>
        </pc:spChg>
        <pc:spChg chg="add del mod">
          <ac:chgData name="Chhabra, Aniket" userId="598e0514-bef3-4e71-b6aa-f2edd6441cff" providerId="ADAL" clId="{D0608F18-3840-4CA3-9A99-D984B41683E5}" dt="2020-12-25T03:41:37.401" v="2593"/>
          <ac:spMkLst>
            <pc:docMk/>
            <pc:sldMk cId="4003175818" sldId="275"/>
            <ac:spMk id="92" creationId="{696EED9C-A425-4618-A723-541477F066D9}"/>
          </ac:spMkLst>
        </pc:spChg>
        <pc:spChg chg="add del mod">
          <ac:chgData name="Chhabra, Aniket" userId="598e0514-bef3-4e71-b6aa-f2edd6441cff" providerId="ADAL" clId="{D0608F18-3840-4CA3-9A99-D984B41683E5}" dt="2020-12-25T03:41:37.401" v="2593"/>
          <ac:spMkLst>
            <pc:docMk/>
            <pc:sldMk cId="4003175818" sldId="275"/>
            <ac:spMk id="93" creationId="{CF71C323-7870-4074-A687-7C735A766B24}"/>
          </ac:spMkLst>
        </pc:spChg>
        <pc:spChg chg="add del mod">
          <ac:chgData name="Chhabra, Aniket" userId="598e0514-bef3-4e71-b6aa-f2edd6441cff" providerId="ADAL" clId="{D0608F18-3840-4CA3-9A99-D984B41683E5}" dt="2020-12-25T03:41:37.401" v="2593"/>
          <ac:spMkLst>
            <pc:docMk/>
            <pc:sldMk cId="4003175818" sldId="275"/>
            <ac:spMk id="94" creationId="{B7334A98-EB4F-45E5-97C4-E4FC767554D1}"/>
          </ac:spMkLst>
        </pc:spChg>
        <pc:spChg chg="add del mod">
          <ac:chgData name="Chhabra, Aniket" userId="598e0514-bef3-4e71-b6aa-f2edd6441cff" providerId="ADAL" clId="{D0608F18-3840-4CA3-9A99-D984B41683E5}" dt="2020-12-25T03:41:37.401" v="2593"/>
          <ac:spMkLst>
            <pc:docMk/>
            <pc:sldMk cId="4003175818" sldId="275"/>
            <ac:spMk id="95" creationId="{68BA40E6-8B97-4F04-9E4D-25767DA684C3}"/>
          </ac:spMkLst>
        </pc:spChg>
        <pc:spChg chg="add del mod">
          <ac:chgData name="Chhabra, Aniket" userId="598e0514-bef3-4e71-b6aa-f2edd6441cff" providerId="ADAL" clId="{D0608F18-3840-4CA3-9A99-D984B41683E5}" dt="2020-12-25T03:41:37.401" v="2593"/>
          <ac:spMkLst>
            <pc:docMk/>
            <pc:sldMk cId="4003175818" sldId="275"/>
            <ac:spMk id="96" creationId="{AFF614A8-2C2E-4E59-A614-0474B4C07283}"/>
          </ac:spMkLst>
        </pc:spChg>
        <pc:spChg chg="add del mod">
          <ac:chgData name="Chhabra, Aniket" userId="598e0514-bef3-4e71-b6aa-f2edd6441cff" providerId="ADAL" clId="{D0608F18-3840-4CA3-9A99-D984B41683E5}" dt="2020-12-25T03:41:37.401" v="2593"/>
          <ac:spMkLst>
            <pc:docMk/>
            <pc:sldMk cId="4003175818" sldId="275"/>
            <ac:spMk id="97" creationId="{4D46D257-BFE3-4062-8224-CF6B3B4D44F3}"/>
          </ac:spMkLst>
        </pc:spChg>
        <pc:spChg chg="add del mod">
          <ac:chgData name="Chhabra, Aniket" userId="598e0514-bef3-4e71-b6aa-f2edd6441cff" providerId="ADAL" clId="{D0608F18-3840-4CA3-9A99-D984B41683E5}" dt="2020-12-25T03:41:37.401" v="2593"/>
          <ac:spMkLst>
            <pc:docMk/>
            <pc:sldMk cId="4003175818" sldId="275"/>
            <ac:spMk id="98" creationId="{7098A617-E361-4BF0-A6D6-9837ECDDC06A}"/>
          </ac:spMkLst>
        </pc:spChg>
        <pc:spChg chg="add del mod">
          <ac:chgData name="Chhabra, Aniket" userId="598e0514-bef3-4e71-b6aa-f2edd6441cff" providerId="ADAL" clId="{D0608F18-3840-4CA3-9A99-D984B41683E5}" dt="2020-12-25T03:41:37.401" v="2593"/>
          <ac:spMkLst>
            <pc:docMk/>
            <pc:sldMk cId="4003175818" sldId="275"/>
            <ac:spMk id="99" creationId="{DA342EBC-F25E-414F-8D83-E5621E95D43C}"/>
          </ac:spMkLst>
        </pc:spChg>
        <pc:spChg chg="add del mod">
          <ac:chgData name="Chhabra, Aniket" userId="598e0514-bef3-4e71-b6aa-f2edd6441cff" providerId="ADAL" clId="{D0608F18-3840-4CA3-9A99-D984B41683E5}" dt="2020-12-25T03:41:37.401" v="2593"/>
          <ac:spMkLst>
            <pc:docMk/>
            <pc:sldMk cId="4003175818" sldId="275"/>
            <ac:spMk id="100" creationId="{4FB91A5A-0D5D-4E52-BC37-75D71058A583}"/>
          </ac:spMkLst>
        </pc:spChg>
        <pc:spChg chg="add del mod">
          <ac:chgData name="Chhabra, Aniket" userId="598e0514-bef3-4e71-b6aa-f2edd6441cff" providerId="ADAL" clId="{D0608F18-3840-4CA3-9A99-D984B41683E5}" dt="2020-12-25T03:41:37.401" v="2593"/>
          <ac:spMkLst>
            <pc:docMk/>
            <pc:sldMk cId="4003175818" sldId="275"/>
            <ac:spMk id="101" creationId="{7898DC1D-D806-4B85-ADF1-6B5E4A81DB8E}"/>
          </ac:spMkLst>
        </pc:spChg>
        <pc:spChg chg="add del mod">
          <ac:chgData name="Chhabra, Aniket" userId="598e0514-bef3-4e71-b6aa-f2edd6441cff" providerId="ADAL" clId="{D0608F18-3840-4CA3-9A99-D984B41683E5}" dt="2020-12-25T03:41:37.401" v="2593"/>
          <ac:spMkLst>
            <pc:docMk/>
            <pc:sldMk cId="4003175818" sldId="275"/>
            <ac:spMk id="102" creationId="{CAC068D3-888F-4208-A78B-C122F7D8A9F5}"/>
          </ac:spMkLst>
        </pc:spChg>
        <pc:spChg chg="add del mod">
          <ac:chgData name="Chhabra, Aniket" userId="598e0514-bef3-4e71-b6aa-f2edd6441cff" providerId="ADAL" clId="{D0608F18-3840-4CA3-9A99-D984B41683E5}" dt="2020-12-25T03:41:37.401" v="2593"/>
          <ac:spMkLst>
            <pc:docMk/>
            <pc:sldMk cId="4003175818" sldId="275"/>
            <ac:spMk id="103" creationId="{637C786A-E5F7-4ED7-96D6-54DB349D0429}"/>
          </ac:spMkLst>
        </pc:spChg>
        <pc:spChg chg="add del mod">
          <ac:chgData name="Chhabra, Aniket" userId="598e0514-bef3-4e71-b6aa-f2edd6441cff" providerId="ADAL" clId="{D0608F18-3840-4CA3-9A99-D984B41683E5}" dt="2020-12-25T03:41:37.401" v="2593"/>
          <ac:spMkLst>
            <pc:docMk/>
            <pc:sldMk cId="4003175818" sldId="275"/>
            <ac:spMk id="104" creationId="{FFE2E9B5-CAD6-4A8E-8FC8-92568CFDDB60}"/>
          </ac:spMkLst>
        </pc:spChg>
        <pc:spChg chg="add del mod">
          <ac:chgData name="Chhabra, Aniket" userId="598e0514-bef3-4e71-b6aa-f2edd6441cff" providerId="ADAL" clId="{D0608F18-3840-4CA3-9A99-D984B41683E5}" dt="2020-12-25T03:41:37.401" v="2593"/>
          <ac:spMkLst>
            <pc:docMk/>
            <pc:sldMk cId="4003175818" sldId="275"/>
            <ac:spMk id="105" creationId="{9C386B48-E3A3-441B-9494-39809D6921D2}"/>
          </ac:spMkLst>
        </pc:spChg>
        <pc:spChg chg="add del mod">
          <ac:chgData name="Chhabra, Aniket" userId="598e0514-bef3-4e71-b6aa-f2edd6441cff" providerId="ADAL" clId="{D0608F18-3840-4CA3-9A99-D984B41683E5}" dt="2020-12-25T03:41:37.401" v="2593"/>
          <ac:spMkLst>
            <pc:docMk/>
            <pc:sldMk cId="4003175818" sldId="275"/>
            <ac:spMk id="106" creationId="{A2A2D194-6394-449E-9C6D-24B2EE677190}"/>
          </ac:spMkLst>
        </pc:spChg>
        <pc:spChg chg="add del mod">
          <ac:chgData name="Chhabra, Aniket" userId="598e0514-bef3-4e71-b6aa-f2edd6441cff" providerId="ADAL" clId="{D0608F18-3840-4CA3-9A99-D984B41683E5}" dt="2020-12-25T03:41:37.401" v="2593"/>
          <ac:spMkLst>
            <pc:docMk/>
            <pc:sldMk cId="4003175818" sldId="275"/>
            <ac:spMk id="107" creationId="{B6431BE5-8CED-4376-B6AC-760BAEDB5107}"/>
          </ac:spMkLst>
        </pc:spChg>
        <pc:spChg chg="add del mod">
          <ac:chgData name="Chhabra, Aniket" userId="598e0514-bef3-4e71-b6aa-f2edd6441cff" providerId="ADAL" clId="{D0608F18-3840-4CA3-9A99-D984B41683E5}" dt="2020-12-25T03:41:37.401" v="2593"/>
          <ac:spMkLst>
            <pc:docMk/>
            <pc:sldMk cId="4003175818" sldId="275"/>
            <ac:spMk id="108" creationId="{82DDC45E-12D1-4940-B68F-34EFDB701576}"/>
          </ac:spMkLst>
        </pc:spChg>
        <pc:spChg chg="add del mod">
          <ac:chgData name="Chhabra, Aniket" userId="598e0514-bef3-4e71-b6aa-f2edd6441cff" providerId="ADAL" clId="{D0608F18-3840-4CA3-9A99-D984B41683E5}" dt="2020-12-25T03:41:37.401" v="2593"/>
          <ac:spMkLst>
            <pc:docMk/>
            <pc:sldMk cId="4003175818" sldId="275"/>
            <ac:spMk id="109" creationId="{F02D212C-E247-4F04-8E48-E696542D6177}"/>
          </ac:spMkLst>
        </pc:spChg>
        <pc:spChg chg="add del mod">
          <ac:chgData name="Chhabra, Aniket" userId="598e0514-bef3-4e71-b6aa-f2edd6441cff" providerId="ADAL" clId="{D0608F18-3840-4CA3-9A99-D984B41683E5}" dt="2020-12-25T03:41:37.401" v="2593"/>
          <ac:spMkLst>
            <pc:docMk/>
            <pc:sldMk cId="4003175818" sldId="275"/>
            <ac:spMk id="110" creationId="{7AD7B728-B58B-4B13-B672-2E2FBC002922}"/>
          </ac:spMkLst>
        </pc:spChg>
        <pc:spChg chg="add del mod">
          <ac:chgData name="Chhabra, Aniket" userId="598e0514-bef3-4e71-b6aa-f2edd6441cff" providerId="ADAL" clId="{D0608F18-3840-4CA3-9A99-D984B41683E5}" dt="2020-12-25T03:41:37.401" v="2593"/>
          <ac:spMkLst>
            <pc:docMk/>
            <pc:sldMk cId="4003175818" sldId="275"/>
            <ac:spMk id="111" creationId="{0A35C3AD-DB57-41D7-9AB7-0024AB7D6EB8}"/>
          </ac:spMkLst>
        </pc:spChg>
        <pc:spChg chg="add del mod">
          <ac:chgData name="Chhabra, Aniket" userId="598e0514-bef3-4e71-b6aa-f2edd6441cff" providerId="ADAL" clId="{D0608F18-3840-4CA3-9A99-D984B41683E5}" dt="2020-12-25T03:41:37.401" v="2593"/>
          <ac:spMkLst>
            <pc:docMk/>
            <pc:sldMk cId="4003175818" sldId="275"/>
            <ac:spMk id="112" creationId="{DBEEE2C8-0DCB-4C15-B5FD-4891B6519722}"/>
          </ac:spMkLst>
        </pc:spChg>
        <pc:spChg chg="add del mod">
          <ac:chgData name="Chhabra, Aniket" userId="598e0514-bef3-4e71-b6aa-f2edd6441cff" providerId="ADAL" clId="{D0608F18-3840-4CA3-9A99-D984B41683E5}" dt="2020-12-25T03:41:37.401" v="2593"/>
          <ac:spMkLst>
            <pc:docMk/>
            <pc:sldMk cId="4003175818" sldId="275"/>
            <ac:spMk id="113" creationId="{7875131A-F4D9-41D6-B10E-B610DA57DCF8}"/>
          </ac:spMkLst>
        </pc:spChg>
        <pc:spChg chg="add del mod">
          <ac:chgData name="Chhabra, Aniket" userId="598e0514-bef3-4e71-b6aa-f2edd6441cff" providerId="ADAL" clId="{D0608F18-3840-4CA3-9A99-D984B41683E5}" dt="2020-12-25T03:41:37.401" v="2593"/>
          <ac:spMkLst>
            <pc:docMk/>
            <pc:sldMk cId="4003175818" sldId="275"/>
            <ac:spMk id="114" creationId="{3661F9FB-1578-46F2-85EC-A5D41792A238}"/>
          </ac:spMkLst>
        </pc:spChg>
        <pc:spChg chg="add del mod">
          <ac:chgData name="Chhabra, Aniket" userId="598e0514-bef3-4e71-b6aa-f2edd6441cff" providerId="ADAL" clId="{D0608F18-3840-4CA3-9A99-D984B41683E5}" dt="2020-12-25T03:41:37.401" v="2593"/>
          <ac:spMkLst>
            <pc:docMk/>
            <pc:sldMk cId="4003175818" sldId="275"/>
            <ac:spMk id="115" creationId="{B42CEB2A-0661-410C-93E4-8831022F2071}"/>
          </ac:spMkLst>
        </pc:spChg>
        <pc:spChg chg="add del mod">
          <ac:chgData name="Chhabra, Aniket" userId="598e0514-bef3-4e71-b6aa-f2edd6441cff" providerId="ADAL" clId="{D0608F18-3840-4CA3-9A99-D984B41683E5}" dt="2020-12-25T03:41:37.401" v="2593"/>
          <ac:spMkLst>
            <pc:docMk/>
            <pc:sldMk cId="4003175818" sldId="275"/>
            <ac:spMk id="116" creationId="{605F7287-479C-47D2-AFA5-6C6D2CCA9957}"/>
          </ac:spMkLst>
        </pc:spChg>
        <pc:spChg chg="add del mod">
          <ac:chgData name="Chhabra, Aniket" userId="598e0514-bef3-4e71-b6aa-f2edd6441cff" providerId="ADAL" clId="{D0608F18-3840-4CA3-9A99-D984B41683E5}" dt="2020-12-25T03:41:37.401" v="2593"/>
          <ac:spMkLst>
            <pc:docMk/>
            <pc:sldMk cId="4003175818" sldId="275"/>
            <ac:spMk id="117" creationId="{FFED5EA8-0FF3-4CBE-9B85-2FBBC71C2013}"/>
          </ac:spMkLst>
        </pc:spChg>
        <pc:spChg chg="add del mod">
          <ac:chgData name="Chhabra, Aniket" userId="598e0514-bef3-4e71-b6aa-f2edd6441cff" providerId="ADAL" clId="{D0608F18-3840-4CA3-9A99-D984B41683E5}" dt="2020-12-25T03:41:37.401" v="2593"/>
          <ac:spMkLst>
            <pc:docMk/>
            <pc:sldMk cId="4003175818" sldId="275"/>
            <ac:spMk id="118" creationId="{E0FBF342-40C7-4D87-AF99-120ADC4CCA4D}"/>
          </ac:spMkLst>
        </pc:spChg>
        <pc:spChg chg="add del mod">
          <ac:chgData name="Chhabra, Aniket" userId="598e0514-bef3-4e71-b6aa-f2edd6441cff" providerId="ADAL" clId="{D0608F18-3840-4CA3-9A99-D984B41683E5}" dt="2020-12-25T03:41:37.401" v="2593"/>
          <ac:spMkLst>
            <pc:docMk/>
            <pc:sldMk cId="4003175818" sldId="275"/>
            <ac:spMk id="119" creationId="{432F6512-A689-4844-AD66-8A8FEB8D13B1}"/>
          </ac:spMkLst>
        </pc:spChg>
        <pc:spChg chg="add del mod">
          <ac:chgData name="Chhabra, Aniket" userId="598e0514-bef3-4e71-b6aa-f2edd6441cff" providerId="ADAL" clId="{D0608F18-3840-4CA3-9A99-D984B41683E5}" dt="2020-12-25T03:41:37.401" v="2593"/>
          <ac:spMkLst>
            <pc:docMk/>
            <pc:sldMk cId="4003175818" sldId="275"/>
            <ac:spMk id="120" creationId="{911C7D72-5C25-4686-8237-2E48CF2AE85B}"/>
          </ac:spMkLst>
        </pc:spChg>
        <pc:spChg chg="add del mod">
          <ac:chgData name="Chhabra, Aniket" userId="598e0514-bef3-4e71-b6aa-f2edd6441cff" providerId="ADAL" clId="{D0608F18-3840-4CA3-9A99-D984B41683E5}" dt="2020-12-25T03:41:37.401" v="2593"/>
          <ac:spMkLst>
            <pc:docMk/>
            <pc:sldMk cId="4003175818" sldId="275"/>
            <ac:spMk id="121" creationId="{15AB4DD3-F518-44FF-A46E-CFE7B1BB77A4}"/>
          </ac:spMkLst>
        </pc:spChg>
        <pc:spChg chg="add del mod">
          <ac:chgData name="Chhabra, Aniket" userId="598e0514-bef3-4e71-b6aa-f2edd6441cff" providerId="ADAL" clId="{D0608F18-3840-4CA3-9A99-D984B41683E5}" dt="2020-12-25T03:41:37.401" v="2593"/>
          <ac:spMkLst>
            <pc:docMk/>
            <pc:sldMk cId="4003175818" sldId="275"/>
            <ac:spMk id="122" creationId="{85347BFD-9406-4692-B65C-D11DC39788FB}"/>
          </ac:spMkLst>
        </pc:spChg>
        <pc:spChg chg="add del mod">
          <ac:chgData name="Chhabra, Aniket" userId="598e0514-bef3-4e71-b6aa-f2edd6441cff" providerId="ADAL" clId="{D0608F18-3840-4CA3-9A99-D984B41683E5}" dt="2020-12-25T03:41:37.401" v="2593"/>
          <ac:spMkLst>
            <pc:docMk/>
            <pc:sldMk cId="4003175818" sldId="275"/>
            <ac:spMk id="123" creationId="{81CD8CB8-C98C-46FD-9960-F9ECC96E114C}"/>
          </ac:spMkLst>
        </pc:spChg>
        <pc:spChg chg="add del mod">
          <ac:chgData name="Chhabra, Aniket" userId="598e0514-bef3-4e71-b6aa-f2edd6441cff" providerId="ADAL" clId="{D0608F18-3840-4CA3-9A99-D984B41683E5}" dt="2020-12-25T03:41:37.401" v="2593"/>
          <ac:spMkLst>
            <pc:docMk/>
            <pc:sldMk cId="4003175818" sldId="275"/>
            <ac:spMk id="124" creationId="{3C17EEDB-27E3-471A-B5CB-E44B1F37D4AF}"/>
          </ac:spMkLst>
        </pc:spChg>
        <pc:spChg chg="add del mod">
          <ac:chgData name="Chhabra, Aniket" userId="598e0514-bef3-4e71-b6aa-f2edd6441cff" providerId="ADAL" clId="{D0608F18-3840-4CA3-9A99-D984B41683E5}" dt="2020-12-25T03:41:37.401" v="2593"/>
          <ac:spMkLst>
            <pc:docMk/>
            <pc:sldMk cId="4003175818" sldId="275"/>
            <ac:spMk id="125" creationId="{8EA21EA3-D46C-4057-A9F5-BC2C833770DF}"/>
          </ac:spMkLst>
        </pc:spChg>
        <pc:spChg chg="add del mod">
          <ac:chgData name="Chhabra, Aniket" userId="598e0514-bef3-4e71-b6aa-f2edd6441cff" providerId="ADAL" clId="{D0608F18-3840-4CA3-9A99-D984B41683E5}" dt="2020-12-25T03:41:37.401" v="2593"/>
          <ac:spMkLst>
            <pc:docMk/>
            <pc:sldMk cId="4003175818" sldId="275"/>
            <ac:spMk id="126" creationId="{B55622A0-5169-416C-B4B2-9EB976F55C8D}"/>
          </ac:spMkLst>
        </pc:spChg>
        <pc:spChg chg="add del mod">
          <ac:chgData name="Chhabra, Aniket" userId="598e0514-bef3-4e71-b6aa-f2edd6441cff" providerId="ADAL" clId="{D0608F18-3840-4CA3-9A99-D984B41683E5}" dt="2020-12-25T03:41:37.401" v="2593"/>
          <ac:spMkLst>
            <pc:docMk/>
            <pc:sldMk cId="4003175818" sldId="275"/>
            <ac:spMk id="127" creationId="{F157DA20-AACB-42DD-AE60-190B805A778C}"/>
          </ac:spMkLst>
        </pc:spChg>
        <pc:spChg chg="add del mod">
          <ac:chgData name="Chhabra, Aniket" userId="598e0514-bef3-4e71-b6aa-f2edd6441cff" providerId="ADAL" clId="{D0608F18-3840-4CA3-9A99-D984B41683E5}" dt="2020-12-25T03:41:37.401" v="2593"/>
          <ac:spMkLst>
            <pc:docMk/>
            <pc:sldMk cId="4003175818" sldId="275"/>
            <ac:spMk id="128" creationId="{23EF067D-BDA3-4F5D-93C0-F5DE031614CA}"/>
          </ac:spMkLst>
        </pc:spChg>
        <pc:spChg chg="add del mod">
          <ac:chgData name="Chhabra, Aniket" userId="598e0514-bef3-4e71-b6aa-f2edd6441cff" providerId="ADAL" clId="{D0608F18-3840-4CA3-9A99-D984B41683E5}" dt="2020-12-25T03:41:37.401" v="2593"/>
          <ac:spMkLst>
            <pc:docMk/>
            <pc:sldMk cId="4003175818" sldId="275"/>
            <ac:spMk id="129" creationId="{559D9427-10E6-477A-86BB-28B99E3B5DA5}"/>
          </ac:spMkLst>
        </pc:spChg>
        <pc:spChg chg="add del mod">
          <ac:chgData name="Chhabra, Aniket" userId="598e0514-bef3-4e71-b6aa-f2edd6441cff" providerId="ADAL" clId="{D0608F18-3840-4CA3-9A99-D984B41683E5}" dt="2020-12-25T03:41:37.401" v="2593"/>
          <ac:spMkLst>
            <pc:docMk/>
            <pc:sldMk cId="4003175818" sldId="275"/>
            <ac:spMk id="130" creationId="{958FDA58-E0F2-464B-AB54-5886A5C941BE}"/>
          </ac:spMkLst>
        </pc:spChg>
        <pc:spChg chg="add del mod">
          <ac:chgData name="Chhabra, Aniket" userId="598e0514-bef3-4e71-b6aa-f2edd6441cff" providerId="ADAL" clId="{D0608F18-3840-4CA3-9A99-D984B41683E5}" dt="2020-12-25T03:41:37.401" v="2593"/>
          <ac:spMkLst>
            <pc:docMk/>
            <pc:sldMk cId="4003175818" sldId="275"/>
            <ac:spMk id="131" creationId="{CBBF4930-DC77-49CA-8DDD-B1335FEFB9A8}"/>
          </ac:spMkLst>
        </pc:spChg>
        <pc:spChg chg="add del mod">
          <ac:chgData name="Chhabra, Aniket" userId="598e0514-bef3-4e71-b6aa-f2edd6441cff" providerId="ADAL" clId="{D0608F18-3840-4CA3-9A99-D984B41683E5}" dt="2020-12-25T03:41:37.401" v="2593"/>
          <ac:spMkLst>
            <pc:docMk/>
            <pc:sldMk cId="4003175818" sldId="275"/>
            <ac:spMk id="132" creationId="{4192F678-DF46-46A2-AAB2-36CA01F4B0F6}"/>
          </ac:spMkLst>
        </pc:spChg>
        <pc:spChg chg="add del mod">
          <ac:chgData name="Chhabra, Aniket" userId="598e0514-bef3-4e71-b6aa-f2edd6441cff" providerId="ADAL" clId="{D0608F18-3840-4CA3-9A99-D984B41683E5}" dt="2020-12-25T03:41:37.401" v="2593"/>
          <ac:spMkLst>
            <pc:docMk/>
            <pc:sldMk cId="4003175818" sldId="275"/>
            <ac:spMk id="133" creationId="{7253B840-1305-4233-88F5-A29805E70B99}"/>
          </ac:spMkLst>
        </pc:spChg>
        <pc:spChg chg="add del mod">
          <ac:chgData name="Chhabra, Aniket" userId="598e0514-bef3-4e71-b6aa-f2edd6441cff" providerId="ADAL" clId="{D0608F18-3840-4CA3-9A99-D984B41683E5}" dt="2020-12-25T03:41:37.401" v="2593"/>
          <ac:spMkLst>
            <pc:docMk/>
            <pc:sldMk cId="4003175818" sldId="275"/>
            <ac:spMk id="134" creationId="{744333F3-3F89-495E-A0D9-BAD1BBF8C548}"/>
          </ac:spMkLst>
        </pc:spChg>
        <pc:spChg chg="add del mod">
          <ac:chgData name="Chhabra, Aniket" userId="598e0514-bef3-4e71-b6aa-f2edd6441cff" providerId="ADAL" clId="{D0608F18-3840-4CA3-9A99-D984B41683E5}" dt="2020-12-25T03:41:37.401" v="2593"/>
          <ac:spMkLst>
            <pc:docMk/>
            <pc:sldMk cId="4003175818" sldId="275"/>
            <ac:spMk id="135" creationId="{2469A321-DA10-431D-8C69-99EC6D32A323}"/>
          </ac:spMkLst>
        </pc:spChg>
        <pc:spChg chg="add del mod">
          <ac:chgData name="Chhabra, Aniket" userId="598e0514-bef3-4e71-b6aa-f2edd6441cff" providerId="ADAL" clId="{D0608F18-3840-4CA3-9A99-D984B41683E5}" dt="2020-12-25T03:41:37.401" v="2593"/>
          <ac:spMkLst>
            <pc:docMk/>
            <pc:sldMk cId="4003175818" sldId="275"/>
            <ac:spMk id="136" creationId="{6CAD8640-8B9C-449B-B67C-A61BC62F5CF0}"/>
          </ac:spMkLst>
        </pc:spChg>
        <pc:spChg chg="add del mod">
          <ac:chgData name="Chhabra, Aniket" userId="598e0514-bef3-4e71-b6aa-f2edd6441cff" providerId="ADAL" clId="{D0608F18-3840-4CA3-9A99-D984B41683E5}" dt="2020-12-25T03:41:37.401" v="2593"/>
          <ac:spMkLst>
            <pc:docMk/>
            <pc:sldMk cId="4003175818" sldId="275"/>
            <ac:spMk id="137" creationId="{4A8EEB3E-52AA-4426-8902-458DA6393099}"/>
          </ac:spMkLst>
        </pc:spChg>
        <pc:spChg chg="add del mod">
          <ac:chgData name="Chhabra, Aniket" userId="598e0514-bef3-4e71-b6aa-f2edd6441cff" providerId="ADAL" clId="{D0608F18-3840-4CA3-9A99-D984B41683E5}" dt="2020-12-25T03:41:37.401" v="2593"/>
          <ac:spMkLst>
            <pc:docMk/>
            <pc:sldMk cId="4003175818" sldId="275"/>
            <ac:spMk id="138" creationId="{8BCF4590-A0FF-421C-8D9D-D7BD0E7796EA}"/>
          </ac:spMkLst>
        </pc:spChg>
        <pc:spChg chg="add del mod">
          <ac:chgData name="Chhabra, Aniket" userId="598e0514-bef3-4e71-b6aa-f2edd6441cff" providerId="ADAL" clId="{D0608F18-3840-4CA3-9A99-D984B41683E5}" dt="2020-12-25T03:41:37.401" v="2593"/>
          <ac:spMkLst>
            <pc:docMk/>
            <pc:sldMk cId="4003175818" sldId="275"/>
            <ac:spMk id="139" creationId="{DA32D76F-D530-4852-95FB-7419080A84D3}"/>
          </ac:spMkLst>
        </pc:spChg>
        <pc:spChg chg="add del mod">
          <ac:chgData name="Chhabra, Aniket" userId="598e0514-bef3-4e71-b6aa-f2edd6441cff" providerId="ADAL" clId="{D0608F18-3840-4CA3-9A99-D984B41683E5}" dt="2020-12-25T03:41:37.401" v="2593"/>
          <ac:spMkLst>
            <pc:docMk/>
            <pc:sldMk cId="4003175818" sldId="275"/>
            <ac:spMk id="140" creationId="{47F59CF1-6199-4629-9383-FC6288D5D7EC}"/>
          </ac:spMkLst>
        </pc:spChg>
        <pc:spChg chg="add del mod">
          <ac:chgData name="Chhabra, Aniket" userId="598e0514-bef3-4e71-b6aa-f2edd6441cff" providerId="ADAL" clId="{D0608F18-3840-4CA3-9A99-D984B41683E5}" dt="2020-12-25T03:41:37.401" v="2593"/>
          <ac:spMkLst>
            <pc:docMk/>
            <pc:sldMk cId="4003175818" sldId="275"/>
            <ac:spMk id="141" creationId="{5854B3FC-DF1A-4715-BA7D-F3B3C709194D}"/>
          </ac:spMkLst>
        </pc:spChg>
        <pc:spChg chg="add del mod">
          <ac:chgData name="Chhabra, Aniket" userId="598e0514-bef3-4e71-b6aa-f2edd6441cff" providerId="ADAL" clId="{D0608F18-3840-4CA3-9A99-D984B41683E5}" dt="2020-12-25T03:41:37.401" v="2593"/>
          <ac:spMkLst>
            <pc:docMk/>
            <pc:sldMk cId="4003175818" sldId="275"/>
            <ac:spMk id="142" creationId="{6C9C9DBC-1722-40BC-908D-3C389596334B}"/>
          </ac:spMkLst>
        </pc:spChg>
        <pc:spChg chg="add del mod">
          <ac:chgData name="Chhabra, Aniket" userId="598e0514-bef3-4e71-b6aa-f2edd6441cff" providerId="ADAL" clId="{D0608F18-3840-4CA3-9A99-D984B41683E5}" dt="2020-12-25T03:41:37.401" v="2593"/>
          <ac:spMkLst>
            <pc:docMk/>
            <pc:sldMk cId="4003175818" sldId="275"/>
            <ac:spMk id="143" creationId="{7EC0D8A2-BCF2-4471-B342-2AF75718EDA4}"/>
          </ac:spMkLst>
        </pc:spChg>
        <pc:spChg chg="add del mod">
          <ac:chgData name="Chhabra, Aniket" userId="598e0514-bef3-4e71-b6aa-f2edd6441cff" providerId="ADAL" clId="{D0608F18-3840-4CA3-9A99-D984B41683E5}" dt="2020-12-25T03:41:37.401" v="2593"/>
          <ac:spMkLst>
            <pc:docMk/>
            <pc:sldMk cId="4003175818" sldId="275"/>
            <ac:spMk id="144" creationId="{BDA67401-6F0A-4F2E-ABF2-5D2F777AAFCB}"/>
          </ac:spMkLst>
        </pc:spChg>
        <pc:spChg chg="add del mod">
          <ac:chgData name="Chhabra, Aniket" userId="598e0514-bef3-4e71-b6aa-f2edd6441cff" providerId="ADAL" clId="{D0608F18-3840-4CA3-9A99-D984B41683E5}" dt="2020-12-25T03:41:37.401" v="2593"/>
          <ac:spMkLst>
            <pc:docMk/>
            <pc:sldMk cId="4003175818" sldId="275"/>
            <ac:spMk id="145" creationId="{4A92B6CD-76C5-46CB-BA71-98AA697AD47E}"/>
          </ac:spMkLst>
        </pc:spChg>
        <pc:spChg chg="add del mod">
          <ac:chgData name="Chhabra, Aniket" userId="598e0514-bef3-4e71-b6aa-f2edd6441cff" providerId="ADAL" clId="{D0608F18-3840-4CA3-9A99-D984B41683E5}" dt="2020-12-25T03:41:37.401" v="2593"/>
          <ac:spMkLst>
            <pc:docMk/>
            <pc:sldMk cId="4003175818" sldId="275"/>
            <ac:spMk id="146" creationId="{C7677CA3-D486-4A1A-A731-A8EBDF188172}"/>
          </ac:spMkLst>
        </pc:spChg>
        <pc:spChg chg="add del mod">
          <ac:chgData name="Chhabra, Aniket" userId="598e0514-bef3-4e71-b6aa-f2edd6441cff" providerId="ADAL" clId="{D0608F18-3840-4CA3-9A99-D984B41683E5}" dt="2020-12-25T03:41:37.401" v="2593"/>
          <ac:spMkLst>
            <pc:docMk/>
            <pc:sldMk cId="4003175818" sldId="275"/>
            <ac:spMk id="147" creationId="{5ABAC640-06D5-4ABB-B47E-52BB259E4C38}"/>
          </ac:spMkLst>
        </pc:spChg>
        <pc:spChg chg="add del mod">
          <ac:chgData name="Chhabra, Aniket" userId="598e0514-bef3-4e71-b6aa-f2edd6441cff" providerId="ADAL" clId="{D0608F18-3840-4CA3-9A99-D984B41683E5}" dt="2020-12-25T03:41:37.401" v="2593"/>
          <ac:spMkLst>
            <pc:docMk/>
            <pc:sldMk cId="4003175818" sldId="275"/>
            <ac:spMk id="148" creationId="{587D4E87-B7A8-4553-9FDA-8781D4A3845F}"/>
          </ac:spMkLst>
        </pc:spChg>
        <pc:spChg chg="add del mod">
          <ac:chgData name="Chhabra, Aniket" userId="598e0514-bef3-4e71-b6aa-f2edd6441cff" providerId="ADAL" clId="{D0608F18-3840-4CA3-9A99-D984B41683E5}" dt="2020-12-25T03:41:37.401" v="2593"/>
          <ac:spMkLst>
            <pc:docMk/>
            <pc:sldMk cId="4003175818" sldId="275"/>
            <ac:spMk id="149" creationId="{80BA403A-6A89-401E-90F4-0F78E81DB4DC}"/>
          </ac:spMkLst>
        </pc:spChg>
        <pc:spChg chg="add mod">
          <ac:chgData name="Chhabra, Aniket" userId="598e0514-bef3-4e71-b6aa-f2edd6441cff" providerId="ADAL" clId="{D0608F18-3840-4CA3-9A99-D984B41683E5}" dt="2020-12-25T03:41:57.773" v="2598" actId="1076"/>
          <ac:spMkLst>
            <pc:docMk/>
            <pc:sldMk cId="4003175818" sldId="275"/>
            <ac:spMk id="150" creationId="{CCC0A9AB-725F-42C5-BC2A-F01C8E815736}"/>
          </ac:spMkLst>
        </pc:spChg>
        <pc:spChg chg="add mod">
          <ac:chgData name="Chhabra, Aniket" userId="598e0514-bef3-4e71-b6aa-f2edd6441cff" providerId="ADAL" clId="{D0608F18-3840-4CA3-9A99-D984B41683E5}" dt="2020-12-25T03:41:49.105" v="2597" actId="255"/>
          <ac:spMkLst>
            <pc:docMk/>
            <pc:sldMk cId="4003175818" sldId="275"/>
            <ac:spMk id="151" creationId="{7033D7D7-1BE1-4E6A-A268-AD160F2D0EAF}"/>
          </ac:spMkLst>
        </pc:spChg>
        <pc:spChg chg="add mod">
          <ac:chgData name="Chhabra, Aniket" userId="598e0514-bef3-4e71-b6aa-f2edd6441cff" providerId="ADAL" clId="{D0608F18-3840-4CA3-9A99-D984B41683E5}" dt="2020-12-25T03:41:49.105" v="2597" actId="255"/>
          <ac:spMkLst>
            <pc:docMk/>
            <pc:sldMk cId="4003175818" sldId="275"/>
            <ac:spMk id="152" creationId="{8A029803-1917-48C8-938E-D537B6D1D7FF}"/>
          </ac:spMkLst>
        </pc:spChg>
        <pc:spChg chg="add mod">
          <ac:chgData name="Chhabra, Aniket" userId="598e0514-bef3-4e71-b6aa-f2edd6441cff" providerId="ADAL" clId="{D0608F18-3840-4CA3-9A99-D984B41683E5}" dt="2020-12-25T03:41:57.773" v="2598" actId="1076"/>
          <ac:spMkLst>
            <pc:docMk/>
            <pc:sldMk cId="4003175818" sldId="275"/>
            <ac:spMk id="153" creationId="{1DAEEA0F-4B95-406F-A687-7753697FC42E}"/>
          </ac:spMkLst>
        </pc:spChg>
        <pc:spChg chg="add mod">
          <ac:chgData name="Chhabra, Aniket" userId="598e0514-bef3-4e71-b6aa-f2edd6441cff" providerId="ADAL" clId="{D0608F18-3840-4CA3-9A99-D984B41683E5}" dt="2020-12-25T03:41:57.773" v="2598" actId="1076"/>
          <ac:spMkLst>
            <pc:docMk/>
            <pc:sldMk cId="4003175818" sldId="275"/>
            <ac:spMk id="154" creationId="{34C36DB2-27E1-4D9A-9345-63D71E43EBF3}"/>
          </ac:spMkLst>
        </pc:spChg>
        <pc:spChg chg="add mod">
          <ac:chgData name="Chhabra, Aniket" userId="598e0514-bef3-4e71-b6aa-f2edd6441cff" providerId="ADAL" clId="{D0608F18-3840-4CA3-9A99-D984B41683E5}" dt="2020-12-25T03:41:57.773" v="2598" actId="1076"/>
          <ac:spMkLst>
            <pc:docMk/>
            <pc:sldMk cId="4003175818" sldId="275"/>
            <ac:spMk id="155" creationId="{6C12F220-72D0-4E2F-8D93-2C6740DD0DC8}"/>
          </ac:spMkLst>
        </pc:spChg>
        <pc:spChg chg="add mod">
          <ac:chgData name="Chhabra, Aniket" userId="598e0514-bef3-4e71-b6aa-f2edd6441cff" providerId="ADAL" clId="{D0608F18-3840-4CA3-9A99-D984B41683E5}" dt="2020-12-25T03:41:57.773" v="2598" actId="1076"/>
          <ac:spMkLst>
            <pc:docMk/>
            <pc:sldMk cId="4003175818" sldId="275"/>
            <ac:spMk id="156" creationId="{C1002981-66B7-4D45-8381-86015917F30C}"/>
          </ac:spMkLst>
        </pc:spChg>
        <pc:spChg chg="add mod">
          <ac:chgData name="Chhabra, Aniket" userId="598e0514-bef3-4e71-b6aa-f2edd6441cff" providerId="ADAL" clId="{D0608F18-3840-4CA3-9A99-D984B41683E5}" dt="2020-12-25T03:41:57.773" v="2598" actId="1076"/>
          <ac:spMkLst>
            <pc:docMk/>
            <pc:sldMk cId="4003175818" sldId="275"/>
            <ac:spMk id="157" creationId="{5DD73112-56B3-4311-81E0-5E200EB6C8F0}"/>
          </ac:spMkLst>
        </pc:spChg>
        <pc:spChg chg="add mod">
          <ac:chgData name="Chhabra, Aniket" userId="598e0514-bef3-4e71-b6aa-f2edd6441cff" providerId="ADAL" clId="{D0608F18-3840-4CA3-9A99-D984B41683E5}" dt="2020-12-25T03:41:57.773" v="2598" actId="1076"/>
          <ac:spMkLst>
            <pc:docMk/>
            <pc:sldMk cId="4003175818" sldId="275"/>
            <ac:spMk id="158" creationId="{1F65D8E2-81D3-4A80-B158-B15FBB90504E}"/>
          </ac:spMkLst>
        </pc:spChg>
        <pc:spChg chg="add mod">
          <ac:chgData name="Chhabra, Aniket" userId="598e0514-bef3-4e71-b6aa-f2edd6441cff" providerId="ADAL" clId="{D0608F18-3840-4CA3-9A99-D984B41683E5}" dt="2020-12-25T03:41:57.773" v="2598" actId="1076"/>
          <ac:spMkLst>
            <pc:docMk/>
            <pc:sldMk cId="4003175818" sldId="275"/>
            <ac:spMk id="159" creationId="{0AE44136-C07C-4365-B451-5B2FD352C669}"/>
          </ac:spMkLst>
        </pc:spChg>
        <pc:spChg chg="add mod">
          <ac:chgData name="Chhabra, Aniket" userId="598e0514-bef3-4e71-b6aa-f2edd6441cff" providerId="ADAL" clId="{D0608F18-3840-4CA3-9A99-D984B41683E5}" dt="2020-12-25T03:41:57.773" v="2598" actId="1076"/>
          <ac:spMkLst>
            <pc:docMk/>
            <pc:sldMk cId="4003175818" sldId="275"/>
            <ac:spMk id="160" creationId="{479E80AC-184A-4EA3-8628-B0B00D4696F1}"/>
          </ac:spMkLst>
        </pc:spChg>
        <pc:spChg chg="add mod">
          <ac:chgData name="Chhabra, Aniket" userId="598e0514-bef3-4e71-b6aa-f2edd6441cff" providerId="ADAL" clId="{D0608F18-3840-4CA3-9A99-D984B41683E5}" dt="2020-12-25T03:41:57.773" v="2598" actId="1076"/>
          <ac:spMkLst>
            <pc:docMk/>
            <pc:sldMk cId="4003175818" sldId="275"/>
            <ac:spMk id="161" creationId="{260BC3B2-F6CD-4E06-8985-384BA7A6E1BC}"/>
          </ac:spMkLst>
        </pc:spChg>
        <pc:spChg chg="add mod">
          <ac:chgData name="Chhabra, Aniket" userId="598e0514-bef3-4e71-b6aa-f2edd6441cff" providerId="ADAL" clId="{D0608F18-3840-4CA3-9A99-D984B41683E5}" dt="2020-12-25T03:41:57.773" v="2598" actId="1076"/>
          <ac:spMkLst>
            <pc:docMk/>
            <pc:sldMk cId="4003175818" sldId="275"/>
            <ac:spMk id="162" creationId="{992FC258-2FDA-46F7-96D3-07E1DF5CAB42}"/>
          </ac:spMkLst>
        </pc:spChg>
        <pc:spChg chg="add mod">
          <ac:chgData name="Chhabra, Aniket" userId="598e0514-bef3-4e71-b6aa-f2edd6441cff" providerId="ADAL" clId="{D0608F18-3840-4CA3-9A99-D984B41683E5}" dt="2020-12-25T03:41:57.773" v="2598" actId="1076"/>
          <ac:spMkLst>
            <pc:docMk/>
            <pc:sldMk cId="4003175818" sldId="275"/>
            <ac:spMk id="163" creationId="{D8A772F2-CE8E-4DFB-B2A3-990585863355}"/>
          </ac:spMkLst>
        </pc:spChg>
        <pc:spChg chg="add mod">
          <ac:chgData name="Chhabra, Aniket" userId="598e0514-bef3-4e71-b6aa-f2edd6441cff" providerId="ADAL" clId="{D0608F18-3840-4CA3-9A99-D984B41683E5}" dt="2020-12-25T03:41:57.773" v="2598" actId="1076"/>
          <ac:spMkLst>
            <pc:docMk/>
            <pc:sldMk cId="4003175818" sldId="275"/>
            <ac:spMk id="164" creationId="{FA78909B-850A-47EE-8864-28C65E232953}"/>
          </ac:spMkLst>
        </pc:spChg>
        <pc:spChg chg="add mod">
          <ac:chgData name="Chhabra, Aniket" userId="598e0514-bef3-4e71-b6aa-f2edd6441cff" providerId="ADAL" clId="{D0608F18-3840-4CA3-9A99-D984B41683E5}" dt="2020-12-25T03:41:57.773" v="2598" actId="1076"/>
          <ac:spMkLst>
            <pc:docMk/>
            <pc:sldMk cId="4003175818" sldId="275"/>
            <ac:spMk id="165" creationId="{0EEB9895-389C-4130-B284-402A79B17128}"/>
          </ac:spMkLst>
        </pc:spChg>
        <pc:spChg chg="add mod">
          <ac:chgData name="Chhabra, Aniket" userId="598e0514-bef3-4e71-b6aa-f2edd6441cff" providerId="ADAL" clId="{D0608F18-3840-4CA3-9A99-D984B41683E5}" dt="2020-12-25T03:41:57.773" v="2598" actId="1076"/>
          <ac:spMkLst>
            <pc:docMk/>
            <pc:sldMk cId="4003175818" sldId="275"/>
            <ac:spMk id="166" creationId="{0A74A618-1A66-49AF-8426-A1793BB13EDB}"/>
          </ac:spMkLst>
        </pc:spChg>
        <pc:spChg chg="add mod">
          <ac:chgData name="Chhabra, Aniket" userId="598e0514-bef3-4e71-b6aa-f2edd6441cff" providerId="ADAL" clId="{D0608F18-3840-4CA3-9A99-D984B41683E5}" dt="2020-12-25T03:41:57.773" v="2598" actId="1076"/>
          <ac:spMkLst>
            <pc:docMk/>
            <pc:sldMk cId="4003175818" sldId="275"/>
            <ac:spMk id="167" creationId="{52BFFDF4-0AA6-4A13-B576-98C2906C86B0}"/>
          </ac:spMkLst>
        </pc:spChg>
        <pc:spChg chg="add mod">
          <ac:chgData name="Chhabra, Aniket" userId="598e0514-bef3-4e71-b6aa-f2edd6441cff" providerId="ADAL" clId="{D0608F18-3840-4CA3-9A99-D984B41683E5}" dt="2020-12-25T03:41:57.773" v="2598" actId="1076"/>
          <ac:spMkLst>
            <pc:docMk/>
            <pc:sldMk cId="4003175818" sldId="275"/>
            <ac:spMk id="168" creationId="{E4010804-0B4F-4C05-82A1-342566F5EF84}"/>
          </ac:spMkLst>
        </pc:spChg>
        <pc:spChg chg="add mod">
          <ac:chgData name="Chhabra, Aniket" userId="598e0514-bef3-4e71-b6aa-f2edd6441cff" providerId="ADAL" clId="{D0608F18-3840-4CA3-9A99-D984B41683E5}" dt="2020-12-25T03:41:57.773" v="2598" actId="1076"/>
          <ac:spMkLst>
            <pc:docMk/>
            <pc:sldMk cId="4003175818" sldId="275"/>
            <ac:spMk id="169" creationId="{5568815B-9298-4F2D-B0DA-9A6D3C28FE41}"/>
          </ac:spMkLst>
        </pc:spChg>
        <pc:spChg chg="add mod">
          <ac:chgData name="Chhabra, Aniket" userId="598e0514-bef3-4e71-b6aa-f2edd6441cff" providerId="ADAL" clId="{D0608F18-3840-4CA3-9A99-D984B41683E5}" dt="2020-12-25T03:41:57.773" v="2598" actId="1076"/>
          <ac:spMkLst>
            <pc:docMk/>
            <pc:sldMk cId="4003175818" sldId="275"/>
            <ac:spMk id="170" creationId="{97D6CAD0-A320-4D9B-BA21-6A367150DCC3}"/>
          </ac:spMkLst>
        </pc:spChg>
        <pc:spChg chg="add mod">
          <ac:chgData name="Chhabra, Aniket" userId="598e0514-bef3-4e71-b6aa-f2edd6441cff" providerId="ADAL" clId="{D0608F18-3840-4CA3-9A99-D984B41683E5}" dt="2020-12-25T03:41:57.773" v="2598" actId="1076"/>
          <ac:spMkLst>
            <pc:docMk/>
            <pc:sldMk cId="4003175818" sldId="275"/>
            <ac:spMk id="171" creationId="{A7245CE1-6FC4-4162-812E-48965EB6D79B}"/>
          </ac:spMkLst>
        </pc:spChg>
        <pc:spChg chg="add mod">
          <ac:chgData name="Chhabra, Aniket" userId="598e0514-bef3-4e71-b6aa-f2edd6441cff" providerId="ADAL" clId="{D0608F18-3840-4CA3-9A99-D984B41683E5}" dt="2020-12-25T03:41:57.773" v="2598" actId="1076"/>
          <ac:spMkLst>
            <pc:docMk/>
            <pc:sldMk cId="4003175818" sldId="275"/>
            <ac:spMk id="172" creationId="{D5AC9664-8E93-4FE0-9473-2C354979AF92}"/>
          </ac:spMkLst>
        </pc:spChg>
        <pc:spChg chg="add mod">
          <ac:chgData name="Chhabra, Aniket" userId="598e0514-bef3-4e71-b6aa-f2edd6441cff" providerId="ADAL" clId="{D0608F18-3840-4CA3-9A99-D984B41683E5}" dt="2020-12-25T03:41:57.773" v="2598" actId="1076"/>
          <ac:spMkLst>
            <pc:docMk/>
            <pc:sldMk cId="4003175818" sldId="275"/>
            <ac:spMk id="173" creationId="{1F293936-359C-41D8-BAD5-2EB5116AF52E}"/>
          </ac:spMkLst>
        </pc:spChg>
        <pc:spChg chg="add mod">
          <ac:chgData name="Chhabra, Aniket" userId="598e0514-bef3-4e71-b6aa-f2edd6441cff" providerId="ADAL" clId="{D0608F18-3840-4CA3-9A99-D984B41683E5}" dt="2020-12-25T03:41:49.105" v="2597" actId="255"/>
          <ac:spMkLst>
            <pc:docMk/>
            <pc:sldMk cId="4003175818" sldId="275"/>
            <ac:spMk id="174" creationId="{4D1015C2-8E4E-4627-9DC1-257F466568D9}"/>
          </ac:spMkLst>
        </pc:spChg>
        <pc:spChg chg="add mod">
          <ac:chgData name="Chhabra, Aniket" userId="598e0514-bef3-4e71-b6aa-f2edd6441cff" providerId="ADAL" clId="{D0608F18-3840-4CA3-9A99-D984B41683E5}" dt="2020-12-25T03:41:49.105" v="2597" actId="255"/>
          <ac:spMkLst>
            <pc:docMk/>
            <pc:sldMk cId="4003175818" sldId="275"/>
            <ac:spMk id="175" creationId="{91B0F771-A79A-49A9-BCDC-851333E45070}"/>
          </ac:spMkLst>
        </pc:spChg>
        <pc:spChg chg="add mod">
          <ac:chgData name="Chhabra, Aniket" userId="598e0514-bef3-4e71-b6aa-f2edd6441cff" providerId="ADAL" clId="{D0608F18-3840-4CA3-9A99-D984B41683E5}" dt="2020-12-25T03:41:49.105" v="2597" actId="255"/>
          <ac:spMkLst>
            <pc:docMk/>
            <pc:sldMk cId="4003175818" sldId="275"/>
            <ac:spMk id="176" creationId="{ACA763C7-ABBD-408C-A1F2-3EA08DA911AB}"/>
          </ac:spMkLst>
        </pc:spChg>
        <pc:spChg chg="add mod">
          <ac:chgData name="Chhabra, Aniket" userId="598e0514-bef3-4e71-b6aa-f2edd6441cff" providerId="ADAL" clId="{D0608F18-3840-4CA3-9A99-D984B41683E5}" dt="2020-12-25T03:41:49.105" v="2597" actId="255"/>
          <ac:spMkLst>
            <pc:docMk/>
            <pc:sldMk cId="4003175818" sldId="275"/>
            <ac:spMk id="177" creationId="{83CA88D0-1599-4F27-B61F-8F3E38081767}"/>
          </ac:spMkLst>
        </pc:spChg>
        <pc:spChg chg="add mod">
          <ac:chgData name="Chhabra, Aniket" userId="598e0514-bef3-4e71-b6aa-f2edd6441cff" providerId="ADAL" clId="{D0608F18-3840-4CA3-9A99-D984B41683E5}" dt="2020-12-25T03:41:49.105" v="2597" actId="255"/>
          <ac:spMkLst>
            <pc:docMk/>
            <pc:sldMk cId="4003175818" sldId="275"/>
            <ac:spMk id="178" creationId="{48F633C1-A2DA-41F5-8747-617612FC1665}"/>
          </ac:spMkLst>
        </pc:spChg>
        <pc:spChg chg="add mod">
          <ac:chgData name="Chhabra, Aniket" userId="598e0514-bef3-4e71-b6aa-f2edd6441cff" providerId="ADAL" clId="{D0608F18-3840-4CA3-9A99-D984B41683E5}" dt="2020-12-25T03:41:49.105" v="2597" actId="255"/>
          <ac:spMkLst>
            <pc:docMk/>
            <pc:sldMk cId="4003175818" sldId="275"/>
            <ac:spMk id="179" creationId="{E02C6735-5898-43B6-A0CE-553CF78372D2}"/>
          </ac:spMkLst>
        </pc:spChg>
        <pc:spChg chg="add mod">
          <ac:chgData name="Chhabra, Aniket" userId="598e0514-bef3-4e71-b6aa-f2edd6441cff" providerId="ADAL" clId="{D0608F18-3840-4CA3-9A99-D984B41683E5}" dt="2020-12-25T03:41:49.105" v="2597" actId="255"/>
          <ac:spMkLst>
            <pc:docMk/>
            <pc:sldMk cId="4003175818" sldId="275"/>
            <ac:spMk id="180" creationId="{FE7B642C-A58B-41A0-9ABA-C79C218DF331}"/>
          </ac:spMkLst>
        </pc:spChg>
        <pc:spChg chg="add mod">
          <ac:chgData name="Chhabra, Aniket" userId="598e0514-bef3-4e71-b6aa-f2edd6441cff" providerId="ADAL" clId="{D0608F18-3840-4CA3-9A99-D984B41683E5}" dt="2020-12-25T03:41:49.105" v="2597" actId="255"/>
          <ac:spMkLst>
            <pc:docMk/>
            <pc:sldMk cId="4003175818" sldId="275"/>
            <ac:spMk id="181" creationId="{FD1934AC-3C1B-4921-85CC-6D289EA560F6}"/>
          </ac:spMkLst>
        </pc:spChg>
        <pc:spChg chg="add mod">
          <ac:chgData name="Chhabra, Aniket" userId="598e0514-bef3-4e71-b6aa-f2edd6441cff" providerId="ADAL" clId="{D0608F18-3840-4CA3-9A99-D984B41683E5}" dt="2020-12-25T03:41:49.105" v="2597" actId="255"/>
          <ac:spMkLst>
            <pc:docMk/>
            <pc:sldMk cId="4003175818" sldId="275"/>
            <ac:spMk id="182" creationId="{69117A07-FE4E-4DA1-B36D-6BC7D453E80E}"/>
          </ac:spMkLst>
        </pc:spChg>
        <pc:spChg chg="add mod">
          <ac:chgData name="Chhabra, Aniket" userId="598e0514-bef3-4e71-b6aa-f2edd6441cff" providerId="ADAL" clId="{D0608F18-3840-4CA3-9A99-D984B41683E5}" dt="2020-12-25T03:41:49.105" v="2597" actId="255"/>
          <ac:spMkLst>
            <pc:docMk/>
            <pc:sldMk cId="4003175818" sldId="275"/>
            <ac:spMk id="183" creationId="{506906E0-5908-49C2-9183-2CC3444E62AB}"/>
          </ac:spMkLst>
        </pc:spChg>
        <pc:spChg chg="add mod">
          <ac:chgData name="Chhabra, Aniket" userId="598e0514-bef3-4e71-b6aa-f2edd6441cff" providerId="ADAL" clId="{D0608F18-3840-4CA3-9A99-D984B41683E5}" dt="2020-12-25T03:41:49.105" v="2597" actId="255"/>
          <ac:spMkLst>
            <pc:docMk/>
            <pc:sldMk cId="4003175818" sldId="275"/>
            <ac:spMk id="184" creationId="{8EFA171C-D457-4032-9F4E-85F6AA332C64}"/>
          </ac:spMkLst>
        </pc:spChg>
        <pc:spChg chg="add mod">
          <ac:chgData name="Chhabra, Aniket" userId="598e0514-bef3-4e71-b6aa-f2edd6441cff" providerId="ADAL" clId="{D0608F18-3840-4CA3-9A99-D984B41683E5}" dt="2020-12-25T03:41:49.105" v="2597" actId="255"/>
          <ac:spMkLst>
            <pc:docMk/>
            <pc:sldMk cId="4003175818" sldId="275"/>
            <ac:spMk id="185" creationId="{F4C52B33-3B8C-43D6-A5B1-746EC3C2EA7B}"/>
          </ac:spMkLst>
        </pc:spChg>
        <pc:spChg chg="add mod">
          <ac:chgData name="Chhabra, Aniket" userId="598e0514-bef3-4e71-b6aa-f2edd6441cff" providerId="ADAL" clId="{D0608F18-3840-4CA3-9A99-D984B41683E5}" dt="2020-12-25T03:41:49.105" v="2597" actId="255"/>
          <ac:spMkLst>
            <pc:docMk/>
            <pc:sldMk cId="4003175818" sldId="275"/>
            <ac:spMk id="186" creationId="{DE26054B-EE40-4B82-B3F0-2A9D466E2F50}"/>
          </ac:spMkLst>
        </pc:spChg>
        <pc:spChg chg="add mod">
          <ac:chgData name="Chhabra, Aniket" userId="598e0514-bef3-4e71-b6aa-f2edd6441cff" providerId="ADAL" clId="{D0608F18-3840-4CA3-9A99-D984B41683E5}" dt="2020-12-25T03:41:49.105" v="2597" actId="255"/>
          <ac:spMkLst>
            <pc:docMk/>
            <pc:sldMk cId="4003175818" sldId="275"/>
            <ac:spMk id="187" creationId="{AEFED18A-8BF1-4653-BDD8-9AD2FC57DD3B}"/>
          </ac:spMkLst>
        </pc:spChg>
        <pc:spChg chg="add mod">
          <ac:chgData name="Chhabra, Aniket" userId="598e0514-bef3-4e71-b6aa-f2edd6441cff" providerId="ADAL" clId="{D0608F18-3840-4CA3-9A99-D984B41683E5}" dt="2020-12-25T03:41:49.105" v="2597" actId="255"/>
          <ac:spMkLst>
            <pc:docMk/>
            <pc:sldMk cId="4003175818" sldId="275"/>
            <ac:spMk id="188" creationId="{D3F44914-D316-4A85-8D93-35C3D9F6840E}"/>
          </ac:spMkLst>
        </pc:spChg>
        <pc:spChg chg="add mod">
          <ac:chgData name="Chhabra, Aniket" userId="598e0514-bef3-4e71-b6aa-f2edd6441cff" providerId="ADAL" clId="{D0608F18-3840-4CA3-9A99-D984B41683E5}" dt="2020-12-25T03:41:49.105" v="2597" actId="255"/>
          <ac:spMkLst>
            <pc:docMk/>
            <pc:sldMk cId="4003175818" sldId="275"/>
            <ac:spMk id="189" creationId="{C2E83052-82BB-4544-99EA-4DAB547097C6}"/>
          </ac:spMkLst>
        </pc:spChg>
        <pc:spChg chg="add mod">
          <ac:chgData name="Chhabra, Aniket" userId="598e0514-bef3-4e71-b6aa-f2edd6441cff" providerId="ADAL" clId="{D0608F18-3840-4CA3-9A99-D984B41683E5}" dt="2020-12-25T03:41:49.105" v="2597" actId="255"/>
          <ac:spMkLst>
            <pc:docMk/>
            <pc:sldMk cId="4003175818" sldId="275"/>
            <ac:spMk id="190" creationId="{D9B89868-1D42-49DF-BF1F-8E8635EE1C2E}"/>
          </ac:spMkLst>
        </pc:spChg>
        <pc:spChg chg="add mod">
          <ac:chgData name="Chhabra, Aniket" userId="598e0514-bef3-4e71-b6aa-f2edd6441cff" providerId="ADAL" clId="{D0608F18-3840-4CA3-9A99-D984B41683E5}" dt="2020-12-25T03:41:49.105" v="2597" actId="255"/>
          <ac:spMkLst>
            <pc:docMk/>
            <pc:sldMk cId="4003175818" sldId="275"/>
            <ac:spMk id="191" creationId="{97336BA3-23B2-4EF1-89CA-71F603AB3C54}"/>
          </ac:spMkLst>
        </pc:spChg>
        <pc:spChg chg="add mod">
          <ac:chgData name="Chhabra, Aniket" userId="598e0514-bef3-4e71-b6aa-f2edd6441cff" providerId="ADAL" clId="{D0608F18-3840-4CA3-9A99-D984B41683E5}" dt="2020-12-25T03:41:49.105" v="2597" actId="255"/>
          <ac:spMkLst>
            <pc:docMk/>
            <pc:sldMk cId="4003175818" sldId="275"/>
            <ac:spMk id="192" creationId="{2324AA6A-B4F1-4D1D-8DB8-12CF7A3A8238}"/>
          </ac:spMkLst>
        </pc:spChg>
        <pc:spChg chg="add mod">
          <ac:chgData name="Chhabra, Aniket" userId="598e0514-bef3-4e71-b6aa-f2edd6441cff" providerId="ADAL" clId="{D0608F18-3840-4CA3-9A99-D984B41683E5}" dt="2020-12-25T03:41:49.105" v="2597" actId="255"/>
          <ac:spMkLst>
            <pc:docMk/>
            <pc:sldMk cId="4003175818" sldId="275"/>
            <ac:spMk id="193" creationId="{BFD17B5C-95D5-4325-A73E-504DC18E6836}"/>
          </ac:spMkLst>
        </pc:spChg>
        <pc:spChg chg="add mod">
          <ac:chgData name="Chhabra, Aniket" userId="598e0514-bef3-4e71-b6aa-f2edd6441cff" providerId="ADAL" clId="{D0608F18-3840-4CA3-9A99-D984B41683E5}" dt="2020-12-25T03:41:49.105" v="2597" actId="255"/>
          <ac:spMkLst>
            <pc:docMk/>
            <pc:sldMk cId="4003175818" sldId="275"/>
            <ac:spMk id="194" creationId="{1090539A-65A4-4566-9B70-62EF56D90E02}"/>
          </ac:spMkLst>
        </pc:spChg>
        <pc:spChg chg="add mod">
          <ac:chgData name="Chhabra, Aniket" userId="598e0514-bef3-4e71-b6aa-f2edd6441cff" providerId="ADAL" clId="{D0608F18-3840-4CA3-9A99-D984B41683E5}" dt="2020-12-25T03:41:49.105" v="2597" actId="255"/>
          <ac:spMkLst>
            <pc:docMk/>
            <pc:sldMk cId="4003175818" sldId="275"/>
            <ac:spMk id="195" creationId="{B1B11249-3925-49F0-86EA-CF404B190EC7}"/>
          </ac:spMkLst>
        </pc:spChg>
        <pc:spChg chg="add mod">
          <ac:chgData name="Chhabra, Aniket" userId="598e0514-bef3-4e71-b6aa-f2edd6441cff" providerId="ADAL" clId="{D0608F18-3840-4CA3-9A99-D984B41683E5}" dt="2020-12-25T03:41:49.105" v="2597" actId="255"/>
          <ac:spMkLst>
            <pc:docMk/>
            <pc:sldMk cId="4003175818" sldId="275"/>
            <ac:spMk id="196" creationId="{5F25E0C2-6553-494A-9E25-57D8AEC2246A}"/>
          </ac:spMkLst>
        </pc:spChg>
        <pc:spChg chg="add mod">
          <ac:chgData name="Chhabra, Aniket" userId="598e0514-bef3-4e71-b6aa-f2edd6441cff" providerId="ADAL" clId="{D0608F18-3840-4CA3-9A99-D984B41683E5}" dt="2020-12-25T03:41:49.105" v="2597" actId="255"/>
          <ac:spMkLst>
            <pc:docMk/>
            <pc:sldMk cId="4003175818" sldId="275"/>
            <ac:spMk id="197" creationId="{6617106F-4700-468C-83AC-7E1229AABD45}"/>
          </ac:spMkLst>
        </pc:spChg>
        <pc:spChg chg="add mod">
          <ac:chgData name="Chhabra, Aniket" userId="598e0514-bef3-4e71-b6aa-f2edd6441cff" providerId="ADAL" clId="{D0608F18-3840-4CA3-9A99-D984B41683E5}" dt="2020-12-25T03:41:49.105" v="2597" actId="255"/>
          <ac:spMkLst>
            <pc:docMk/>
            <pc:sldMk cId="4003175818" sldId="275"/>
            <ac:spMk id="198" creationId="{1500AEBF-2B93-4463-AD16-6534B468B35E}"/>
          </ac:spMkLst>
        </pc:spChg>
        <pc:spChg chg="add mod">
          <ac:chgData name="Chhabra, Aniket" userId="598e0514-bef3-4e71-b6aa-f2edd6441cff" providerId="ADAL" clId="{D0608F18-3840-4CA3-9A99-D984B41683E5}" dt="2020-12-25T03:41:49.105" v="2597" actId="255"/>
          <ac:spMkLst>
            <pc:docMk/>
            <pc:sldMk cId="4003175818" sldId="275"/>
            <ac:spMk id="199" creationId="{BABC8D78-2E62-4E6F-8703-452B00819603}"/>
          </ac:spMkLst>
        </pc:spChg>
        <pc:spChg chg="add mod">
          <ac:chgData name="Chhabra, Aniket" userId="598e0514-bef3-4e71-b6aa-f2edd6441cff" providerId="ADAL" clId="{D0608F18-3840-4CA3-9A99-D984B41683E5}" dt="2020-12-25T03:41:49.105" v="2597" actId="255"/>
          <ac:spMkLst>
            <pc:docMk/>
            <pc:sldMk cId="4003175818" sldId="275"/>
            <ac:spMk id="200" creationId="{53ECE0E4-723C-4498-BDD8-BEB2BD64F049}"/>
          </ac:spMkLst>
        </pc:spChg>
        <pc:spChg chg="add mod">
          <ac:chgData name="Chhabra, Aniket" userId="598e0514-bef3-4e71-b6aa-f2edd6441cff" providerId="ADAL" clId="{D0608F18-3840-4CA3-9A99-D984B41683E5}" dt="2020-12-25T03:41:49.105" v="2597" actId="255"/>
          <ac:spMkLst>
            <pc:docMk/>
            <pc:sldMk cId="4003175818" sldId="275"/>
            <ac:spMk id="201" creationId="{6634F4D7-E176-4B9C-A314-8C2BA080E929}"/>
          </ac:spMkLst>
        </pc:spChg>
        <pc:spChg chg="add mod">
          <ac:chgData name="Chhabra, Aniket" userId="598e0514-bef3-4e71-b6aa-f2edd6441cff" providerId="ADAL" clId="{D0608F18-3840-4CA3-9A99-D984B41683E5}" dt="2020-12-25T03:41:49.105" v="2597" actId="255"/>
          <ac:spMkLst>
            <pc:docMk/>
            <pc:sldMk cId="4003175818" sldId="275"/>
            <ac:spMk id="202" creationId="{A2759B90-12EF-4E71-A6FC-5F070D32CBA5}"/>
          </ac:spMkLst>
        </pc:spChg>
        <pc:spChg chg="add mod">
          <ac:chgData name="Chhabra, Aniket" userId="598e0514-bef3-4e71-b6aa-f2edd6441cff" providerId="ADAL" clId="{D0608F18-3840-4CA3-9A99-D984B41683E5}" dt="2020-12-25T03:41:49.105" v="2597" actId="255"/>
          <ac:spMkLst>
            <pc:docMk/>
            <pc:sldMk cId="4003175818" sldId="275"/>
            <ac:spMk id="203" creationId="{701B24B7-713F-464D-AF8C-CD2E58E68F96}"/>
          </ac:spMkLst>
        </pc:spChg>
        <pc:spChg chg="add mod">
          <ac:chgData name="Chhabra, Aniket" userId="598e0514-bef3-4e71-b6aa-f2edd6441cff" providerId="ADAL" clId="{D0608F18-3840-4CA3-9A99-D984B41683E5}" dt="2020-12-25T03:41:49.105" v="2597" actId="255"/>
          <ac:spMkLst>
            <pc:docMk/>
            <pc:sldMk cId="4003175818" sldId="275"/>
            <ac:spMk id="204" creationId="{DD17BAC9-32C0-4F64-8BAB-E9B58528FD98}"/>
          </ac:spMkLst>
        </pc:spChg>
        <pc:spChg chg="add mod">
          <ac:chgData name="Chhabra, Aniket" userId="598e0514-bef3-4e71-b6aa-f2edd6441cff" providerId="ADAL" clId="{D0608F18-3840-4CA3-9A99-D984B41683E5}" dt="2020-12-25T03:41:49.105" v="2597" actId="255"/>
          <ac:spMkLst>
            <pc:docMk/>
            <pc:sldMk cId="4003175818" sldId="275"/>
            <ac:spMk id="205" creationId="{08846AFC-6A17-4050-8827-3456A593CC23}"/>
          </ac:spMkLst>
        </pc:spChg>
        <pc:spChg chg="add mod">
          <ac:chgData name="Chhabra, Aniket" userId="598e0514-bef3-4e71-b6aa-f2edd6441cff" providerId="ADAL" clId="{D0608F18-3840-4CA3-9A99-D984B41683E5}" dt="2020-12-25T03:41:49.105" v="2597" actId="255"/>
          <ac:spMkLst>
            <pc:docMk/>
            <pc:sldMk cId="4003175818" sldId="275"/>
            <ac:spMk id="206" creationId="{D8B2E1AD-0DB3-42D9-A6B1-C25ACADB9DF9}"/>
          </ac:spMkLst>
        </pc:spChg>
        <pc:spChg chg="add mod">
          <ac:chgData name="Chhabra, Aniket" userId="598e0514-bef3-4e71-b6aa-f2edd6441cff" providerId="ADAL" clId="{D0608F18-3840-4CA3-9A99-D984B41683E5}" dt="2020-12-25T03:41:49.105" v="2597" actId="255"/>
          <ac:spMkLst>
            <pc:docMk/>
            <pc:sldMk cId="4003175818" sldId="275"/>
            <ac:spMk id="207" creationId="{21901061-256E-4095-BC33-A75F82F26C51}"/>
          </ac:spMkLst>
        </pc:spChg>
        <pc:spChg chg="add mod">
          <ac:chgData name="Chhabra, Aniket" userId="598e0514-bef3-4e71-b6aa-f2edd6441cff" providerId="ADAL" clId="{D0608F18-3840-4CA3-9A99-D984B41683E5}" dt="2020-12-25T03:41:49.105" v="2597" actId="255"/>
          <ac:spMkLst>
            <pc:docMk/>
            <pc:sldMk cId="4003175818" sldId="275"/>
            <ac:spMk id="208" creationId="{8468A4C9-F40E-41A8-B5F3-5E3D355A425A}"/>
          </ac:spMkLst>
        </pc:spChg>
        <pc:spChg chg="add mod">
          <ac:chgData name="Chhabra, Aniket" userId="598e0514-bef3-4e71-b6aa-f2edd6441cff" providerId="ADAL" clId="{D0608F18-3840-4CA3-9A99-D984B41683E5}" dt="2020-12-25T03:41:49.105" v="2597" actId="255"/>
          <ac:spMkLst>
            <pc:docMk/>
            <pc:sldMk cId="4003175818" sldId="275"/>
            <ac:spMk id="209" creationId="{4E476D78-8808-4596-A1AF-04C0F78FA748}"/>
          </ac:spMkLst>
        </pc:spChg>
        <pc:spChg chg="add mod">
          <ac:chgData name="Chhabra, Aniket" userId="598e0514-bef3-4e71-b6aa-f2edd6441cff" providerId="ADAL" clId="{D0608F18-3840-4CA3-9A99-D984B41683E5}" dt="2020-12-25T03:41:49.105" v="2597" actId="255"/>
          <ac:spMkLst>
            <pc:docMk/>
            <pc:sldMk cId="4003175818" sldId="275"/>
            <ac:spMk id="210" creationId="{67CCE26C-7517-460D-A959-52FF19DC56DD}"/>
          </ac:spMkLst>
        </pc:spChg>
        <pc:spChg chg="add mod">
          <ac:chgData name="Chhabra, Aniket" userId="598e0514-bef3-4e71-b6aa-f2edd6441cff" providerId="ADAL" clId="{D0608F18-3840-4CA3-9A99-D984B41683E5}" dt="2020-12-25T03:41:49.105" v="2597" actId="255"/>
          <ac:spMkLst>
            <pc:docMk/>
            <pc:sldMk cId="4003175818" sldId="275"/>
            <ac:spMk id="211" creationId="{9900C0FB-C84F-461C-84B3-8F910C0B30AD}"/>
          </ac:spMkLst>
        </pc:spChg>
        <pc:spChg chg="add mod">
          <ac:chgData name="Chhabra, Aniket" userId="598e0514-bef3-4e71-b6aa-f2edd6441cff" providerId="ADAL" clId="{D0608F18-3840-4CA3-9A99-D984B41683E5}" dt="2020-12-25T03:41:49.105" v="2597" actId="255"/>
          <ac:spMkLst>
            <pc:docMk/>
            <pc:sldMk cId="4003175818" sldId="275"/>
            <ac:spMk id="212" creationId="{4FCDE80F-C421-4662-B6C7-22E9D7916470}"/>
          </ac:spMkLst>
        </pc:spChg>
        <pc:spChg chg="add mod">
          <ac:chgData name="Chhabra, Aniket" userId="598e0514-bef3-4e71-b6aa-f2edd6441cff" providerId="ADAL" clId="{D0608F18-3840-4CA3-9A99-D984B41683E5}" dt="2020-12-25T03:41:49.105" v="2597" actId="255"/>
          <ac:spMkLst>
            <pc:docMk/>
            <pc:sldMk cId="4003175818" sldId="275"/>
            <ac:spMk id="213" creationId="{D6BBF3DD-164C-465B-BFC3-E5100495C2C5}"/>
          </ac:spMkLst>
        </pc:spChg>
        <pc:spChg chg="add mod">
          <ac:chgData name="Chhabra, Aniket" userId="598e0514-bef3-4e71-b6aa-f2edd6441cff" providerId="ADAL" clId="{D0608F18-3840-4CA3-9A99-D984B41683E5}" dt="2020-12-25T03:41:49.105" v="2597" actId="255"/>
          <ac:spMkLst>
            <pc:docMk/>
            <pc:sldMk cId="4003175818" sldId="275"/>
            <ac:spMk id="214" creationId="{9A416823-6A10-4AB9-B9A2-5A5FE1980F78}"/>
          </ac:spMkLst>
        </pc:spChg>
        <pc:spChg chg="add mod">
          <ac:chgData name="Chhabra, Aniket" userId="598e0514-bef3-4e71-b6aa-f2edd6441cff" providerId="ADAL" clId="{D0608F18-3840-4CA3-9A99-D984B41683E5}" dt="2020-12-25T03:41:49.105" v="2597" actId="255"/>
          <ac:spMkLst>
            <pc:docMk/>
            <pc:sldMk cId="4003175818" sldId="275"/>
            <ac:spMk id="215" creationId="{F1B8A104-6817-4F58-84B3-CBBE37BB6074}"/>
          </ac:spMkLst>
        </pc:spChg>
        <pc:spChg chg="add mod">
          <ac:chgData name="Chhabra, Aniket" userId="598e0514-bef3-4e71-b6aa-f2edd6441cff" providerId="ADAL" clId="{D0608F18-3840-4CA3-9A99-D984B41683E5}" dt="2020-12-25T03:41:49.105" v="2597" actId="255"/>
          <ac:spMkLst>
            <pc:docMk/>
            <pc:sldMk cId="4003175818" sldId="275"/>
            <ac:spMk id="216" creationId="{D3B76DF2-62CA-4D12-9D9C-691CBA69D21E}"/>
          </ac:spMkLst>
        </pc:spChg>
        <pc:picChg chg="del">
          <ac:chgData name="Chhabra, Aniket" userId="598e0514-bef3-4e71-b6aa-f2edd6441cff" providerId="ADAL" clId="{D0608F18-3840-4CA3-9A99-D984B41683E5}" dt="2020-12-25T03:39:39.848" v="2534" actId="478"/>
          <ac:picMkLst>
            <pc:docMk/>
            <pc:sldMk cId="4003175818" sldId="275"/>
            <ac:picMk id="8" creationId="{55DF5014-E3EA-432F-9E45-BB589B614F9C}"/>
          </ac:picMkLst>
        </pc:picChg>
        <pc:picChg chg="del">
          <ac:chgData name="Chhabra, Aniket" userId="598e0514-bef3-4e71-b6aa-f2edd6441cff" providerId="ADAL" clId="{D0608F18-3840-4CA3-9A99-D984B41683E5}" dt="2020-12-25T03:39:41.067" v="2535" actId="478"/>
          <ac:picMkLst>
            <pc:docMk/>
            <pc:sldMk cId="4003175818" sldId="275"/>
            <ac:picMk id="11" creationId="{21E3AF37-23A0-4687-8518-53B3B4020FE9}"/>
          </ac:picMkLst>
        </pc:picChg>
      </pc:sldChg>
      <pc:sldChg chg="new del">
        <pc:chgData name="Chhabra, Aniket" userId="598e0514-bef3-4e71-b6aa-f2edd6441cff" providerId="ADAL" clId="{D0608F18-3840-4CA3-9A99-D984B41683E5}" dt="2020-12-27T01:17:22.249" v="2807" actId="680"/>
        <pc:sldMkLst>
          <pc:docMk/>
          <pc:sldMk cId="4145089229" sldId="276"/>
        </pc:sldMkLst>
      </pc:sldChg>
      <pc:sldChg chg="addSp delSp modSp add mod">
        <pc:chgData name="Chhabra, Aniket" userId="598e0514-bef3-4e71-b6aa-f2edd6441cff" providerId="ADAL" clId="{D0608F18-3840-4CA3-9A99-D984B41683E5}" dt="2020-12-27T01:19:53.198" v="2843" actId="403"/>
        <pc:sldMkLst>
          <pc:docMk/>
          <pc:sldMk cId="4289157764" sldId="276"/>
        </pc:sldMkLst>
        <pc:spChg chg="mod">
          <ac:chgData name="Chhabra, Aniket" userId="598e0514-bef3-4e71-b6aa-f2edd6441cff" providerId="ADAL" clId="{D0608F18-3840-4CA3-9A99-D984B41683E5}" dt="2020-12-27T01:18:20.806" v="2815"/>
          <ac:spMkLst>
            <pc:docMk/>
            <pc:sldMk cId="4289157764" sldId="276"/>
            <ac:spMk id="2" creationId="{8930873A-47BB-4799-A633-7CD6F940B805}"/>
          </ac:spMkLst>
        </pc:spChg>
        <pc:spChg chg="add mod">
          <ac:chgData name="Chhabra, Aniket" userId="598e0514-bef3-4e71-b6aa-f2edd6441cff" providerId="ADAL" clId="{D0608F18-3840-4CA3-9A99-D984B41683E5}" dt="2020-12-27T01:19:38.971" v="2831" actId="404"/>
          <ac:spMkLst>
            <pc:docMk/>
            <pc:sldMk cId="4289157764" sldId="276"/>
            <ac:spMk id="9" creationId="{517E0D4D-730F-4C8E-93F2-2D6D3D47619B}"/>
          </ac:spMkLst>
        </pc:spChg>
        <pc:spChg chg="del">
          <ac:chgData name="Chhabra, Aniket" userId="598e0514-bef3-4e71-b6aa-f2edd6441cff" providerId="ADAL" clId="{D0608F18-3840-4CA3-9A99-D984B41683E5}" dt="2020-12-27T01:18:03.735" v="2809" actId="478"/>
          <ac:spMkLst>
            <pc:docMk/>
            <pc:sldMk cId="4289157764" sldId="276"/>
            <ac:spMk id="10" creationId="{38B8A0EC-AF38-4B4D-B313-07242161151C}"/>
          </ac:spMkLst>
        </pc:spChg>
        <pc:spChg chg="del">
          <ac:chgData name="Chhabra, Aniket" userId="598e0514-bef3-4e71-b6aa-f2edd6441cff" providerId="ADAL" clId="{D0608F18-3840-4CA3-9A99-D984B41683E5}" dt="2020-12-27T01:18:03.735" v="2809" actId="478"/>
          <ac:spMkLst>
            <pc:docMk/>
            <pc:sldMk cId="4289157764" sldId="276"/>
            <ac:spMk id="12" creationId="{AA6F6C78-95D5-4803-A575-ADCEE5710482}"/>
          </ac:spMkLst>
        </pc:spChg>
        <pc:spChg chg="del">
          <ac:chgData name="Chhabra, Aniket" userId="598e0514-bef3-4e71-b6aa-f2edd6441cff" providerId="ADAL" clId="{D0608F18-3840-4CA3-9A99-D984B41683E5}" dt="2020-12-27T01:18:03.735" v="2809" actId="478"/>
          <ac:spMkLst>
            <pc:docMk/>
            <pc:sldMk cId="4289157764" sldId="276"/>
            <ac:spMk id="13" creationId="{EC6B817D-8229-463D-8ED3-34C9E9A3051F}"/>
          </ac:spMkLst>
        </pc:spChg>
        <pc:spChg chg="add mod">
          <ac:chgData name="Chhabra, Aniket" userId="598e0514-bef3-4e71-b6aa-f2edd6441cff" providerId="ADAL" clId="{D0608F18-3840-4CA3-9A99-D984B41683E5}" dt="2020-12-27T01:19:38.971" v="2831" actId="404"/>
          <ac:spMkLst>
            <pc:docMk/>
            <pc:sldMk cId="4289157764" sldId="276"/>
            <ac:spMk id="14" creationId="{B72E7820-0776-4AB3-A035-C7589E9FB38B}"/>
          </ac:spMkLst>
        </pc:spChg>
        <pc:spChg chg="add mod">
          <ac:chgData name="Chhabra, Aniket" userId="598e0514-bef3-4e71-b6aa-f2edd6441cff" providerId="ADAL" clId="{D0608F18-3840-4CA3-9A99-D984B41683E5}" dt="2020-12-27T01:18:39.213" v="2817" actId="255"/>
          <ac:spMkLst>
            <pc:docMk/>
            <pc:sldMk cId="4289157764" sldId="276"/>
            <ac:spMk id="15" creationId="{0D5E7B69-9667-4E93-B6FD-56DF452EFCEA}"/>
          </ac:spMkLst>
        </pc:spChg>
        <pc:spChg chg="add mod">
          <ac:chgData name="Chhabra, Aniket" userId="598e0514-bef3-4e71-b6aa-f2edd6441cff" providerId="ADAL" clId="{D0608F18-3840-4CA3-9A99-D984B41683E5}" dt="2020-12-27T01:18:39.213" v="2817" actId="255"/>
          <ac:spMkLst>
            <pc:docMk/>
            <pc:sldMk cId="4289157764" sldId="276"/>
            <ac:spMk id="16" creationId="{9D90E3F3-F26E-48B6-B599-44DE89A9448D}"/>
          </ac:spMkLst>
        </pc:spChg>
        <pc:spChg chg="add mod">
          <ac:chgData name="Chhabra, Aniket" userId="598e0514-bef3-4e71-b6aa-f2edd6441cff" providerId="ADAL" clId="{D0608F18-3840-4CA3-9A99-D984B41683E5}" dt="2020-12-27T01:18:39.213" v="2817" actId="255"/>
          <ac:spMkLst>
            <pc:docMk/>
            <pc:sldMk cId="4289157764" sldId="276"/>
            <ac:spMk id="17" creationId="{113015B7-3308-4B0A-81DB-A1D3E4B2D3C3}"/>
          </ac:spMkLst>
        </pc:spChg>
        <pc:spChg chg="add mod">
          <ac:chgData name="Chhabra, Aniket" userId="598e0514-bef3-4e71-b6aa-f2edd6441cff" providerId="ADAL" clId="{D0608F18-3840-4CA3-9A99-D984B41683E5}" dt="2020-12-27T01:18:39.213" v="2817" actId="255"/>
          <ac:spMkLst>
            <pc:docMk/>
            <pc:sldMk cId="4289157764" sldId="276"/>
            <ac:spMk id="18" creationId="{A7ABE1A5-3904-492F-9C42-E6E433BCC48C}"/>
          </ac:spMkLst>
        </pc:spChg>
        <pc:spChg chg="del">
          <ac:chgData name="Chhabra, Aniket" userId="598e0514-bef3-4e71-b6aa-f2edd6441cff" providerId="ADAL" clId="{D0608F18-3840-4CA3-9A99-D984B41683E5}" dt="2020-12-27T01:18:03.735" v="2809" actId="478"/>
          <ac:spMkLst>
            <pc:docMk/>
            <pc:sldMk cId="4289157764" sldId="276"/>
            <ac:spMk id="19" creationId="{70CE6FD3-23EB-464E-9FFD-8E83CE3C73B1}"/>
          </ac:spMkLst>
        </pc:spChg>
        <pc:spChg chg="add mod">
          <ac:chgData name="Chhabra, Aniket" userId="598e0514-bef3-4e71-b6aa-f2edd6441cff" providerId="ADAL" clId="{D0608F18-3840-4CA3-9A99-D984B41683E5}" dt="2020-12-27T01:19:21.320" v="2824" actId="14100"/>
          <ac:spMkLst>
            <pc:docMk/>
            <pc:sldMk cId="4289157764" sldId="276"/>
            <ac:spMk id="20" creationId="{727AAAAF-57A4-4A32-92FC-C9797D161F74}"/>
          </ac:spMkLst>
        </pc:spChg>
        <pc:spChg chg="add mod">
          <ac:chgData name="Chhabra, Aniket" userId="598e0514-bef3-4e71-b6aa-f2edd6441cff" providerId="ADAL" clId="{D0608F18-3840-4CA3-9A99-D984B41683E5}" dt="2020-12-27T01:18:39.213" v="2817" actId="255"/>
          <ac:spMkLst>
            <pc:docMk/>
            <pc:sldMk cId="4289157764" sldId="276"/>
            <ac:spMk id="21" creationId="{4543217F-E518-4E80-8CB2-2B7799F06C72}"/>
          </ac:spMkLst>
        </pc:spChg>
        <pc:spChg chg="add mod">
          <ac:chgData name="Chhabra, Aniket" userId="598e0514-bef3-4e71-b6aa-f2edd6441cff" providerId="ADAL" clId="{D0608F18-3840-4CA3-9A99-D984B41683E5}" dt="2020-12-27T01:18:39.213" v="2817" actId="255"/>
          <ac:spMkLst>
            <pc:docMk/>
            <pc:sldMk cId="4289157764" sldId="276"/>
            <ac:spMk id="22" creationId="{B7234A52-82B0-4243-89C9-201A024DEADA}"/>
          </ac:spMkLst>
        </pc:spChg>
        <pc:spChg chg="add mod">
          <ac:chgData name="Chhabra, Aniket" userId="598e0514-bef3-4e71-b6aa-f2edd6441cff" providerId="ADAL" clId="{D0608F18-3840-4CA3-9A99-D984B41683E5}" dt="2020-12-27T01:18:39.213" v="2817" actId="255"/>
          <ac:spMkLst>
            <pc:docMk/>
            <pc:sldMk cId="4289157764" sldId="276"/>
            <ac:spMk id="23" creationId="{2A2D25D6-F0CA-4D68-8EEF-1483996AC11D}"/>
          </ac:spMkLst>
        </pc:spChg>
        <pc:spChg chg="add mod">
          <ac:chgData name="Chhabra, Aniket" userId="598e0514-bef3-4e71-b6aa-f2edd6441cff" providerId="ADAL" clId="{D0608F18-3840-4CA3-9A99-D984B41683E5}" dt="2020-12-27T01:18:39.213" v="2817" actId="255"/>
          <ac:spMkLst>
            <pc:docMk/>
            <pc:sldMk cId="4289157764" sldId="276"/>
            <ac:spMk id="24" creationId="{ADA879AE-02FC-4C44-A8B0-EEA5CC3A5834}"/>
          </ac:spMkLst>
        </pc:spChg>
        <pc:spChg chg="add mod">
          <ac:chgData name="Chhabra, Aniket" userId="598e0514-bef3-4e71-b6aa-f2edd6441cff" providerId="ADAL" clId="{D0608F18-3840-4CA3-9A99-D984B41683E5}" dt="2020-12-27T01:18:39.213" v="2817" actId="255"/>
          <ac:spMkLst>
            <pc:docMk/>
            <pc:sldMk cId="4289157764" sldId="276"/>
            <ac:spMk id="25" creationId="{2607C9A8-1491-438C-B7C9-CDFB4CDB8288}"/>
          </ac:spMkLst>
        </pc:spChg>
        <pc:spChg chg="add mod">
          <ac:chgData name="Chhabra, Aniket" userId="598e0514-bef3-4e71-b6aa-f2edd6441cff" providerId="ADAL" clId="{D0608F18-3840-4CA3-9A99-D984B41683E5}" dt="2020-12-27T01:19:44.514" v="2834" actId="404"/>
          <ac:spMkLst>
            <pc:docMk/>
            <pc:sldMk cId="4289157764" sldId="276"/>
            <ac:spMk id="26" creationId="{6EBC7EC8-5A53-427F-9FB0-5672F12D799A}"/>
          </ac:spMkLst>
        </pc:spChg>
        <pc:spChg chg="add mod">
          <ac:chgData name="Chhabra, Aniket" userId="598e0514-bef3-4e71-b6aa-f2edd6441cff" providerId="ADAL" clId="{D0608F18-3840-4CA3-9A99-D984B41683E5}" dt="2020-12-27T01:18:39.213" v="2817" actId="255"/>
          <ac:spMkLst>
            <pc:docMk/>
            <pc:sldMk cId="4289157764" sldId="276"/>
            <ac:spMk id="27" creationId="{08553D9D-8D5C-4878-A974-0BC99F8A3F55}"/>
          </ac:spMkLst>
        </pc:spChg>
        <pc:spChg chg="add mod">
          <ac:chgData name="Chhabra, Aniket" userId="598e0514-bef3-4e71-b6aa-f2edd6441cff" providerId="ADAL" clId="{D0608F18-3840-4CA3-9A99-D984B41683E5}" dt="2020-12-27T01:19:44.514" v="2834" actId="404"/>
          <ac:spMkLst>
            <pc:docMk/>
            <pc:sldMk cId="4289157764" sldId="276"/>
            <ac:spMk id="28" creationId="{EA1703AD-702A-419A-87DD-D88E709DBAC5}"/>
          </ac:spMkLst>
        </pc:spChg>
        <pc:spChg chg="add mod">
          <ac:chgData name="Chhabra, Aniket" userId="598e0514-bef3-4e71-b6aa-f2edd6441cff" providerId="ADAL" clId="{D0608F18-3840-4CA3-9A99-D984B41683E5}" dt="2020-12-27T01:18:39.213" v="2817" actId="255"/>
          <ac:spMkLst>
            <pc:docMk/>
            <pc:sldMk cId="4289157764" sldId="276"/>
            <ac:spMk id="29" creationId="{3D3AAC74-AFDD-426B-B9F4-52386D8BF3A6}"/>
          </ac:spMkLst>
        </pc:spChg>
        <pc:spChg chg="add mod">
          <ac:chgData name="Chhabra, Aniket" userId="598e0514-bef3-4e71-b6aa-f2edd6441cff" providerId="ADAL" clId="{D0608F18-3840-4CA3-9A99-D984B41683E5}" dt="2020-12-27T01:18:39.213" v="2817" actId="255"/>
          <ac:spMkLst>
            <pc:docMk/>
            <pc:sldMk cId="4289157764" sldId="276"/>
            <ac:spMk id="30" creationId="{DA8F894F-2E93-444A-9025-C465F436EDF5}"/>
          </ac:spMkLst>
        </pc:spChg>
        <pc:spChg chg="add mod">
          <ac:chgData name="Chhabra, Aniket" userId="598e0514-bef3-4e71-b6aa-f2edd6441cff" providerId="ADAL" clId="{D0608F18-3840-4CA3-9A99-D984B41683E5}" dt="2020-12-27T01:19:05.918" v="2821" actId="14100"/>
          <ac:spMkLst>
            <pc:docMk/>
            <pc:sldMk cId="4289157764" sldId="276"/>
            <ac:spMk id="31" creationId="{BE417462-21A6-43F0-8A2F-71A42C296018}"/>
          </ac:spMkLst>
        </pc:spChg>
        <pc:spChg chg="add mod">
          <ac:chgData name="Chhabra, Aniket" userId="598e0514-bef3-4e71-b6aa-f2edd6441cff" providerId="ADAL" clId="{D0608F18-3840-4CA3-9A99-D984B41683E5}" dt="2020-12-27T01:18:39.213" v="2817" actId="255"/>
          <ac:spMkLst>
            <pc:docMk/>
            <pc:sldMk cId="4289157764" sldId="276"/>
            <ac:spMk id="32" creationId="{B5AF5A86-64F8-4751-BE04-C8C9580DE2FA}"/>
          </ac:spMkLst>
        </pc:spChg>
        <pc:spChg chg="add mod">
          <ac:chgData name="Chhabra, Aniket" userId="598e0514-bef3-4e71-b6aa-f2edd6441cff" providerId="ADAL" clId="{D0608F18-3840-4CA3-9A99-D984B41683E5}" dt="2020-12-27T01:19:53.198" v="2843" actId="403"/>
          <ac:spMkLst>
            <pc:docMk/>
            <pc:sldMk cId="4289157764" sldId="276"/>
            <ac:spMk id="33" creationId="{136BA4A8-FF10-4806-B5ED-FE731AFCFC46}"/>
          </ac:spMkLst>
        </pc:spChg>
        <pc:spChg chg="add mod">
          <ac:chgData name="Chhabra, Aniket" userId="598e0514-bef3-4e71-b6aa-f2edd6441cff" providerId="ADAL" clId="{D0608F18-3840-4CA3-9A99-D984B41683E5}" dt="2020-12-27T01:18:39.213" v="2817" actId="255"/>
          <ac:spMkLst>
            <pc:docMk/>
            <pc:sldMk cId="4289157764" sldId="276"/>
            <ac:spMk id="34" creationId="{77427516-FC4A-4A87-9C1C-AED4442C659D}"/>
          </ac:spMkLst>
        </pc:spChg>
        <pc:spChg chg="add mod">
          <ac:chgData name="Chhabra, Aniket" userId="598e0514-bef3-4e71-b6aa-f2edd6441cff" providerId="ADAL" clId="{D0608F18-3840-4CA3-9A99-D984B41683E5}" dt="2020-12-27T01:19:53.198" v="2843" actId="403"/>
          <ac:spMkLst>
            <pc:docMk/>
            <pc:sldMk cId="4289157764" sldId="276"/>
            <ac:spMk id="35" creationId="{67487053-86DB-4FAC-81C6-820F02693BF3}"/>
          </ac:spMkLst>
        </pc:spChg>
        <pc:spChg chg="add mod">
          <ac:chgData name="Chhabra, Aniket" userId="598e0514-bef3-4e71-b6aa-f2edd6441cff" providerId="ADAL" clId="{D0608F18-3840-4CA3-9A99-D984B41683E5}" dt="2020-12-27T01:18:39.213" v="2817" actId="255"/>
          <ac:spMkLst>
            <pc:docMk/>
            <pc:sldMk cId="4289157764" sldId="276"/>
            <ac:spMk id="36" creationId="{68F79690-D19A-4476-BA85-1021A22F3350}"/>
          </ac:spMkLst>
        </pc:spChg>
        <pc:spChg chg="add mod">
          <ac:chgData name="Chhabra, Aniket" userId="598e0514-bef3-4e71-b6aa-f2edd6441cff" providerId="ADAL" clId="{D0608F18-3840-4CA3-9A99-D984B41683E5}" dt="2020-12-27T01:18:39.213" v="2817" actId="255"/>
          <ac:spMkLst>
            <pc:docMk/>
            <pc:sldMk cId="4289157764" sldId="276"/>
            <ac:spMk id="37" creationId="{25C5159C-764D-49EF-8B89-D21BBB948A6B}"/>
          </ac:spMkLst>
        </pc:spChg>
        <pc:spChg chg="add mod">
          <ac:chgData name="Chhabra, Aniket" userId="598e0514-bef3-4e71-b6aa-f2edd6441cff" providerId="ADAL" clId="{D0608F18-3840-4CA3-9A99-D984B41683E5}" dt="2020-12-27T01:18:39.213" v="2817" actId="255"/>
          <ac:spMkLst>
            <pc:docMk/>
            <pc:sldMk cId="4289157764" sldId="276"/>
            <ac:spMk id="38" creationId="{AA8AEA06-16BD-4541-BCD8-B92941E00611}"/>
          </ac:spMkLst>
        </pc:spChg>
        <pc:spChg chg="add mod">
          <ac:chgData name="Chhabra, Aniket" userId="598e0514-bef3-4e71-b6aa-f2edd6441cff" providerId="ADAL" clId="{D0608F18-3840-4CA3-9A99-D984B41683E5}" dt="2020-12-27T01:18:39.213" v="2817" actId="255"/>
          <ac:spMkLst>
            <pc:docMk/>
            <pc:sldMk cId="4289157764" sldId="276"/>
            <ac:spMk id="39" creationId="{55264F96-0F36-46D2-B1F9-E6623B6283A2}"/>
          </ac:spMkLst>
        </pc:spChg>
        <pc:picChg chg="del">
          <ac:chgData name="Chhabra, Aniket" userId="598e0514-bef3-4e71-b6aa-f2edd6441cff" providerId="ADAL" clId="{D0608F18-3840-4CA3-9A99-D984B41683E5}" dt="2020-12-27T01:18:03.735" v="2809" actId="478"/>
          <ac:picMkLst>
            <pc:docMk/>
            <pc:sldMk cId="4289157764" sldId="276"/>
            <ac:picMk id="8" creationId="{55DF5014-E3EA-432F-9E45-BB589B614F9C}"/>
          </ac:picMkLst>
        </pc:picChg>
        <pc:picChg chg="del">
          <ac:chgData name="Chhabra, Aniket" userId="598e0514-bef3-4e71-b6aa-f2edd6441cff" providerId="ADAL" clId="{D0608F18-3840-4CA3-9A99-D984B41683E5}" dt="2020-12-27T01:18:03.735" v="2809" actId="478"/>
          <ac:picMkLst>
            <pc:docMk/>
            <pc:sldMk cId="4289157764" sldId="276"/>
            <ac:picMk id="11" creationId="{21E3AF37-23A0-4687-8518-53B3B4020FE9}"/>
          </ac:picMkLst>
        </pc:picChg>
      </pc:sldChg>
      <pc:sldChg chg="addSp delSp modSp new mod">
        <pc:chgData name="Chhabra, Aniket" userId="598e0514-bef3-4e71-b6aa-f2edd6441cff" providerId="ADAL" clId="{D0608F18-3840-4CA3-9A99-D984B41683E5}" dt="2020-12-27T02:26:24.742" v="2878" actId="20577"/>
        <pc:sldMkLst>
          <pc:docMk/>
          <pc:sldMk cId="727025018" sldId="277"/>
        </pc:sldMkLst>
        <pc:spChg chg="del mod">
          <ac:chgData name="Chhabra, Aniket" userId="598e0514-bef3-4e71-b6aa-f2edd6441cff" providerId="ADAL" clId="{D0608F18-3840-4CA3-9A99-D984B41683E5}" dt="2020-12-27T02:26:06.156" v="2851" actId="478"/>
          <ac:spMkLst>
            <pc:docMk/>
            <pc:sldMk cId="727025018" sldId="277"/>
            <ac:spMk id="2" creationId="{654B64A1-7E94-4461-A3DA-878488F3F8F7}"/>
          </ac:spMkLst>
        </pc:spChg>
        <pc:spChg chg="del">
          <ac:chgData name="Chhabra, Aniket" userId="598e0514-bef3-4e71-b6aa-f2edd6441cff" providerId="ADAL" clId="{D0608F18-3840-4CA3-9A99-D984B41683E5}" dt="2020-12-27T02:25:57.313" v="2846" actId="478"/>
          <ac:spMkLst>
            <pc:docMk/>
            <pc:sldMk cId="727025018" sldId="277"/>
            <ac:spMk id="3" creationId="{CD12F36D-70DA-4056-9D69-CBA08F4C6B96}"/>
          </ac:spMkLst>
        </pc:spChg>
        <pc:spChg chg="add mod">
          <ac:chgData name="Chhabra, Aniket" userId="598e0514-bef3-4e71-b6aa-f2edd6441cff" providerId="ADAL" clId="{D0608F18-3840-4CA3-9A99-D984B41683E5}" dt="2020-12-27T02:26:24.742" v="2878" actId="20577"/>
          <ac:spMkLst>
            <pc:docMk/>
            <pc:sldMk cId="727025018" sldId="277"/>
            <ac:spMk id="5" creationId="{E9E9AC6A-1002-4B6D-95E3-C291E82F57A4}"/>
          </ac:spMkLst>
        </pc:spChg>
        <pc:picChg chg="add mod">
          <ac:chgData name="Chhabra, Aniket" userId="598e0514-bef3-4e71-b6aa-f2edd6441cff" providerId="ADAL" clId="{D0608F18-3840-4CA3-9A99-D984B41683E5}" dt="2020-12-27T02:25:59.661" v="2848" actId="1076"/>
          <ac:picMkLst>
            <pc:docMk/>
            <pc:sldMk cId="727025018" sldId="277"/>
            <ac:picMk id="4" creationId="{EA06CFB7-547E-4721-9C34-FBCD25B94B3B}"/>
          </ac:picMkLst>
        </pc:picChg>
      </pc:sldChg>
      <pc:sldChg chg="addSp delSp modSp new mod">
        <pc:chgData name="Chhabra, Aniket" userId="598e0514-bef3-4e71-b6aa-f2edd6441cff" providerId="ADAL" clId="{D0608F18-3840-4CA3-9A99-D984B41683E5}" dt="2020-12-27T03:23:48.833" v="2898" actId="27636"/>
        <pc:sldMkLst>
          <pc:docMk/>
          <pc:sldMk cId="3761000135" sldId="278"/>
        </pc:sldMkLst>
        <pc:spChg chg="del">
          <ac:chgData name="Chhabra, Aniket" userId="598e0514-bef3-4e71-b6aa-f2edd6441cff" providerId="ADAL" clId="{D0608F18-3840-4CA3-9A99-D984B41683E5}" dt="2020-12-27T03:22:59.123" v="2884" actId="478"/>
          <ac:spMkLst>
            <pc:docMk/>
            <pc:sldMk cId="3761000135" sldId="278"/>
            <ac:spMk id="2" creationId="{85B26E52-A0C3-4C9E-BB31-22776F4CF093}"/>
          </ac:spMkLst>
        </pc:spChg>
        <pc:spChg chg="del mod">
          <ac:chgData name="Chhabra, Aniket" userId="598e0514-bef3-4e71-b6aa-f2edd6441cff" providerId="ADAL" clId="{D0608F18-3840-4CA3-9A99-D984B41683E5}" dt="2020-12-27T03:22:58.038" v="2883" actId="478"/>
          <ac:spMkLst>
            <pc:docMk/>
            <pc:sldMk cId="3761000135" sldId="278"/>
            <ac:spMk id="3" creationId="{B8D9551A-ABD8-43BD-88D0-A61A6CF27F32}"/>
          </ac:spMkLst>
        </pc:spChg>
        <pc:spChg chg="add mod">
          <ac:chgData name="Chhabra, Aniket" userId="598e0514-bef3-4e71-b6aa-f2edd6441cff" providerId="ADAL" clId="{D0608F18-3840-4CA3-9A99-D984B41683E5}" dt="2020-12-27T03:23:30.312" v="2893" actId="1076"/>
          <ac:spMkLst>
            <pc:docMk/>
            <pc:sldMk cId="3761000135" sldId="278"/>
            <ac:spMk id="5" creationId="{D5C74B2D-7E87-4B70-91FD-F8B8E12E34F6}"/>
          </ac:spMkLst>
        </pc:spChg>
        <pc:spChg chg="add del">
          <ac:chgData name="Chhabra, Aniket" userId="598e0514-bef3-4e71-b6aa-f2edd6441cff" providerId="ADAL" clId="{D0608F18-3840-4CA3-9A99-D984B41683E5}" dt="2020-12-27T03:23:37.464" v="2895" actId="22"/>
          <ac:spMkLst>
            <pc:docMk/>
            <pc:sldMk cId="3761000135" sldId="278"/>
            <ac:spMk id="7" creationId="{C0E5E916-93EC-4A8D-928E-DC3A602A06BB}"/>
          </ac:spMkLst>
        </pc:spChg>
        <pc:spChg chg="add mod">
          <ac:chgData name="Chhabra, Aniket" userId="598e0514-bef3-4e71-b6aa-f2edd6441cff" providerId="ADAL" clId="{D0608F18-3840-4CA3-9A99-D984B41683E5}" dt="2020-12-27T03:23:48.833" v="2898" actId="27636"/>
          <ac:spMkLst>
            <pc:docMk/>
            <pc:sldMk cId="3761000135" sldId="278"/>
            <ac:spMk id="8" creationId="{CFFF491F-A0C8-4E04-BA65-41359695FF0A}"/>
          </ac:spMkLst>
        </pc:spChg>
      </pc:sldChg>
      <pc:sldChg chg="addSp delSp modSp new mod ord">
        <pc:chgData name="Chhabra, Aniket" userId="598e0514-bef3-4e71-b6aa-f2edd6441cff" providerId="ADAL" clId="{D0608F18-3840-4CA3-9A99-D984B41683E5}" dt="2020-12-27T05:19:21.101" v="2910"/>
        <pc:sldMkLst>
          <pc:docMk/>
          <pc:sldMk cId="3891235838" sldId="279"/>
        </pc:sldMkLst>
        <pc:spChg chg="del">
          <ac:chgData name="Chhabra, Aniket" userId="598e0514-bef3-4e71-b6aa-f2edd6441cff" providerId="ADAL" clId="{D0608F18-3840-4CA3-9A99-D984B41683E5}" dt="2020-12-27T05:19:04.151" v="2905" actId="478"/>
          <ac:spMkLst>
            <pc:docMk/>
            <pc:sldMk cId="3891235838" sldId="279"/>
            <ac:spMk id="2" creationId="{4D647C74-A4D3-4D18-99DA-04678061A98C}"/>
          </ac:spMkLst>
        </pc:spChg>
        <pc:spChg chg="del">
          <ac:chgData name="Chhabra, Aniket" userId="598e0514-bef3-4e71-b6aa-f2edd6441cff" providerId="ADAL" clId="{D0608F18-3840-4CA3-9A99-D984B41683E5}" dt="2020-12-27T05:19:01.203" v="2902" actId="478"/>
          <ac:spMkLst>
            <pc:docMk/>
            <pc:sldMk cId="3891235838" sldId="279"/>
            <ac:spMk id="3" creationId="{8DE2C4E3-4C13-4CDF-9A5B-E1CA7BE0D3AF}"/>
          </ac:spMkLst>
        </pc:spChg>
        <pc:spChg chg="add mod">
          <ac:chgData name="Chhabra, Aniket" userId="598e0514-bef3-4e71-b6aa-f2edd6441cff" providerId="ADAL" clId="{D0608F18-3840-4CA3-9A99-D984B41683E5}" dt="2020-12-27T05:19:13.080" v="2908" actId="1076"/>
          <ac:spMkLst>
            <pc:docMk/>
            <pc:sldMk cId="3891235838" sldId="279"/>
            <ac:spMk id="4" creationId="{08325FA0-2EEF-4C56-9884-B00B46BA423D}"/>
          </ac:spMkLst>
        </pc:spChg>
        <pc:spChg chg="add mod">
          <ac:chgData name="Chhabra, Aniket" userId="598e0514-bef3-4e71-b6aa-f2edd6441cff" providerId="ADAL" clId="{D0608F18-3840-4CA3-9A99-D984B41683E5}" dt="2020-12-27T05:19:01.684" v="2904" actId="27636"/>
          <ac:spMkLst>
            <pc:docMk/>
            <pc:sldMk cId="3891235838" sldId="279"/>
            <ac:spMk id="5" creationId="{E1210E68-A4E2-4993-95EB-9780FD7AB0B0}"/>
          </ac:spMkLst>
        </pc:spChg>
        <pc:spChg chg="add mod">
          <ac:chgData name="Chhabra, Aniket" userId="598e0514-bef3-4e71-b6aa-f2edd6441cff" providerId="ADAL" clId="{D0608F18-3840-4CA3-9A99-D984B41683E5}" dt="2020-12-27T05:19:01.684" v="2904" actId="27636"/>
          <ac:spMkLst>
            <pc:docMk/>
            <pc:sldMk cId="3891235838" sldId="279"/>
            <ac:spMk id="6" creationId="{2223586F-C0CA-45A5-A704-F30F83D2B366}"/>
          </ac:spMkLst>
        </pc:spChg>
        <pc:spChg chg="add mod">
          <ac:chgData name="Chhabra, Aniket" userId="598e0514-bef3-4e71-b6aa-f2edd6441cff" providerId="ADAL" clId="{D0608F18-3840-4CA3-9A99-D984B41683E5}" dt="2020-12-27T05:19:01.684" v="2904" actId="27636"/>
          <ac:spMkLst>
            <pc:docMk/>
            <pc:sldMk cId="3891235838" sldId="279"/>
            <ac:spMk id="7" creationId="{43A73608-1730-41C9-80AE-463381C98F41}"/>
          </ac:spMkLst>
        </pc:spChg>
        <pc:spChg chg="add mod">
          <ac:chgData name="Chhabra, Aniket" userId="598e0514-bef3-4e71-b6aa-f2edd6441cff" providerId="ADAL" clId="{D0608F18-3840-4CA3-9A99-D984B41683E5}" dt="2020-12-27T05:19:01.684" v="2904" actId="27636"/>
          <ac:spMkLst>
            <pc:docMk/>
            <pc:sldMk cId="3891235838" sldId="279"/>
            <ac:spMk id="8" creationId="{3078492F-3091-4E52-9311-21FA6E897710}"/>
          </ac:spMkLst>
        </pc:spChg>
        <pc:spChg chg="add mod">
          <ac:chgData name="Chhabra, Aniket" userId="598e0514-bef3-4e71-b6aa-f2edd6441cff" providerId="ADAL" clId="{D0608F18-3840-4CA3-9A99-D984B41683E5}" dt="2020-12-27T05:19:01.684" v="2904" actId="27636"/>
          <ac:spMkLst>
            <pc:docMk/>
            <pc:sldMk cId="3891235838" sldId="279"/>
            <ac:spMk id="9" creationId="{AE033054-599B-4500-BF97-1F32748FD13F}"/>
          </ac:spMkLst>
        </pc:spChg>
        <pc:spChg chg="add mod">
          <ac:chgData name="Chhabra, Aniket" userId="598e0514-bef3-4e71-b6aa-f2edd6441cff" providerId="ADAL" clId="{D0608F18-3840-4CA3-9A99-D984B41683E5}" dt="2020-12-27T05:19:01.684" v="2904" actId="27636"/>
          <ac:spMkLst>
            <pc:docMk/>
            <pc:sldMk cId="3891235838" sldId="279"/>
            <ac:spMk id="10" creationId="{7734DAB3-A661-4CC7-8828-99BCFFF80FA9}"/>
          </ac:spMkLst>
        </pc:spChg>
        <pc:spChg chg="add mod">
          <ac:chgData name="Chhabra, Aniket" userId="598e0514-bef3-4e71-b6aa-f2edd6441cff" providerId="ADAL" clId="{D0608F18-3840-4CA3-9A99-D984B41683E5}" dt="2020-12-27T05:19:01.684" v="2904" actId="27636"/>
          <ac:spMkLst>
            <pc:docMk/>
            <pc:sldMk cId="3891235838" sldId="279"/>
            <ac:spMk id="11" creationId="{7BE63E38-5C9E-4817-9AB2-F46364F1EAD2}"/>
          </ac:spMkLst>
        </pc:spChg>
        <pc:spChg chg="add mod">
          <ac:chgData name="Chhabra, Aniket" userId="598e0514-bef3-4e71-b6aa-f2edd6441cff" providerId="ADAL" clId="{D0608F18-3840-4CA3-9A99-D984B41683E5}" dt="2020-12-27T05:19:01.684" v="2904" actId="27636"/>
          <ac:spMkLst>
            <pc:docMk/>
            <pc:sldMk cId="3891235838" sldId="279"/>
            <ac:spMk id="12" creationId="{03A63BD4-4211-41FC-ACEE-E45D2FB43CA9}"/>
          </ac:spMkLst>
        </pc:spChg>
        <pc:spChg chg="add mod">
          <ac:chgData name="Chhabra, Aniket" userId="598e0514-bef3-4e71-b6aa-f2edd6441cff" providerId="ADAL" clId="{D0608F18-3840-4CA3-9A99-D984B41683E5}" dt="2020-12-27T05:19:01.684" v="2904" actId="27636"/>
          <ac:spMkLst>
            <pc:docMk/>
            <pc:sldMk cId="3891235838" sldId="279"/>
            <ac:spMk id="13" creationId="{179C3B86-31A9-4FAD-8A3F-EFAFCB956F0A}"/>
          </ac:spMkLst>
        </pc:spChg>
        <pc:spChg chg="add mod">
          <ac:chgData name="Chhabra, Aniket" userId="598e0514-bef3-4e71-b6aa-f2edd6441cff" providerId="ADAL" clId="{D0608F18-3840-4CA3-9A99-D984B41683E5}" dt="2020-12-27T05:19:01.684" v="2904" actId="27636"/>
          <ac:spMkLst>
            <pc:docMk/>
            <pc:sldMk cId="3891235838" sldId="279"/>
            <ac:spMk id="14" creationId="{B12BED17-FDC6-4569-A1FB-B62442D8AF26}"/>
          </ac:spMkLst>
        </pc:spChg>
        <pc:spChg chg="add mod">
          <ac:chgData name="Chhabra, Aniket" userId="598e0514-bef3-4e71-b6aa-f2edd6441cff" providerId="ADAL" clId="{D0608F18-3840-4CA3-9A99-D984B41683E5}" dt="2020-12-27T05:19:01.684" v="2904" actId="27636"/>
          <ac:spMkLst>
            <pc:docMk/>
            <pc:sldMk cId="3891235838" sldId="279"/>
            <ac:spMk id="15" creationId="{C914817A-5826-44C4-8BC2-1921FECD3227}"/>
          </ac:spMkLst>
        </pc:spChg>
        <pc:spChg chg="add mod">
          <ac:chgData name="Chhabra, Aniket" userId="598e0514-bef3-4e71-b6aa-f2edd6441cff" providerId="ADAL" clId="{D0608F18-3840-4CA3-9A99-D984B41683E5}" dt="2020-12-27T05:19:01.684" v="2904" actId="27636"/>
          <ac:spMkLst>
            <pc:docMk/>
            <pc:sldMk cId="3891235838" sldId="279"/>
            <ac:spMk id="16" creationId="{0178A1C4-9FA5-4208-B217-5D89AF0D65B5}"/>
          </ac:spMkLst>
        </pc:spChg>
        <pc:spChg chg="add mod">
          <ac:chgData name="Chhabra, Aniket" userId="598e0514-bef3-4e71-b6aa-f2edd6441cff" providerId="ADAL" clId="{D0608F18-3840-4CA3-9A99-D984B41683E5}" dt="2020-12-27T05:19:01.684" v="2904" actId="27636"/>
          <ac:spMkLst>
            <pc:docMk/>
            <pc:sldMk cId="3891235838" sldId="279"/>
            <ac:spMk id="17" creationId="{9A60F607-CEBB-4016-BD9B-6841B1B6BBED}"/>
          </ac:spMkLst>
        </pc:spChg>
        <pc:spChg chg="add mod">
          <ac:chgData name="Chhabra, Aniket" userId="598e0514-bef3-4e71-b6aa-f2edd6441cff" providerId="ADAL" clId="{D0608F18-3840-4CA3-9A99-D984B41683E5}" dt="2020-12-27T05:19:01.684" v="2904" actId="27636"/>
          <ac:spMkLst>
            <pc:docMk/>
            <pc:sldMk cId="3891235838" sldId="279"/>
            <ac:spMk id="18" creationId="{B84C58EE-3422-494C-9021-94C2D362E1CF}"/>
          </ac:spMkLst>
        </pc:spChg>
        <pc:spChg chg="add mod">
          <ac:chgData name="Chhabra, Aniket" userId="598e0514-bef3-4e71-b6aa-f2edd6441cff" providerId="ADAL" clId="{D0608F18-3840-4CA3-9A99-D984B41683E5}" dt="2020-12-27T05:19:01.684" v="2904" actId="27636"/>
          <ac:spMkLst>
            <pc:docMk/>
            <pc:sldMk cId="3891235838" sldId="279"/>
            <ac:spMk id="19" creationId="{4ACE316E-DA1E-4601-9A6D-EA3FE4EE72BF}"/>
          </ac:spMkLst>
        </pc:spChg>
        <pc:spChg chg="add mod">
          <ac:chgData name="Chhabra, Aniket" userId="598e0514-bef3-4e71-b6aa-f2edd6441cff" providerId="ADAL" clId="{D0608F18-3840-4CA3-9A99-D984B41683E5}" dt="2020-12-27T05:19:01.684" v="2904" actId="27636"/>
          <ac:spMkLst>
            <pc:docMk/>
            <pc:sldMk cId="3891235838" sldId="279"/>
            <ac:spMk id="20" creationId="{010FCA44-5DFC-4FD3-B05D-27772F64E86E}"/>
          </ac:spMkLst>
        </pc:spChg>
        <pc:spChg chg="add mod">
          <ac:chgData name="Chhabra, Aniket" userId="598e0514-bef3-4e71-b6aa-f2edd6441cff" providerId="ADAL" clId="{D0608F18-3840-4CA3-9A99-D984B41683E5}" dt="2020-12-27T05:19:01.684" v="2904" actId="27636"/>
          <ac:spMkLst>
            <pc:docMk/>
            <pc:sldMk cId="3891235838" sldId="279"/>
            <ac:spMk id="21" creationId="{0BBBBF74-AC2C-45BD-85A5-1B8B5A98BE55}"/>
          </ac:spMkLst>
        </pc:spChg>
        <pc:spChg chg="add mod">
          <ac:chgData name="Chhabra, Aniket" userId="598e0514-bef3-4e71-b6aa-f2edd6441cff" providerId="ADAL" clId="{D0608F18-3840-4CA3-9A99-D984B41683E5}" dt="2020-12-27T05:19:01.684" v="2904" actId="27636"/>
          <ac:spMkLst>
            <pc:docMk/>
            <pc:sldMk cId="3891235838" sldId="279"/>
            <ac:spMk id="22" creationId="{EFCBAF01-41C7-40C2-844E-D84754A11601}"/>
          </ac:spMkLst>
        </pc:spChg>
        <pc:spChg chg="add mod">
          <ac:chgData name="Chhabra, Aniket" userId="598e0514-bef3-4e71-b6aa-f2edd6441cff" providerId="ADAL" clId="{D0608F18-3840-4CA3-9A99-D984B41683E5}" dt="2020-12-27T05:19:01.684" v="2904" actId="27636"/>
          <ac:spMkLst>
            <pc:docMk/>
            <pc:sldMk cId="3891235838" sldId="279"/>
            <ac:spMk id="23" creationId="{05515FC0-3606-4923-B787-DE01DC562351}"/>
          </ac:spMkLst>
        </pc:spChg>
        <pc:spChg chg="add mod">
          <ac:chgData name="Chhabra, Aniket" userId="598e0514-bef3-4e71-b6aa-f2edd6441cff" providerId="ADAL" clId="{D0608F18-3840-4CA3-9A99-D984B41683E5}" dt="2020-12-27T05:19:01.684" v="2904" actId="27636"/>
          <ac:spMkLst>
            <pc:docMk/>
            <pc:sldMk cId="3891235838" sldId="279"/>
            <ac:spMk id="24" creationId="{D74802E5-C498-4E6C-98FF-1B009BF89986}"/>
          </ac:spMkLst>
        </pc:spChg>
        <pc:spChg chg="add mod">
          <ac:chgData name="Chhabra, Aniket" userId="598e0514-bef3-4e71-b6aa-f2edd6441cff" providerId="ADAL" clId="{D0608F18-3840-4CA3-9A99-D984B41683E5}" dt="2020-12-27T05:19:01.684" v="2904" actId="27636"/>
          <ac:spMkLst>
            <pc:docMk/>
            <pc:sldMk cId="3891235838" sldId="279"/>
            <ac:spMk id="25" creationId="{D4007227-FB8E-4907-9952-7A56BF327A5C}"/>
          </ac:spMkLst>
        </pc:spChg>
        <pc:spChg chg="add mod">
          <ac:chgData name="Chhabra, Aniket" userId="598e0514-bef3-4e71-b6aa-f2edd6441cff" providerId="ADAL" clId="{D0608F18-3840-4CA3-9A99-D984B41683E5}" dt="2020-12-27T05:19:01.684" v="2904" actId="27636"/>
          <ac:spMkLst>
            <pc:docMk/>
            <pc:sldMk cId="3891235838" sldId="279"/>
            <ac:spMk id="26" creationId="{7655A231-9E04-4735-BF6E-ACDA26FA70A6}"/>
          </ac:spMkLst>
        </pc:spChg>
        <pc:spChg chg="add mod">
          <ac:chgData name="Chhabra, Aniket" userId="598e0514-bef3-4e71-b6aa-f2edd6441cff" providerId="ADAL" clId="{D0608F18-3840-4CA3-9A99-D984B41683E5}" dt="2020-12-27T05:19:01.684" v="2904" actId="27636"/>
          <ac:spMkLst>
            <pc:docMk/>
            <pc:sldMk cId="3891235838" sldId="279"/>
            <ac:spMk id="27" creationId="{24C40544-309A-484E-A96E-F674B0CB9EEA}"/>
          </ac:spMkLst>
        </pc:spChg>
        <pc:spChg chg="add mod">
          <ac:chgData name="Chhabra, Aniket" userId="598e0514-bef3-4e71-b6aa-f2edd6441cff" providerId="ADAL" clId="{D0608F18-3840-4CA3-9A99-D984B41683E5}" dt="2020-12-27T05:19:01.684" v="2904" actId="27636"/>
          <ac:spMkLst>
            <pc:docMk/>
            <pc:sldMk cId="3891235838" sldId="279"/>
            <ac:spMk id="28" creationId="{C85AE7F5-506B-450D-A8DF-961E7F96A9C9}"/>
          </ac:spMkLst>
        </pc:spChg>
        <pc:spChg chg="add mod">
          <ac:chgData name="Chhabra, Aniket" userId="598e0514-bef3-4e71-b6aa-f2edd6441cff" providerId="ADAL" clId="{D0608F18-3840-4CA3-9A99-D984B41683E5}" dt="2020-12-27T05:19:01.684" v="2904" actId="27636"/>
          <ac:spMkLst>
            <pc:docMk/>
            <pc:sldMk cId="3891235838" sldId="279"/>
            <ac:spMk id="29" creationId="{2AFF2BF5-B966-4B59-873A-BF5DE4E28AD0}"/>
          </ac:spMkLst>
        </pc:spChg>
        <pc:spChg chg="add mod">
          <ac:chgData name="Chhabra, Aniket" userId="598e0514-bef3-4e71-b6aa-f2edd6441cff" providerId="ADAL" clId="{D0608F18-3840-4CA3-9A99-D984B41683E5}" dt="2020-12-27T05:19:01.684" v="2904" actId="27636"/>
          <ac:spMkLst>
            <pc:docMk/>
            <pc:sldMk cId="3891235838" sldId="279"/>
            <ac:spMk id="30" creationId="{37F724A9-3AA4-4877-AFD1-10E79A382BD4}"/>
          </ac:spMkLst>
        </pc:spChg>
        <pc:spChg chg="add mod">
          <ac:chgData name="Chhabra, Aniket" userId="598e0514-bef3-4e71-b6aa-f2edd6441cff" providerId="ADAL" clId="{D0608F18-3840-4CA3-9A99-D984B41683E5}" dt="2020-12-27T05:19:01.684" v="2904" actId="27636"/>
          <ac:spMkLst>
            <pc:docMk/>
            <pc:sldMk cId="3891235838" sldId="279"/>
            <ac:spMk id="31" creationId="{6D303D4E-8F7C-4A94-B982-C7EFFB8C732D}"/>
          </ac:spMkLst>
        </pc:spChg>
        <pc:spChg chg="add mod">
          <ac:chgData name="Chhabra, Aniket" userId="598e0514-bef3-4e71-b6aa-f2edd6441cff" providerId="ADAL" clId="{D0608F18-3840-4CA3-9A99-D984B41683E5}" dt="2020-12-27T05:19:01.684" v="2904" actId="27636"/>
          <ac:spMkLst>
            <pc:docMk/>
            <pc:sldMk cId="3891235838" sldId="279"/>
            <ac:spMk id="32" creationId="{D0D4CC37-7340-406E-95B1-BD10DC336DD0}"/>
          </ac:spMkLst>
        </pc:spChg>
        <pc:spChg chg="add mod">
          <ac:chgData name="Chhabra, Aniket" userId="598e0514-bef3-4e71-b6aa-f2edd6441cff" providerId="ADAL" clId="{D0608F18-3840-4CA3-9A99-D984B41683E5}" dt="2020-12-27T05:19:01.684" v="2904" actId="27636"/>
          <ac:spMkLst>
            <pc:docMk/>
            <pc:sldMk cId="3891235838" sldId="279"/>
            <ac:spMk id="33" creationId="{1932FC3F-482F-455D-9E2A-5E3FDF59CBEA}"/>
          </ac:spMkLst>
        </pc:spChg>
      </pc:sldChg>
      <pc:sldChg chg="addSp delSp modSp new del mod">
        <pc:chgData name="Chhabra, Aniket" userId="598e0514-bef3-4e71-b6aa-f2edd6441cff" providerId="ADAL" clId="{D0608F18-3840-4CA3-9A99-D984B41683E5}" dt="2020-12-27T06:02:38.326" v="2919" actId="680"/>
        <pc:sldMkLst>
          <pc:docMk/>
          <pc:sldMk cId="1219750077" sldId="280"/>
        </pc:sldMkLst>
        <pc:picChg chg="add del mod">
          <ac:chgData name="Chhabra, Aniket" userId="598e0514-bef3-4e71-b6aa-f2edd6441cff" providerId="ADAL" clId="{D0608F18-3840-4CA3-9A99-D984B41683E5}" dt="2020-12-27T06:02:37.859" v="2918"/>
          <ac:picMkLst>
            <pc:docMk/>
            <pc:sldMk cId="1219750077" sldId="280"/>
            <ac:picMk id="4" creationId="{24B86595-8790-44A2-8F8A-7B6AB3F06E2C}"/>
          </ac:picMkLst>
        </pc:picChg>
      </pc:sldChg>
    </pc:docChg>
  </pc:docChgLst>
  <pc:docChgLst>
    <pc:chgData name="Aniket Chhabra" userId="598e0514-bef3-4e71-b6aa-f2edd6441cff" providerId="ADAL" clId="{FFB5BFD2-246A-034F-B635-DE62B5FCF3A6}"/>
    <pc:docChg chg="undo custSel addSld delSld modSld sldOrd modSection">
      <pc:chgData name="Aniket Chhabra" userId="598e0514-bef3-4e71-b6aa-f2edd6441cff" providerId="ADAL" clId="{FFB5BFD2-246A-034F-B635-DE62B5FCF3A6}" dt="2023-06-17T14:03:05.736" v="1610" actId="2696"/>
      <pc:docMkLst>
        <pc:docMk/>
      </pc:docMkLst>
      <pc:sldChg chg="delSp mod">
        <pc:chgData name="Aniket Chhabra" userId="598e0514-bef3-4e71-b6aa-f2edd6441cff" providerId="ADAL" clId="{FFB5BFD2-246A-034F-B635-DE62B5FCF3A6}" dt="2023-05-27T07:30:57.294" v="5" actId="478"/>
        <pc:sldMkLst>
          <pc:docMk/>
          <pc:sldMk cId="3497284152" sldId="280"/>
        </pc:sldMkLst>
        <pc:inkChg chg="del">
          <ac:chgData name="Aniket Chhabra" userId="598e0514-bef3-4e71-b6aa-f2edd6441cff" providerId="ADAL" clId="{FFB5BFD2-246A-034F-B635-DE62B5FCF3A6}" dt="2023-05-27T07:30:57.294" v="5" actId="478"/>
          <ac:inkMkLst>
            <pc:docMk/>
            <pc:sldMk cId="3497284152" sldId="280"/>
            <ac:inkMk id="3" creationId="{39FBA738-BFDC-295E-D992-D3CD59BFB5DC}"/>
          </ac:inkMkLst>
        </pc:inkChg>
      </pc:sldChg>
      <pc:sldChg chg="addSp delSp modSp mod ord">
        <pc:chgData name="Aniket Chhabra" userId="598e0514-bef3-4e71-b6aa-f2edd6441cff" providerId="ADAL" clId="{FFB5BFD2-246A-034F-B635-DE62B5FCF3A6}" dt="2023-06-03T15:50:07.362" v="1527" actId="9405"/>
        <pc:sldMkLst>
          <pc:docMk/>
          <pc:sldMk cId="302558819" sldId="281"/>
        </pc:sldMkLst>
        <pc:grpChg chg="mod">
          <ac:chgData name="Aniket Chhabra" userId="598e0514-bef3-4e71-b6aa-f2edd6441cff" providerId="ADAL" clId="{FFB5BFD2-246A-034F-B635-DE62B5FCF3A6}" dt="2023-05-27T12:19:27.773" v="938"/>
          <ac:grpSpMkLst>
            <pc:docMk/>
            <pc:sldMk cId="302558819" sldId="281"/>
            <ac:grpSpMk id="11" creationId="{CDD352E9-7D92-2BD0-A34B-EBE00CF38172}"/>
          </ac:grpSpMkLst>
        </pc:grpChg>
        <pc:grpChg chg="del mod">
          <ac:chgData name="Aniket Chhabra" userId="598e0514-bef3-4e71-b6aa-f2edd6441cff" providerId="ADAL" clId="{FFB5BFD2-246A-034F-B635-DE62B5FCF3A6}" dt="2023-05-27T12:21:03.965" v="978"/>
          <ac:grpSpMkLst>
            <pc:docMk/>
            <pc:sldMk cId="302558819" sldId="281"/>
            <ac:grpSpMk id="15" creationId="{2FE2EF07-0410-C541-4039-769EA0E760A1}"/>
          </ac:grpSpMkLst>
        </pc:grpChg>
        <pc:grpChg chg="del mod">
          <ac:chgData name="Aniket Chhabra" userId="598e0514-bef3-4e71-b6aa-f2edd6441cff" providerId="ADAL" clId="{FFB5BFD2-246A-034F-B635-DE62B5FCF3A6}" dt="2023-05-27T12:21:03.133" v="976"/>
          <ac:grpSpMkLst>
            <pc:docMk/>
            <pc:sldMk cId="302558819" sldId="281"/>
            <ac:grpSpMk id="19" creationId="{434E4BC0-68FB-193F-80F1-0D0A322F6AA9}"/>
          </ac:grpSpMkLst>
        </pc:grpChg>
        <pc:grpChg chg="add del">
          <ac:chgData name="Aniket Chhabra" userId="598e0514-bef3-4e71-b6aa-f2edd6441cff" providerId="ADAL" clId="{FFB5BFD2-246A-034F-B635-DE62B5FCF3A6}" dt="2023-05-27T07:31:11.930" v="11" actId="478"/>
          <ac:grpSpMkLst>
            <pc:docMk/>
            <pc:sldMk cId="302558819" sldId="281"/>
            <ac:grpSpMk id="19" creationId="{D9E3AEAF-95AD-7355-EBF7-D97F7BFE0D16}"/>
          </ac:grpSpMkLst>
        </pc:grpChg>
        <pc:grpChg chg="del mod">
          <ac:chgData name="Aniket Chhabra" userId="598e0514-bef3-4e71-b6aa-f2edd6441cff" providerId="ADAL" clId="{FFB5BFD2-246A-034F-B635-DE62B5FCF3A6}" dt="2023-06-03T15:49:21.897" v="1514"/>
          <ac:grpSpMkLst>
            <pc:docMk/>
            <pc:sldMk cId="302558819" sldId="281"/>
            <ac:grpSpMk id="33" creationId="{9F51E425-05E9-EB77-B303-E5D222EF013D}"/>
          </ac:grpSpMkLst>
        </pc:grpChg>
        <pc:grpChg chg="del mod">
          <ac:chgData name="Aniket Chhabra" userId="598e0514-bef3-4e71-b6aa-f2edd6441cff" providerId="ADAL" clId="{FFB5BFD2-246A-034F-B635-DE62B5FCF3A6}" dt="2023-06-03T15:49:24.263" v="1519"/>
          <ac:grpSpMkLst>
            <pc:docMk/>
            <pc:sldMk cId="302558819" sldId="281"/>
            <ac:grpSpMk id="35" creationId="{41175B18-EACD-2FBF-3F56-5F8F39DFDEF1}"/>
          </ac:grpSpMkLst>
        </pc:grpChg>
        <pc:grpChg chg="mod">
          <ac:chgData name="Aniket Chhabra" userId="598e0514-bef3-4e71-b6aa-f2edd6441cff" providerId="ADAL" clId="{FFB5BFD2-246A-034F-B635-DE62B5FCF3A6}" dt="2023-06-03T15:49:24.263" v="1519"/>
          <ac:grpSpMkLst>
            <pc:docMk/>
            <pc:sldMk cId="302558819" sldId="281"/>
            <ac:grpSpMk id="40" creationId="{5452D138-C507-63AB-520B-F994AE2E3F0A}"/>
          </ac:grpSpMkLst>
        </pc:grpChg>
        <pc:grpChg chg="add del">
          <ac:chgData name="Aniket Chhabra" userId="598e0514-bef3-4e71-b6aa-f2edd6441cff" providerId="ADAL" clId="{FFB5BFD2-246A-034F-B635-DE62B5FCF3A6}" dt="2023-05-27T07:31:11.930" v="11" actId="478"/>
          <ac:grpSpMkLst>
            <pc:docMk/>
            <pc:sldMk cId="302558819" sldId="281"/>
            <ac:grpSpMk id="103" creationId="{E79037A4-B2FD-CC6E-DA0E-EDD01F4C3B51}"/>
          </ac:grpSpMkLst>
        </pc:grpChg>
        <pc:grpChg chg="mod">
          <ac:chgData name="Aniket Chhabra" userId="598e0514-bef3-4e71-b6aa-f2edd6441cff" providerId="ADAL" clId="{FFB5BFD2-246A-034F-B635-DE62B5FCF3A6}" dt="2023-05-27T07:42:51.622" v="255"/>
          <ac:grpSpMkLst>
            <pc:docMk/>
            <pc:sldMk cId="302558819" sldId="281"/>
            <ac:grpSpMk id="117" creationId="{C245BC95-9676-6DB1-0670-4DFE0DE7DEFA}"/>
          </ac:grpSpMkLst>
        </pc:grpChg>
        <pc:grpChg chg="add del">
          <ac:chgData name="Aniket Chhabra" userId="598e0514-bef3-4e71-b6aa-f2edd6441cff" providerId="ADAL" clId="{FFB5BFD2-246A-034F-B635-DE62B5FCF3A6}" dt="2023-05-27T07:31:11.930" v="11" actId="478"/>
          <ac:grpSpMkLst>
            <pc:docMk/>
            <pc:sldMk cId="302558819" sldId="281"/>
            <ac:grpSpMk id="142" creationId="{2CF339B3-7D72-3D2E-333C-5A0F0DF72C02}"/>
          </ac:grpSpMkLst>
        </pc:grpChg>
        <pc:grpChg chg="del">
          <ac:chgData name="Aniket Chhabra" userId="598e0514-bef3-4e71-b6aa-f2edd6441cff" providerId="ADAL" clId="{FFB5BFD2-246A-034F-B635-DE62B5FCF3A6}" dt="2023-05-27T07:31:03.038" v="6" actId="478"/>
          <ac:grpSpMkLst>
            <pc:docMk/>
            <pc:sldMk cId="302558819" sldId="281"/>
            <ac:grpSpMk id="149" creationId="{E0185417-B2F3-0D0A-F897-31C6A77B53C8}"/>
          </ac:grpSpMkLst>
        </pc:grpChg>
        <pc:picChg chg="add del">
          <ac:chgData name="Aniket Chhabra" userId="598e0514-bef3-4e71-b6aa-f2edd6441cff" providerId="ADAL" clId="{FFB5BFD2-246A-034F-B635-DE62B5FCF3A6}" dt="2023-05-27T07:31:06.601" v="8" actId="478"/>
          <ac:picMkLst>
            <pc:docMk/>
            <pc:sldMk cId="302558819" sldId="281"/>
            <ac:picMk id="13" creationId="{06DE953C-A3BC-4BEA-94CA-51F55236EC13}"/>
          </ac:picMkLst>
        </pc:picChg>
        <pc:inkChg chg="add del">
          <ac:chgData name="Aniket Chhabra" userId="598e0514-bef3-4e71-b6aa-f2edd6441cff" providerId="ADAL" clId="{FFB5BFD2-246A-034F-B635-DE62B5FCF3A6}" dt="2023-05-27T07:31:11.930" v="11" actId="478"/>
          <ac:inkMkLst>
            <pc:docMk/>
            <pc:sldMk cId="302558819" sldId="281"/>
            <ac:inkMk id="4" creationId="{28D345D5-1264-40E3-B0ED-CD3EDEBC5793}"/>
          </ac:inkMkLst>
        </pc:inkChg>
        <pc:inkChg chg="add">
          <ac:chgData name="Aniket Chhabra" userId="598e0514-bef3-4e71-b6aa-f2edd6441cff" providerId="ADAL" clId="{FFB5BFD2-246A-034F-B635-DE62B5FCF3A6}" dt="2023-05-27T12:19:24.112" v="932" actId="9405"/>
          <ac:inkMkLst>
            <pc:docMk/>
            <pc:sldMk cId="302558819" sldId="281"/>
            <ac:inkMk id="4" creationId="{7F770BCA-AA2D-0C5A-E520-73E891A3909E}"/>
          </ac:inkMkLst>
        </pc:inkChg>
        <pc:inkChg chg="add mod">
          <ac:chgData name="Aniket Chhabra" userId="598e0514-bef3-4e71-b6aa-f2edd6441cff" providerId="ADAL" clId="{FFB5BFD2-246A-034F-B635-DE62B5FCF3A6}" dt="2023-05-27T12:19:27.773" v="938"/>
          <ac:inkMkLst>
            <pc:docMk/>
            <pc:sldMk cId="302558819" sldId="281"/>
            <ac:inkMk id="5" creationId="{466DE37B-4930-E2E5-C2A6-97412B1388B5}"/>
          </ac:inkMkLst>
        </pc:inkChg>
        <pc:inkChg chg="add mod">
          <ac:chgData name="Aniket Chhabra" userId="598e0514-bef3-4e71-b6aa-f2edd6441cff" providerId="ADAL" clId="{FFB5BFD2-246A-034F-B635-DE62B5FCF3A6}" dt="2023-05-27T12:19:27.773" v="938"/>
          <ac:inkMkLst>
            <pc:docMk/>
            <pc:sldMk cId="302558819" sldId="281"/>
            <ac:inkMk id="7" creationId="{982C890D-4668-0D7D-CEAF-57434AF34E5C}"/>
          </ac:inkMkLst>
        </pc:inkChg>
        <pc:inkChg chg="add mod">
          <ac:chgData name="Aniket Chhabra" userId="598e0514-bef3-4e71-b6aa-f2edd6441cff" providerId="ADAL" clId="{FFB5BFD2-246A-034F-B635-DE62B5FCF3A6}" dt="2023-05-27T12:19:27.773" v="938"/>
          <ac:inkMkLst>
            <pc:docMk/>
            <pc:sldMk cId="302558819" sldId="281"/>
            <ac:inkMk id="8" creationId="{234EF26E-48EB-A579-F1A7-C820D972AE81}"/>
          </ac:inkMkLst>
        </pc:inkChg>
        <pc:inkChg chg="add mod">
          <ac:chgData name="Aniket Chhabra" userId="598e0514-bef3-4e71-b6aa-f2edd6441cff" providerId="ADAL" clId="{FFB5BFD2-246A-034F-B635-DE62B5FCF3A6}" dt="2023-05-27T12:19:27.773" v="938"/>
          <ac:inkMkLst>
            <pc:docMk/>
            <pc:sldMk cId="302558819" sldId="281"/>
            <ac:inkMk id="9" creationId="{58CCE938-1D74-F097-B612-97784D76E954}"/>
          </ac:inkMkLst>
        </pc:inkChg>
        <pc:inkChg chg="add mod">
          <ac:chgData name="Aniket Chhabra" userId="598e0514-bef3-4e71-b6aa-f2edd6441cff" providerId="ADAL" clId="{FFB5BFD2-246A-034F-B635-DE62B5FCF3A6}" dt="2023-05-27T12:19:27.773" v="938"/>
          <ac:inkMkLst>
            <pc:docMk/>
            <pc:sldMk cId="302558819" sldId="281"/>
            <ac:inkMk id="10" creationId="{30996875-5B0B-C602-D037-D3B1F52AD9FB}"/>
          </ac:inkMkLst>
        </pc:inkChg>
        <pc:inkChg chg="add">
          <ac:chgData name="Aniket Chhabra" userId="598e0514-bef3-4e71-b6aa-f2edd6441cff" providerId="ADAL" clId="{FFB5BFD2-246A-034F-B635-DE62B5FCF3A6}" dt="2023-06-03T15:47:41.513" v="1494" actId="9405"/>
          <ac:inkMkLst>
            <pc:docMk/>
            <pc:sldMk cId="302558819" sldId="281"/>
            <ac:inkMk id="12" creationId="{3A3A4212-8DFA-19B5-31A5-06804B5CCE45}"/>
          </ac:inkMkLst>
        </pc:inkChg>
        <pc:inkChg chg="add del mod">
          <ac:chgData name="Aniket Chhabra" userId="598e0514-bef3-4e71-b6aa-f2edd6441cff" providerId="ADAL" clId="{FFB5BFD2-246A-034F-B635-DE62B5FCF3A6}" dt="2023-05-27T12:21:03.965" v="978"/>
          <ac:inkMkLst>
            <pc:docMk/>
            <pc:sldMk cId="302558819" sldId="281"/>
            <ac:inkMk id="12" creationId="{CE2FCE2A-39ED-46AE-F56D-0530BD2CF98D}"/>
          </ac:inkMkLst>
        </pc:inkChg>
        <pc:inkChg chg="add del mod">
          <ac:chgData name="Aniket Chhabra" userId="598e0514-bef3-4e71-b6aa-f2edd6441cff" providerId="ADAL" clId="{FFB5BFD2-246A-034F-B635-DE62B5FCF3A6}" dt="2023-05-27T12:21:03.966" v="979"/>
          <ac:inkMkLst>
            <pc:docMk/>
            <pc:sldMk cId="302558819" sldId="281"/>
            <ac:inkMk id="14" creationId="{19A869FB-7A0E-C4D4-E687-2719FC9B254D}"/>
          </ac:inkMkLst>
        </pc:inkChg>
        <pc:inkChg chg="add">
          <ac:chgData name="Aniket Chhabra" userId="598e0514-bef3-4e71-b6aa-f2edd6441cff" providerId="ADAL" clId="{FFB5BFD2-246A-034F-B635-DE62B5FCF3A6}" dt="2023-06-03T15:48:17.774" v="1495" actId="9405"/>
          <ac:inkMkLst>
            <pc:docMk/>
            <pc:sldMk cId="302558819" sldId="281"/>
            <ac:inkMk id="14" creationId="{83E522B3-DAB9-6BD1-3355-9CA78C11DBFD}"/>
          </ac:inkMkLst>
        </pc:inkChg>
        <pc:inkChg chg="add">
          <ac:chgData name="Aniket Chhabra" userId="598e0514-bef3-4e71-b6aa-f2edd6441cff" providerId="ADAL" clId="{FFB5BFD2-246A-034F-B635-DE62B5FCF3A6}" dt="2023-06-03T15:48:19.873" v="1496" actId="9405"/>
          <ac:inkMkLst>
            <pc:docMk/>
            <pc:sldMk cId="302558819" sldId="281"/>
            <ac:inkMk id="15" creationId="{85F95E14-1413-1B76-FC5A-BE635A5BCD9A}"/>
          </ac:inkMkLst>
        </pc:inkChg>
        <pc:inkChg chg="add">
          <ac:chgData name="Aniket Chhabra" userId="598e0514-bef3-4e71-b6aa-f2edd6441cff" providerId="ADAL" clId="{FFB5BFD2-246A-034F-B635-DE62B5FCF3A6}" dt="2023-06-03T15:48:25.366" v="1497" actId="9405"/>
          <ac:inkMkLst>
            <pc:docMk/>
            <pc:sldMk cId="302558819" sldId="281"/>
            <ac:inkMk id="16" creationId="{0D8C0C76-0C6A-DE87-C4E9-7BDFA98D9184}"/>
          </ac:inkMkLst>
        </pc:inkChg>
        <pc:inkChg chg="add del mod">
          <ac:chgData name="Aniket Chhabra" userId="598e0514-bef3-4e71-b6aa-f2edd6441cff" providerId="ADAL" clId="{FFB5BFD2-246A-034F-B635-DE62B5FCF3A6}" dt="2023-05-27T12:21:03.137" v="977"/>
          <ac:inkMkLst>
            <pc:docMk/>
            <pc:sldMk cId="302558819" sldId="281"/>
            <ac:inkMk id="16" creationId="{498C71FA-987F-7C71-05FF-08A5E5C75EA5}"/>
          </ac:inkMkLst>
        </pc:inkChg>
        <pc:inkChg chg="add">
          <ac:chgData name="Aniket Chhabra" userId="598e0514-bef3-4e71-b6aa-f2edd6441cff" providerId="ADAL" clId="{FFB5BFD2-246A-034F-B635-DE62B5FCF3A6}" dt="2023-06-03T15:48:57.874" v="1498" actId="9405"/>
          <ac:inkMkLst>
            <pc:docMk/>
            <pc:sldMk cId="302558819" sldId="281"/>
            <ac:inkMk id="17" creationId="{8D436860-A29B-7E22-39EB-BB84BF7A79A3}"/>
          </ac:inkMkLst>
        </pc:inkChg>
        <pc:inkChg chg="add del mod">
          <ac:chgData name="Aniket Chhabra" userId="598e0514-bef3-4e71-b6aa-f2edd6441cff" providerId="ADAL" clId="{FFB5BFD2-246A-034F-B635-DE62B5FCF3A6}" dt="2023-05-27T12:21:03.133" v="976"/>
          <ac:inkMkLst>
            <pc:docMk/>
            <pc:sldMk cId="302558819" sldId="281"/>
            <ac:inkMk id="17" creationId="{E36DE5E2-DCCD-5ECA-1EE1-3109DEB949DA}"/>
          </ac:inkMkLst>
        </pc:inkChg>
        <pc:inkChg chg="add">
          <ac:chgData name="Aniket Chhabra" userId="598e0514-bef3-4e71-b6aa-f2edd6441cff" providerId="ADAL" clId="{FFB5BFD2-246A-034F-B635-DE62B5FCF3A6}" dt="2023-06-03T15:48:58.503" v="1499" actId="9405"/>
          <ac:inkMkLst>
            <pc:docMk/>
            <pc:sldMk cId="302558819" sldId="281"/>
            <ac:inkMk id="19" creationId="{DA67C4C4-6056-75B7-5A99-EB02E9A9DA29}"/>
          </ac:inkMkLst>
        </pc:inkChg>
        <pc:inkChg chg="add mod">
          <ac:chgData name="Aniket Chhabra" userId="598e0514-bef3-4e71-b6aa-f2edd6441cff" providerId="ADAL" clId="{FFB5BFD2-246A-034F-B635-DE62B5FCF3A6}" dt="2023-05-27T07:42:51.622" v="255"/>
          <ac:inkMkLst>
            <pc:docMk/>
            <pc:sldMk cId="302558819" sldId="281"/>
            <ac:inkMk id="20" creationId="{17FA8814-BBDB-6721-42FE-C021216CCB70}"/>
          </ac:inkMkLst>
        </pc:inkChg>
        <pc:inkChg chg="add">
          <ac:chgData name="Aniket Chhabra" userId="598e0514-bef3-4e71-b6aa-f2edd6441cff" providerId="ADAL" clId="{FFB5BFD2-246A-034F-B635-DE62B5FCF3A6}" dt="2023-06-03T15:48:59.955" v="1500" actId="9405"/>
          <ac:inkMkLst>
            <pc:docMk/>
            <pc:sldMk cId="302558819" sldId="281"/>
            <ac:inkMk id="21" creationId="{67E81D57-F6F1-D8A9-169E-A98174C810FB}"/>
          </ac:inkMkLst>
        </pc:inkChg>
        <pc:inkChg chg="add">
          <ac:chgData name="Aniket Chhabra" userId="598e0514-bef3-4e71-b6aa-f2edd6441cff" providerId="ADAL" clId="{FFB5BFD2-246A-034F-B635-DE62B5FCF3A6}" dt="2023-06-03T15:49:00.980" v="1501" actId="9405"/>
          <ac:inkMkLst>
            <pc:docMk/>
            <pc:sldMk cId="302558819" sldId="281"/>
            <ac:inkMk id="22" creationId="{E16B9287-35C0-5A97-2EE0-EB4658C84BE2}"/>
          </ac:inkMkLst>
        </pc:inkChg>
        <pc:inkChg chg="add mod">
          <ac:chgData name="Aniket Chhabra" userId="598e0514-bef3-4e71-b6aa-f2edd6441cff" providerId="ADAL" clId="{FFB5BFD2-246A-034F-B635-DE62B5FCF3A6}" dt="2023-06-03T15:49:24.263" v="1519"/>
          <ac:inkMkLst>
            <pc:docMk/>
            <pc:sldMk cId="302558819" sldId="281"/>
            <ac:inkMk id="23" creationId="{61BFE863-779A-CC66-FD28-C8DE1DCC17F0}"/>
          </ac:inkMkLst>
        </pc:inkChg>
        <pc:inkChg chg="add mod">
          <ac:chgData name="Aniket Chhabra" userId="598e0514-bef3-4e71-b6aa-f2edd6441cff" providerId="ADAL" clId="{FFB5BFD2-246A-034F-B635-DE62B5FCF3A6}" dt="2023-06-03T15:49:24.263" v="1519"/>
          <ac:inkMkLst>
            <pc:docMk/>
            <pc:sldMk cId="302558819" sldId="281"/>
            <ac:inkMk id="24" creationId="{8D5D0E6B-C912-6C8D-265B-AAFEF5638714}"/>
          </ac:inkMkLst>
        </pc:inkChg>
        <pc:inkChg chg="add">
          <ac:chgData name="Aniket Chhabra" userId="598e0514-bef3-4e71-b6aa-f2edd6441cff" providerId="ADAL" clId="{FFB5BFD2-246A-034F-B635-DE62B5FCF3A6}" dt="2023-06-03T15:49:10.076" v="1504" actId="9405"/>
          <ac:inkMkLst>
            <pc:docMk/>
            <pc:sldMk cId="302558819" sldId="281"/>
            <ac:inkMk id="25" creationId="{8BFB27C6-720B-6536-04BC-C47F18A12C55}"/>
          </ac:inkMkLst>
        </pc:inkChg>
        <pc:inkChg chg="add">
          <ac:chgData name="Aniket Chhabra" userId="598e0514-bef3-4e71-b6aa-f2edd6441cff" providerId="ADAL" clId="{FFB5BFD2-246A-034F-B635-DE62B5FCF3A6}" dt="2023-06-03T15:49:10.647" v="1505" actId="9405"/>
          <ac:inkMkLst>
            <pc:docMk/>
            <pc:sldMk cId="302558819" sldId="281"/>
            <ac:inkMk id="26" creationId="{945DF521-D98D-C4E1-4533-DF6BF7B5C130}"/>
          </ac:inkMkLst>
        </pc:inkChg>
        <pc:inkChg chg="add">
          <ac:chgData name="Aniket Chhabra" userId="598e0514-bef3-4e71-b6aa-f2edd6441cff" providerId="ADAL" clId="{FFB5BFD2-246A-034F-B635-DE62B5FCF3A6}" dt="2023-06-03T15:49:12.309" v="1506" actId="9405"/>
          <ac:inkMkLst>
            <pc:docMk/>
            <pc:sldMk cId="302558819" sldId="281"/>
            <ac:inkMk id="27" creationId="{61C0B646-D755-23B4-E853-48A1D4181CE9}"/>
          </ac:inkMkLst>
        </pc:inkChg>
        <pc:inkChg chg="add">
          <ac:chgData name="Aniket Chhabra" userId="598e0514-bef3-4e71-b6aa-f2edd6441cff" providerId="ADAL" clId="{FFB5BFD2-246A-034F-B635-DE62B5FCF3A6}" dt="2023-06-03T15:49:12.613" v="1507" actId="9405"/>
          <ac:inkMkLst>
            <pc:docMk/>
            <pc:sldMk cId="302558819" sldId="281"/>
            <ac:inkMk id="28" creationId="{23D1CA9E-51D0-E059-8538-11CB7D10D714}"/>
          </ac:inkMkLst>
        </pc:inkChg>
        <pc:inkChg chg="add mod">
          <ac:chgData name="Aniket Chhabra" userId="598e0514-bef3-4e71-b6aa-f2edd6441cff" providerId="ADAL" clId="{FFB5BFD2-246A-034F-B635-DE62B5FCF3A6}" dt="2023-06-03T15:49:24.263" v="1519"/>
          <ac:inkMkLst>
            <pc:docMk/>
            <pc:sldMk cId="302558819" sldId="281"/>
            <ac:inkMk id="29" creationId="{ABB61E39-63D3-925B-B7C6-014723291CA6}"/>
          </ac:inkMkLst>
        </pc:inkChg>
        <pc:inkChg chg="add del">
          <ac:chgData name="Aniket Chhabra" userId="598e0514-bef3-4e71-b6aa-f2edd6441cff" providerId="ADAL" clId="{FFB5BFD2-246A-034F-B635-DE62B5FCF3A6}" dt="2023-05-27T07:31:11.930" v="11" actId="478"/>
          <ac:inkMkLst>
            <pc:docMk/>
            <pc:sldMk cId="302558819" sldId="281"/>
            <ac:inkMk id="30" creationId="{7102748D-19D1-BD40-B611-13AFD5FD0C38}"/>
          </ac:inkMkLst>
        </pc:inkChg>
        <pc:inkChg chg="add mod">
          <ac:chgData name="Aniket Chhabra" userId="598e0514-bef3-4e71-b6aa-f2edd6441cff" providerId="ADAL" clId="{FFB5BFD2-246A-034F-B635-DE62B5FCF3A6}" dt="2023-06-03T15:49:24.263" v="1519"/>
          <ac:inkMkLst>
            <pc:docMk/>
            <pc:sldMk cId="302558819" sldId="281"/>
            <ac:inkMk id="30" creationId="{8A7CA968-E27C-B11F-B0E0-77EB9ED9039B}"/>
          </ac:inkMkLst>
        </pc:inkChg>
        <pc:inkChg chg="add mod">
          <ac:chgData name="Aniket Chhabra" userId="598e0514-bef3-4e71-b6aa-f2edd6441cff" providerId="ADAL" clId="{FFB5BFD2-246A-034F-B635-DE62B5FCF3A6}" dt="2023-06-03T15:49:24.263" v="1519"/>
          <ac:inkMkLst>
            <pc:docMk/>
            <pc:sldMk cId="302558819" sldId="281"/>
            <ac:inkMk id="31" creationId="{49FFA7F6-BD5F-6106-AD22-953F6EED2FA0}"/>
          </ac:inkMkLst>
        </pc:inkChg>
        <pc:inkChg chg="add mod">
          <ac:chgData name="Aniket Chhabra" userId="598e0514-bef3-4e71-b6aa-f2edd6441cff" providerId="ADAL" clId="{FFB5BFD2-246A-034F-B635-DE62B5FCF3A6}" dt="2023-06-03T15:49:24.263" v="1519"/>
          <ac:inkMkLst>
            <pc:docMk/>
            <pc:sldMk cId="302558819" sldId="281"/>
            <ac:inkMk id="32" creationId="{BA1AC9E7-9B15-9291-BFFC-66EA1C4C4E06}"/>
          </ac:inkMkLst>
        </pc:inkChg>
        <pc:inkChg chg="add mod">
          <ac:chgData name="Aniket Chhabra" userId="598e0514-bef3-4e71-b6aa-f2edd6441cff" providerId="ADAL" clId="{FFB5BFD2-246A-034F-B635-DE62B5FCF3A6}" dt="2023-06-03T15:49:24.263" v="1519"/>
          <ac:inkMkLst>
            <pc:docMk/>
            <pc:sldMk cId="302558819" sldId="281"/>
            <ac:inkMk id="34" creationId="{24597A9F-4326-B702-23EC-0227557FC279}"/>
          </ac:inkMkLst>
        </pc:inkChg>
        <pc:inkChg chg="add">
          <ac:chgData name="Aniket Chhabra" userId="598e0514-bef3-4e71-b6aa-f2edd6441cff" providerId="ADAL" clId="{FFB5BFD2-246A-034F-B635-DE62B5FCF3A6}" dt="2023-06-03T15:49:22.600" v="1515" actId="9405"/>
          <ac:inkMkLst>
            <pc:docMk/>
            <pc:sldMk cId="302558819" sldId="281"/>
            <ac:inkMk id="36" creationId="{78A88CBC-6BAA-30A2-9A2D-5B4EEAD1893A}"/>
          </ac:inkMkLst>
        </pc:inkChg>
        <pc:inkChg chg="add mod">
          <ac:chgData name="Aniket Chhabra" userId="598e0514-bef3-4e71-b6aa-f2edd6441cff" providerId="ADAL" clId="{FFB5BFD2-246A-034F-B635-DE62B5FCF3A6}" dt="2023-06-03T15:49:24.263" v="1519"/>
          <ac:inkMkLst>
            <pc:docMk/>
            <pc:sldMk cId="302558819" sldId="281"/>
            <ac:inkMk id="37" creationId="{DFB9A29D-16DB-9112-E8D2-AF8A65568FAB}"/>
          </ac:inkMkLst>
        </pc:inkChg>
        <pc:inkChg chg="add mod">
          <ac:chgData name="Aniket Chhabra" userId="598e0514-bef3-4e71-b6aa-f2edd6441cff" providerId="ADAL" clId="{FFB5BFD2-246A-034F-B635-DE62B5FCF3A6}" dt="2023-06-03T15:49:24.263" v="1519"/>
          <ac:inkMkLst>
            <pc:docMk/>
            <pc:sldMk cId="302558819" sldId="281"/>
            <ac:inkMk id="38" creationId="{D951ADDD-3483-58F3-5C0B-00A74E91BB92}"/>
          </ac:inkMkLst>
        </pc:inkChg>
        <pc:inkChg chg="add mod">
          <ac:chgData name="Aniket Chhabra" userId="598e0514-bef3-4e71-b6aa-f2edd6441cff" providerId="ADAL" clId="{FFB5BFD2-246A-034F-B635-DE62B5FCF3A6}" dt="2023-06-03T15:49:24.263" v="1519"/>
          <ac:inkMkLst>
            <pc:docMk/>
            <pc:sldMk cId="302558819" sldId="281"/>
            <ac:inkMk id="39" creationId="{4A169282-AEEA-12FA-F876-1715CBA8C8FE}"/>
          </ac:inkMkLst>
        </pc:inkChg>
        <pc:inkChg chg="add">
          <ac:chgData name="Aniket Chhabra" userId="598e0514-bef3-4e71-b6aa-f2edd6441cff" providerId="ADAL" clId="{FFB5BFD2-246A-034F-B635-DE62B5FCF3A6}" dt="2023-06-03T15:50:07.362" v="1527" actId="9405"/>
          <ac:inkMkLst>
            <pc:docMk/>
            <pc:sldMk cId="302558819" sldId="281"/>
            <ac:inkMk id="41" creationId="{5F6240E0-94FB-D9CD-5987-85BD52C55094}"/>
          </ac:inkMkLst>
        </pc:inkChg>
        <pc:inkChg chg="add mod">
          <ac:chgData name="Aniket Chhabra" userId="598e0514-bef3-4e71-b6aa-f2edd6441cff" providerId="ADAL" clId="{FFB5BFD2-246A-034F-B635-DE62B5FCF3A6}" dt="2023-05-27T07:42:51.622" v="255"/>
          <ac:inkMkLst>
            <pc:docMk/>
            <pc:sldMk cId="302558819" sldId="281"/>
            <ac:inkMk id="71" creationId="{98E58702-0CC8-9684-0F5F-954CBC9EEA2B}"/>
          </ac:inkMkLst>
        </pc:inkChg>
        <pc:inkChg chg="add mod">
          <ac:chgData name="Aniket Chhabra" userId="598e0514-bef3-4e71-b6aa-f2edd6441cff" providerId="ADAL" clId="{FFB5BFD2-246A-034F-B635-DE62B5FCF3A6}" dt="2023-05-27T07:42:51.622" v="255"/>
          <ac:inkMkLst>
            <pc:docMk/>
            <pc:sldMk cId="302558819" sldId="281"/>
            <ac:inkMk id="76" creationId="{6D9FEE70-40A0-11BB-5B46-EEBA7D82E692}"/>
          </ac:inkMkLst>
        </pc:inkChg>
        <pc:inkChg chg="add mod">
          <ac:chgData name="Aniket Chhabra" userId="598e0514-bef3-4e71-b6aa-f2edd6441cff" providerId="ADAL" clId="{FFB5BFD2-246A-034F-B635-DE62B5FCF3A6}" dt="2023-05-27T07:42:51.622" v="255"/>
          <ac:inkMkLst>
            <pc:docMk/>
            <pc:sldMk cId="302558819" sldId="281"/>
            <ac:inkMk id="81" creationId="{62C56910-9FC8-1577-D880-7CB8ECF1E155}"/>
          </ac:inkMkLst>
        </pc:inkChg>
        <pc:inkChg chg="add mod">
          <ac:chgData name="Aniket Chhabra" userId="598e0514-bef3-4e71-b6aa-f2edd6441cff" providerId="ADAL" clId="{FFB5BFD2-246A-034F-B635-DE62B5FCF3A6}" dt="2023-05-27T07:42:51.622" v="255"/>
          <ac:inkMkLst>
            <pc:docMk/>
            <pc:sldMk cId="302558819" sldId="281"/>
            <ac:inkMk id="83" creationId="{67EBF58E-8999-6E9A-2411-C3C9D66EF1C8}"/>
          </ac:inkMkLst>
        </pc:inkChg>
        <pc:inkChg chg="add mod">
          <ac:chgData name="Aniket Chhabra" userId="598e0514-bef3-4e71-b6aa-f2edd6441cff" providerId="ADAL" clId="{FFB5BFD2-246A-034F-B635-DE62B5FCF3A6}" dt="2023-05-27T07:42:51.622" v="255"/>
          <ac:inkMkLst>
            <pc:docMk/>
            <pc:sldMk cId="302558819" sldId="281"/>
            <ac:inkMk id="91" creationId="{63217F07-AF18-F151-32ED-031C7472994B}"/>
          </ac:inkMkLst>
        </pc:inkChg>
        <pc:inkChg chg="add mod">
          <ac:chgData name="Aniket Chhabra" userId="598e0514-bef3-4e71-b6aa-f2edd6441cff" providerId="ADAL" clId="{FFB5BFD2-246A-034F-B635-DE62B5FCF3A6}" dt="2023-05-27T07:42:51.622" v="255"/>
          <ac:inkMkLst>
            <pc:docMk/>
            <pc:sldMk cId="302558819" sldId="281"/>
            <ac:inkMk id="98" creationId="{EF928F1E-578D-7FAC-528A-0289C3A0A242}"/>
          </ac:inkMkLst>
        </pc:inkChg>
        <pc:inkChg chg="add del">
          <ac:chgData name="Aniket Chhabra" userId="598e0514-bef3-4e71-b6aa-f2edd6441cff" providerId="ADAL" clId="{FFB5BFD2-246A-034F-B635-DE62B5FCF3A6}" dt="2023-05-27T07:31:11.930" v="11" actId="478"/>
          <ac:inkMkLst>
            <pc:docMk/>
            <pc:sldMk cId="302558819" sldId="281"/>
            <ac:inkMk id="99" creationId="{377F2950-FFF4-4E37-0C17-16BE83547129}"/>
          </ac:inkMkLst>
        </pc:inkChg>
        <pc:inkChg chg="add del">
          <ac:chgData name="Aniket Chhabra" userId="598e0514-bef3-4e71-b6aa-f2edd6441cff" providerId="ADAL" clId="{FFB5BFD2-246A-034F-B635-DE62B5FCF3A6}" dt="2023-05-27T07:31:11.930" v="11" actId="478"/>
          <ac:inkMkLst>
            <pc:docMk/>
            <pc:sldMk cId="302558819" sldId="281"/>
            <ac:inkMk id="100" creationId="{A8CFA5D8-BB62-D5F3-88E4-66DB545BA228}"/>
          </ac:inkMkLst>
        </pc:inkChg>
        <pc:inkChg chg="add mod">
          <ac:chgData name="Aniket Chhabra" userId="598e0514-bef3-4e71-b6aa-f2edd6441cff" providerId="ADAL" clId="{FFB5BFD2-246A-034F-B635-DE62B5FCF3A6}" dt="2023-05-27T07:42:51.622" v="255"/>
          <ac:inkMkLst>
            <pc:docMk/>
            <pc:sldMk cId="302558819" sldId="281"/>
            <ac:inkMk id="106" creationId="{FC1593AA-3DDD-B973-32ED-CCA6C05A6848}"/>
          </ac:inkMkLst>
        </pc:inkChg>
        <pc:inkChg chg="add del">
          <ac:chgData name="Aniket Chhabra" userId="598e0514-bef3-4e71-b6aa-f2edd6441cff" providerId="ADAL" clId="{FFB5BFD2-246A-034F-B635-DE62B5FCF3A6}" dt="2023-05-27T07:31:11.930" v="11" actId="478"/>
          <ac:inkMkLst>
            <pc:docMk/>
            <pc:sldMk cId="302558819" sldId="281"/>
            <ac:inkMk id="107" creationId="{89419D46-0E71-D8C4-EA14-EEE381C4C965}"/>
          </ac:inkMkLst>
        </pc:inkChg>
        <pc:inkChg chg="add del">
          <ac:chgData name="Aniket Chhabra" userId="598e0514-bef3-4e71-b6aa-f2edd6441cff" providerId="ADAL" clId="{FFB5BFD2-246A-034F-B635-DE62B5FCF3A6}" dt="2023-05-27T07:31:11.930" v="11" actId="478"/>
          <ac:inkMkLst>
            <pc:docMk/>
            <pc:sldMk cId="302558819" sldId="281"/>
            <ac:inkMk id="108" creationId="{6C54A20A-2AB7-87A8-0E42-30D89490511A}"/>
          </ac:inkMkLst>
        </pc:inkChg>
        <pc:inkChg chg="add del">
          <ac:chgData name="Aniket Chhabra" userId="598e0514-bef3-4e71-b6aa-f2edd6441cff" providerId="ADAL" clId="{FFB5BFD2-246A-034F-B635-DE62B5FCF3A6}" dt="2023-05-27T07:31:11.930" v="11" actId="478"/>
          <ac:inkMkLst>
            <pc:docMk/>
            <pc:sldMk cId="302558819" sldId="281"/>
            <ac:inkMk id="109" creationId="{2B9D033A-8E0F-3938-75C1-5A49546FF943}"/>
          </ac:inkMkLst>
        </pc:inkChg>
        <pc:inkChg chg="add del">
          <ac:chgData name="Aniket Chhabra" userId="598e0514-bef3-4e71-b6aa-f2edd6441cff" providerId="ADAL" clId="{FFB5BFD2-246A-034F-B635-DE62B5FCF3A6}" dt="2023-05-27T07:31:11.930" v="11" actId="478"/>
          <ac:inkMkLst>
            <pc:docMk/>
            <pc:sldMk cId="302558819" sldId="281"/>
            <ac:inkMk id="110" creationId="{DA3416F1-CA1D-7ED7-49CA-13A28D2F736F}"/>
          </ac:inkMkLst>
        </pc:inkChg>
        <pc:inkChg chg="add del">
          <ac:chgData name="Aniket Chhabra" userId="598e0514-bef3-4e71-b6aa-f2edd6441cff" providerId="ADAL" clId="{FFB5BFD2-246A-034F-B635-DE62B5FCF3A6}" dt="2023-05-27T07:31:11.930" v="11" actId="478"/>
          <ac:inkMkLst>
            <pc:docMk/>
            <pc:sldMk cId="302558819" sldId="281"/>
            <ac:inkMk id="111" creationId="{4FCB60C1-D4CC-420A-2041-8863AFCA2FA7}"/>
          </ac:inkMkLst>
        </pc:inkChg>
        <pc:inkChg chg="add del">
          <ac:chgData name="Aniket Chhabra" userId="598e0514-bef3-4e71-b6aa-f2edd6441cff" providerId="ADAL" clId="{FFB5BFD2-246A-034F-B635-DE62B5FCF3A6}" dt="2023-05-27T07:31:11.930" v="11" actId="478"/>
          <ac:inkMkLst>
            <pc:docMk/>
            <pc:sldMk cId="302558819" sldId="281"/>
            <ac:inkMk id="112" creationId="{C9990863-2FDF-6089-C273-3687E14640E8}"/>
          </ac:inkMkLst>
        </pc:inkChg>
        <pc:inkChg chg="add mod">
          <ac:chgData name="Aniket Chhabra" userId="598e0514-bef3-4e71-b6aa-f2edd6441cff" providerId="ADAL" clId="{FFB5BFD2-246A-034F-B635-DE62B5FCF3A6}" dt="2023-05-27T07:42:51.622" v="255"/>
          <ac:inkMkLst>
            <pc:docMk/>
            <pc:sldMk cId="302558819" sldId="281"/>
            <ac:inkMk id="113" creationId="{FD1DFDAC-4459-042E-34AF-340BCEEF1269}"/>
          </ac:inkMkLst>
        </pc:inkChg>
        <pc:inkChg chg="add del">
          <ac:chgData name="Aniket Chhabra" userId="598e0514-bef3-4e71-b6aa-f2edd6441cff" providerId="ADAL" clId="{FFB5BFD2-246A-034F-B635-DE62B5FCF3A6}" dt="2023-05-27T07:31:11.930" v="11" actId="478"/>
          <ac:inkMkLst>
            <pc:docMk/>
            <pc:sldMk cId="302558819" sldId="281"/>
            <ac:inkMk id="114" creationId="{BB53E4AA-11AC-3DAE-F23A-2B721D01BB86}"/>
          </ac:inkMkLst>
        </pc:inkChg>
        <pc:inkChg chg="add mod">
          <ac:chgData name="Aniket Chhabra" userId="598e0514-bef3-4e71-b6aa-f2edd6441cff" providerId="ADAL" clId="{FFB5BFD2-246A-034F-B635-DE62B5FCF3A6}" dt="2023-05-27T07:42:51.622" v="255"/>
          <ac:inkMkLst>
            <pc:docMk/>
            <pc:sldMk cId="302558819" sldId="281"/>
            <ac:inkMk id="115" creationId="{5DF1E034-1B0E-DCF6-43F5-69CBF106114A}"/>
          </ac:inkMkLst>
        </pc:inkChg>
        <pc:inkChg chg="add">
          <ac:chgData name="Aniket Chhabra" userId="598e0514-bef3-4e71-b6aa-f2edd6441cff" providerId="ADAL" clId="{FFB5BFD2-246A-034F-B635-DE62B5FCF3A6}" dt="2023-05-27T07:42:51.034" v="254" actId="9405"/>
          <ac:inkMkLst>
            <pc:docMk/>
            <pc:sldMk cId="302558819" sldId="281"/>
            <ac:inkMk id="116" creationId="{D9F71B82-CEEC-8C03-2720-40F49ACFDEF3}"/>
          </ac:inkMkLst>
        </pc:inkChg>
        <pc:inkChg chg="add del">
          <ac:chgData name="Aniket Chhabra" userId="598e0514-bef3-4e71-b6aa-f2edd6441cff" providerId="ADAL" clId="{FFB5BFD2-246A-034F-B635-DE62B5FCF3A6}" dt="2023-05-27T07:31:11.930" v="11" actId="478"/>
          <ac:inkMkLst>
            <pc:docMk/>
            <pc:sldMk cId="302558819" sldId="281"/>
            <ac:inkMk id="128" creationId="{CC1C628C-5067-4374-4EC6-AB74B9000352}"/>
          </ac:inkMkLst>
        </pc:inkChg>
        <pc:inkChg chg="add del">
          <ac:chgData name="Aniket Chhabra" userId="598e0514-bef3-4e71-b6aa-f2edd6441cff" providerId="ADAL" clId="{FFB5BFD2-246A-034F-B635-DE62B5FCF3A6}" dt="2023-05-27T07:31:11.930" v="11" actId="478"/>
          <ac:inkMkLst>
            <pc:docMk/>
            <pc:sldMk cId="302558819" sldId="281"/>
            <ac:inkMk id="129" creationId="{E1F95BC8-2D28-025D-6755-661A0703AC4C}"/>
          </ac:inkMkLst>
        </pc:inkChg>
        <pc:inkChg chg="add del">
          <ac:chgData name="Aniket Chhabra" userId="598e0514-bef3-4e71-b6aa-f2edd6441cff" providerId="ADAL" clId="{FFB5BFD2-246A-034F-B635-DE62B5FCF3A6}" dt="2023-05-27T12:20:00.683" v="972"/>
          <ac:inkMkLst>
            <pc:docMk/>
            <pc:sldMk cId="302558819" sldId="281"/>
            <ac:inkMk id="130" creationId="{3397D828-7A16-6732-A472-C92008086DEB}"/>
          </ac:inkMkLst>
        </pc:inkChg>
        <pc:inkChg chg="add del">
          <ac:chgData name="Aniket Chhabra" userId="598e0514-bef3-4e71-b6aa-f2edd6441cff" providerId="ADAL" clId="{FFB5BFD2-246A-034F-B635-DE62B5FCF3A6}" dt="2023-05-27T07:31:11.930" v="11" actId="478"/>
          <ac:inkMkLst>
            <pc:docMk/>
            <pc:sldMk cId="302558819" sldId="281"/>
            <ac:inkMk id="133" creationId="{D4D68FE3-1F44-2575-4E98-8B7164E03600}"/>
          </ac:inkMkLst>
        </pc:inkChg>
        <pc:inkChg chg="add del">
          <ac:chgData name="Aniket Chhabra" userId="598e0514-bef3-4e71-b6aa-f2edd6441cff" providerId="ADAL" clId="{FFB5BFD2-246A-034F-B635-DE62B5FCF3A6}" dt="2023-05-27T07:31:11.930" v="11" actId="478"/>
          <ac:inkMkLst>
            <pc:docMk/>
            <pc:sldMk cId="302558819" sldId="281"/>
            <ac:inkMk id="134" creationId="{0B0146C2-5F96-F346-CB44-00B48ED5DB08}"/>
          </ac:inkMkLst>
        </pc:inkChg>
        <pc:inkChg chg="add">
          <ac:chgData name="Aniket Chhabra" userId="598e0514-bef3-4e71-b6aa-f2edd6441cff" providerId="ADAL" clId="{FFB5BFD2-246A-034F-B635-DE62B5FCF3A6}" dt="2023-05-27T07:47:49.573" v="257" actId="9405"/>
          <ac:inkMkLst>
            <pc:docMk/>
            <pc:sldMk cId="302558819" sldId="281"/>
            <ac:inkMk id="135" creationId="{BE7BC92B-284F-0982-A159-88E750E98F10}"/>
          </ac:inkMkLst>
        </pc:inkChg>
        <pc:inkChg chg="add del">
          <ac:chgData name="Aniket Chhabra" userId="598e0514-bef3-4e71-b6aa-f2edd6441cff" providerId="ADAL" clId="{FFB5BFD2-246A-034F-B635-DE62B5FCF3A6}" dt="2023-05-27T07:31:11.930" v="11" actId="478"/>
          <ac:inkMkLst>
            <pc:docMk/>
            <pc:sldMk cId="302558819" sldId="281"/>
            <ac:inkMk id="136" creationId="{9466D1A4-5891-18CE-D539-44C5BF95B05C}"/>
          </ac:inkMkLst>
        </pc:inkChg>
        <pc:inkChg chg="add del">
          <ac:chgData name="Aniket Chhabra" userId="598e0514-bef3-4e71-b6aa-f2edd6441cff" providerId="ADAL" clId="{FFB5BFD2-246A-034F-B635-DE62B5FCF3A6}" dt="2023-05-27T07:31:11.930" v="11" actId="478"/>
          <ac:inkMkLst>
            <pc:docMk/>
            <pc:sldMk cId="302558819" sldId="281"/>
            <ac:inkMk id="137" creationId="{3033447A-EF13-2269-95BE-CCBBE0BD6488}"/>
          </ac:inkMkLst>
        </pc:inkChg>
        <pc:inkChg chg="add del">
          <ac:chgData name="Aniket Chhabra" userId="598e0514-bef3-4e71-b6aa-f2edd6441cff" providerId="ADAL" clId="{FFB5BFD2-246A-034F-B635-DE62B5FCF3A6}" dt="2023-05-27T07:31:11.930" v="11" actId="478"/>
          <ac:inkMkLst>
            <pc:docMk/>
            <pc:sldMk cId="302558819" sldId="281"/>
            <ac:inkMk id="138" creationId="{2AD38C39-F53C-3646-9756-1857F3B60EC1}"/>
          </ac:inkMkLst>
        </pc:inkChg>
        <pc:inkChg chg="add del">
          <ac:chgData name="Aniket Chhabra" userId="598e0514-bef3-4e71-b6aa-f2edd6441cff" providerId="ADAL" clId="{FFB5BFD2-246A-034F-B635-DE62B5FCF3A6}" dt="2023-05-27T07:31:11.930" v="11" actId="478"/>
          <ac:inkMkLst>
            <pc:docMk/>
            <pc:sldMk cId="302558819" sldId="281"/>
            <ac:inkMk id="139" creationId="{E0A430D0-4E49-BF3E-9DE4-5132862ADD87}"/>
          </ac:inkMkLst>
        </pc:inkChg>
        <pc:inkChg chg="add del">
          <ac:chgData name="Aniket Chhabra" userId="598e0514-bef3-4e71-b6aa-f2edd6441cff" providerId="ADAL" clId="{FFB5BFD2-246A-034F-B635-DE62B5FCF3A6}" dt="2023-05-27T07:31:11.930" v="11" actId="478"/>
          <ac:inkMkLst>
            <pc:docMk/>
            <pc:sldMk cId="302558819" sldId="281"/>
            <ac:inkMk id="140" creationId="{25C5782D-F859-D420-5A7B-9777F3DDD8B8}"/>
          </ac:inkMkLst>
        </pc:inkChg>
        <pc:inkChg chg="add del">
          <ac:chgData name="Aniket Chhabra" userId="598e0514-bef3-4e71-b6aa-f2edd6441cff" providerId="ADAL" clId="{FFB5BFD2-246A-034F-B635-DE62B5FCF3A6}" dt="2023-05-27T07:31:11.930" v="11" actId="478"/>
          <ac:inkMkLst>
            <pc:docMk/>
            <pc:sldMk cId="302558819" sldId="281"/>
            <ac:inkMk id="143" creationId="{2D12B552-B7E4-E0BB-469F-AAA000254346}"/>
          </ac:inkMkLst>
        </pc:inkChg>
        <pc:inkChg chg="add del">
          <ac:chgData name="Aniket Chhabra" userId="598e0514-bef3-4e71-b6aa-f2edd6441cff" providerId="ADAL" clId="{FFB5BFD2-246A-034F-B635-DE62B5FCF3A6}" dt="2023-05-27T07:31:11.930" v="11" actId="478"/>
          <ac:inkMkLst>
            <pc:docMk/>
            <pc:sldMk cId="302558819" sldId="281"/>
            <ac:inkMk id="144" creationId="{00E5485B-1452-B865-EA6D-5B88C0A8BBC3}"/>
          </ac:inkMkLst>
        </pc:inkChg>
        <pc:inkChg chg="add del">
          <ac:chgData name="Aniket Chhabra" userId="598e0514-bef3-4e71-b6aa-f2edd6441cff" providerId="ADAL" clId="{FFB5BFD2-246A-034F-B635-DE62B5FCF3A6}" dt="2023-05-27T07:31:11.930" v="11" actId="478"/>
          <ac:inkMkLst>
            <pc:docMk/>
            <pc:sldMk cId="302558819" sldId="281"/>
            <ac:inkMk id="145" creationId="{F3617F86-2DE9-8BA4-1307-40503A5F3465}"/>
          </ac:inkMkLst>
        </pc:inkChg>
        <pc:inkChg chg="add del">
          <ac:chgData name="Aniket Chhabra" userId="598e0514-bef3-4e71-b6aa-f2edd6441cff" providerId="ADAL" clId="{FFB5BFD2-246A-034F-B635-DE62B5FCF3A6}" dt="2023-05-27T07:31:11.930" v="11" actId="478"/>
          <ac:inkMkLst>
            <pc:docMk/>
            <pc:sldMk cId="302558819" sldId="281"/>
            <ac:inkMk id="146" creationId="{B970A2B5-0C25-22AC-5A9A-8A5E7CCA34DB}"/>
          </ac:inkMkLst>
        </pc:inkChg>
        <pc:inkChg chg="add del">
          <ac:chgData name="Aniket Chhabra" userId="598e0514-bef3-4e71-b6aa-f2edd6441cff" providerId="ADAL" clId="{FFB5BFD2-246A-034F-B635-DE62B5FCF3A6}" dt="2023-05-27T07:31:11.930" v="11" actId="478"/>
          <ac:inkMkLst>
            <pc:docMk/>
            <pc:sldMk cId="302558819" sldId="281"/>
            <ac:inkMk id="150" creationId="{2AF26D7E-F97B-A175-AAA0-B73009018F47}"/>
          </ac:inkMkLst>
        </pc:inkChg>
      </pc:sldChg>
      <pc:sldChg chg="addSp delSp modSp mod">
        <pc:chgData name="Aniket Chhabra" userId="598e0514-bef3-4e71-b6aa-f2edd6441cff" providerId="ADAL" clId="{FFB5BFD2-246A-034F-B635-DE62B5FCF3A6}" dt="2023-06-03T15:49:45.661" v="1526"/>
        <pc:sldMkLst>
          <pc:docMk/>
          <pc:sldMk cId="1702735194" sldId="282"/>
        </pc:sldMkLst>
        <pc:grpChg chg="del mod">
          <ac:chgData name="Aniket Chhabra" userId="598e0514-bef3-4e71-b6aa-f2edd6441cff" providerId="ADAL" clId="{FFB5BFD2-246A-034F-B635-DE62B5FCF3A6}" dt="2023-06-03T15:49:43.916" v="1524"/>
          <ac:grpSpMkLst>
            <pc:docMk/>
            <pc:sldMk cId="1702735194" sldId="282"/>
            <ac:grpSpMk id="5" creationId="{DA444126-1948-5A40-FFC7-924985CEF0BB}"/>
          </ac:grpSpMkLst>
        </pc:grpChg>
        <pc:grpChg chg="del mod">
          <ac:chgData name="Aniket Chhabra" userId="598e0514-bef3-4e71-b6aa-f2edd6441cff" providerId="ADAL" clId="{FFB5BFD2-246A-034F-B635-DE62B5FCF3A6}" dt="2023-06-03T15:49:45.661" v="1526"/>
          <ac:grpSpMkLst>
            <pc:docMk/>
            <pc:sldMk cId="1702735194" sldId="282"/>
            <ac:grpSpMk id="9" creationId="{51537950-0087-23A8-8FAC-AF4BE00572E1}"/>
          </ac:grpSpMkLst>
        </pc:grpChg>
        <pc:grpChg chg="mod">
          <ac:chgData name="Aniket Chhabra" userId="598e0514-bef3-4e71-b6aa-f2edd6441cff" providerId="ADAL" clId="{FFB5BFD2-246A-034F-B635-DE62B5FCF3A6}" dt="2023-06-03T15:49:45.661" v="1526"/>
          <ac:grpSpMkLst>
            <pc:docMk/>
            <pc:sldMk cId="1702735194" sldId="282"/>
            <ac:grpSpMk id="11" creationId="{3BFD6E52-C27D-0105-0573-355722005EBA}"/>
          </ac:grpSpMkLst>
        </pc:grpChg>
        <pc:inkChg chg="add mod">
          <ac:chgData name="Aniket Chhabra" userId="598e0514-bef3-4e71-b6aa-f2edd6441cff" providerId="ADAL" clId="{FFB5BFD2-246A-034F-B635-DE62B5FCF3A6}" dt="2023-06-03T15:49:45.661" v="1526"/>
          <ac:inkMkLst>
            <pc:docMk/>
            <pc:sldMk cId="1702735194" sldId="282"/>
            <ac:inkMk id="3" creationId="{B9386219-9837-AE54-B133-A85B7F73D046}"/>
          </ac:inkMkLst>
        </pc:inkChg>
        <pc:inkChg chg="add mod">
          <ac:chgData name="Aniket Chhabra" userId="598e0514-bef3-4e71-b6aa-f2edd6441cff" providerId="ADAL" clId="{FFB5BFD2-246A-034F-B635-DE62B5FCF3A6}" dt="2023-06-03T15:49:45.661" v="1526"/>
          <ac:inkMkLst>
            <pc:docMk/>
            <pc:sldMk cId="1702735194" sldId="282"/>
            <ac:inkMk id="4" creationId="{F586B673-A6F6-1E4A-374A-8DCF601FC7A3}"/>
          </ac:inkMkLst>
        </pc:inkChg>
        <pc:inkChg chg="del">
          <ac:chgData name="Aniket Chhabra" userId="598e0514-bef3-4e71-b6aa-f2edd6441cff" providerId="ADAL" clId="{FFB5BFD2-246A-034F-B635-DE62B5FCF3A6}" dt="2023-05-27T12:21:32.793" v="980"/>
          <ac:inkMkLst>
            <pc:docMk/>
            <pc:sldMk cId="1702735194" sldId="282"/>
            <ac:inkMk id="8" creationId="{717DD262-D800-C6CE-F40B-FA4C6941646D}"/>
          </ac:inkMkLst>
        </pc:inkChg>
        <pc:inkChg chg="add mod">
          <ac:chgData name="Aniket Chhabra" userId="598e0514-bef3-4e71-b6aa-f2edd6441cff" providerId="ADAL" clId="{FFB5BFD2-246A-034F-B635-DE62B5FCF3A6}" dt="2023-06-03T15:49:45.661" v="1526"/>
          <ac:inkMkLst>
            <pc:docMk/>
            <pc:sldMk cId="1702735194" sldId="282"/>
            <ac:inkMk id="8" creationId="{F6D72F41-65BC-0BC2-421E-F987B96CA675}"/>
          </ac:inkMkLst>
        </pc:inkChg>
        <pc:inkChg chg="add mod">
          <ac:chgData name="Aniket Chhabra" userId="598e0514-bef3-4e71-b6aa-f2edd6441cff" providerId="ADAL" clId="{FFB5BFD2-246A-034F-B635-DE62B5FCF3A6}" dt="2023-06-03T15:49:45.661" v="1526"/>
          <ac:inkMkLst>
            <pc:docMk/>
            <pc:sldMk cId="1702735194" sldId="282"/>
            <ac:inkMk id="10" creationId="{7E9DE682-92D9-2BA9-9486-516106AA8873}"/>
          </ac:inkMkLst>
        </pc:inkChg>
      </pc:sldChg>
      <pc:sldChg chg="addSp delSp mod">
        <pc:chgData name="Aniket Chhabra" userId="598e0514-bef3-4e71-b6aa-f2edd6441cff" providerId="ADAL" clId="{FFB5BFD2-246A-034F-B635-DE62B5FCF3A6}" dt="2023-05-27T07:31:25.502" v="14" actId="478"/>
        <pc:sldMkLst>
          <pc:docMk/>
          <pc:sldMk cId="2063328610" sldId="284"/>
        </pc:sldMkLst>
        <pc:grpChg chg="add del">
          <ac:chgData name="Aniket Chhabra" userId="598e0514-bef3-4e71-b6aa-f2edd6441cff" providerId="ADAL" clId="{FFB5BFD2-246A-034F-B635-DE62B5FCF3A6}" dt="2023-05-27T07:31:25.502" v="14" actId="478"/>
          <ac:grpSpMkLst>
            <pc:docMk/>
            <pc:sldMk cId="2063328610" sldId="284"/>
            <ac:grpSpMk id="75" creationId="{67858B7A-CFF4-E83F-B91C-AA4FA32B4BFE}"/>
          </ac:grpSpMkLst>
        </pc:grpChg>
        <pc:grpChg chg="add del">
          <ac:chgData name="Aniket Chhabra" userId="598e0514-bef3-4e71-b6aa-f2edd6441cff" providerId="ADAL" clId="{FFB5BFD2-246A-034F-B635-DE62B5FCF3A6}" dt="2023-05-27T07:31:25.502" v="14" actId="478"/>
          <ac:grpSpMkLst>
            <pc:docMk/>
            <pc:sldMk cId="2063328610" sldId="284"/>
            <ac:grpSpMk id="77" creationId="{4D51ED5A-D134-417A-8FF4-E5DE0649E0BE}"/>
          </ac:grpSpMkLst>
        </pc:grpChg>
        <pc:grpChg chg="add del">
          <ac:chgData name="Aniket Chhabra" userId="598e0514-bef3-4e71-b6aa-f2edd6441cff" providerId="ADAL" clId="{FFB5BFD2-246A-034F-B635-DE62B5FCF3A6}" dt="2023-05-27T07:31:25.502" v="14" actId="478"/>
          <ac:grpSpMkLst>
            <pc:docMk/>
            <pc:sldMk cId="2063328610" sldId="284"/>
            <ac:grpSpMk id="88" creationId="{B05519A2-A5DC-DEAD-7F98-21CF4A86493F}"/>
          </ac:grpSpMkLst>
        </pc:grpChg>
        <pc:picChg chg="add del">
          <ac:chgData name="Aniket Chhabra" userId="598e0514-bef3-4e71-b6aa-f2edd6441cff" providerId="ADAL" clId="{FFB5BFD2-246A-034F-B635-DE62B5FCF3A6}" dt="2023-05-27T07:31:21.541" v="13" actId="478"/>
          <ac:picMkLst>
            <pc:docMk/>
            <pc:sldMk cId="2063328610" sldId="284"/>
            <ac:picMk id="24" creationId="{06486009-6307-4D67-9812-CB95EF8082C8}"/>
          </ac:picMkLst>
        </pc:picChg>
        <pc:inkChg chg="add del">
          <ac:chgData name="Aniket Chhabra" userId="598e0514-bef3-4e71-b6aa-f2edd6441cff" providerId="ADAL" clId="{FFB5BFD2-246A-034F-B635-DE62B5FCF3A6}" dt="2023-05-27T07:31:25.502" v="14" actId="478"/>
          <ac:inkMkLst>
            <pc:docMk/>
            <pc:sldMk cId="2063328610" sldId="284"/>
            <ac:inkMk id="3" creationId="{93EAB5DE-7C23-F2FC-F018-085A1BD4F754}"/>
          </ac:inkMkLst>
        </pc:inkChg>
        <pc:inkChg chg="add del">
          <ac:chgData name="Aniket Chhabra" userId="598e0514-bef3-4e71-b6aa-f2edd6441cff" providerId="ADAL" clId="{FFB5BFD2-246A-034F-B635-DE62B5FCF3A6}" dt="2023-05-27T07:31:25.502" v="14" actId="478"/>
          <ac:inkMkLst>
            <pc:docMk/>
            <pc:sldMk cId="2063328610" sldId="284"/>
            <ac:inkMk id="4" creationId="{138CEFB0-EBC5-1357-326A-0C3F15D714B8}"/>
          </ac:inkMkLst>
        </pc:inkChg>
        <pc:inkChg chg="add del">
          <ac:chgData name="Aniket Chhabra" userId="598e0514-bef3-4e71-b6aa-f2edd6441cff" providerId="ADAL" clId="{FFB5BFD2-246A-034F-B635-DE62B5FCF3A6}" dt="2023-05-27T07:31:25.502" v="14" actId="478"/>
          <ac:inkMkLst>
            <pc:docMk/>
            <pc:sldMk cId="2063328610" sldId="284"/>
            <ac:inkMk id="5" creationId="{FF71C812-0722-4C6D-D075-27942BA60BBE}"/>
          </ac:inkMkLst>
        </pc:inkChg>
        <pc:inkChg chg="add del">
          <ac:chgData name="Aniket Chhabra" userId="598e0514-bef3-4e71-b6aa-f2edd6441cff" providerId="ADAL" clId="{FFB5BFD2-246A-034F-B635-DE62B5FCF3A6}" dt="2023-05-27T07:31:25.502" v="14" actId="478"/>
          <ac:inkMkLst>
            <pc:docMk/>
            <pc:sldMk cId="2063328610" sldId="284"/>
            <ac:inkMk id="7" creationId="{45A9FD46-E0D8-A792-D1D6-039E254C03D3}"/>
          </ac:inkMkLst>
        </pc:inkChg>
        <pc:inkChg chg="add del">
          <ac:chgData name="Aniket Chhabra" userId="598e0514-bef3-4e71-b6aa-f2edd6441cff" providerId="ADAL" clId="{FFB5BFD2-246A-034F-B635-DE62B5FCF3A6}" dt="2023-05-27T07:31:25.502" v="14" actId="478"/>
          <ac:inkMkLst>
            <pc:docMk/>
            <pc:sldMk cId="2063328610" sldId="284"/>
            <ac:inkMk id="9" creationId="{C9B59F55-4DDD-8010-9D3E-B4A75433619A}"/>
          </ac:inkMkLst>
        </pc:inkChg>
        <pc:inkChg chg="add del">
          <ac:chgData name="Aniket Chhabra" userId="598e0514-bef3-4e71-b6aa-f2edd6441cff" providerId="ADAL" clId="{FFB5BFD2-246A-034F-B635-DE62B5FCF3A6}" dt="2023-05-27T07:31:25.502" v="14" actId="478"/>
          <ac:inkMkLst>
            <pc:docMk/>
            <pc:sldMk cId="2063328610" sldId="284"/>
            <ac:inkMk id="10" creationId="{E86282BA-7765-F4AE-70EF-F9958957C71B}"/>
          </ac:inkMkLst>
        </pc:inkChg>
        <pc:inkChg chg="add del">
          <ac:chgData name="Aniket Chhabra" userId="598e0514-bef3-4e71-b6aa-f2edd6441cff" providerId="ADAL" clId="{FFB5BFD2-246A-034F-B635-DE62B5FCF3A6}" dt="2023-05-27T07:31:25.502" v="14" actId="478"/>
          <ac:inkMkLst>
            <pc:docMk/>
            <pc:sldMk cId="2063328610" sldId="284"/>
            <ac:inkMk id="11" creationId="{440CA199-1A04-63D4-7D92-DA49833D17EB}"/>
          </ac:inkMkLst>
        </pc:inkChg>
        <pc:inkChg chg="add del">
          <ac:chgData name="Aniket Chhabra" userId="598e0514-bef3-4e71-b6aa-f2edd6441cff" providerId="ADAL" clId="{FFB5BFD2-246A-034F-B635-DE62B5FCF3A6}" dt="2023-05-27T07:31:25.502" v="14" actId="478"/>
          <ac:inkMkLst>
            <pc:docMk/>
            <pc:sldMk cId="2063328610" sldId="284"/>
            <ac:inkMk id="12" creationId="{7B87777C-7C9F-83EA-C935-C68BEF524E9C}"/>
          </ac:inkMkLst>
        </pc:inkChg>
        <pc:inkChg chg="add del">
          <ac:chgData name="Aniket Chhabra" userId="598e0514-bef3-4e71-b6aa-f2edd6441cff" providerId="ADAL" clId="{FFB5BFD2-246A-034F-B635-DE62B5FCF3A6}" dt="2023-05-27T07:31:25.502" v="14" actId="478"/>
          <ac:inkMkLst>
            <pc:docMk/>
            <pc:sldMk cId="2063328610" sldId="284"/>
            <ac:inkMk id="13" creationId="{CDB65049-EC7B-5A82-97D0-7BBC6C3C0CD1}"/>
          </ac:inkMkLst>
        </pc:inkChg>
        <pc:inkChg chg="add del">
          <ac:chgData name="Aniket Chhabra" userId="598e0514-bef3-4e71-b6aa-f2edd6441cff" providerId="ADAL" clId="{FFB5BFD2-246A-034F-B635-DE62B5FCF3A6}" dt="2023-05-27T07:31:25.502" v="14" actId="478"/>
          <ac:inkMkLst>
            <pc:docMk/>
            <pc:sldMk cId="2063328610" sldId="284"/>
            <ac:inkMk id="15" creationId="{5F5038F9-406B-47EA-2910-D34AFC14375E}"/>
          </ac:inkMkLst>
        </pc:inkChg>
        <pc:inkChg chg="add del">
          <ac:chgData name="Aniket Chhabra" userId="598e0514-bef3-4e71-b6aa-f2edd6441cff" providerId="ADAL" clId="{FFB5BFD2-246A-034F-B635-DE62B5FCF3A6}" dt="2023-05-27T07:31:25.502" v="14" actId="478"/>
          <ac:inkMkLst>
            <pc:docMk/>
            <pc:sldMk cId="2063328610" sldId="284"/>
            <ac:inkMk id="16" creationId="{49F6CCFC-35FA-3556-B33F-949D7A47F023}"/>
          </ac:inkMkLst>
        </pc:inkChg>
        <pc:inkChg chg="add del">
          <ac:chgData name="Aniket Chhabra" userId="598e0514-bef3-4e71-b6aa-f2edd6441cff" providerId="ADAL" clId="{FFB5BFD2-246A-034F-B635-DE62B5FCF3A6}" dt="2023-05-27T07:31:25.502" v="14" actId="478"/>
          <ac:inkMkLst>
            <pc:docMk/>
            <pc:sldMk cId="2063328610" sldId="284"/>
            <ac:inkMk id="17" creationId="{C3312708-898B-CDFD-BBF9-B263C2377902}"/>
          </ac:inkMkLst>
        </pc:inkChg>
        <pc:inkChg chg="add del">
          <ac:chgData name="Aniket Chhabra" userId="598e0514-bef3-4e71-b6aa-f2edd6441cff" providerId="ADAL" clId="{FFB5BFD2-246A-034F-B635-DE62B5FCF3A6}" dt="2023-05-27T07:31:25.502" v="14" actId="478"/>
          <ac:inkMkLst>
            <pc:docMk/>
            <pc:sldMk cId="2063328610" sldId="284"/>
            <ac:inkMk id="18" creationId="{5443C52C-C1BE-3096-6F85-0FF71186F80F}"/>
          </ac:inkMkLst>
        </pc:inkChg>
        <pc:inkChg chg="add del">
          <ac:chgData name="Aniket Chhabra" userId="598e0514-bef3-4e71-b6aa-f2edd6441cff" providerId="ADAL" clId="{FFB5BFD2-246A-034F-B635-DE62B5FCF3A6}" dt="2023-05-27T07:31:25.502" v="14" actId="478"/>
          <ac:inkMkLst>
            <pc:docMk/>
            <pc:sldMk cId="2063328610" sldId="284"/>
            <ac:inkMk id="19" creationId="{2B45AF85-87A3-745B-9B6E-1E92BE37B996}"/>
          </ac:inkMkLst>
        </pc:inkChg>
        <pc:inkChg chg="add del">
          <ac:chgData name="Aniket Chhabra" userId="598e0514-bef3-4e71-b6aa-f2edd6441cff" providerId="ADAL" clId="{FFB5BFD2-246A-034F-B635-DE62B5FCF3A6}" dt="2023-05-27T07:31:25.502" v="14" actId="478"/>
          <ac:inkMkLst>
            <pc:docMk/>
            <pc:sldMk cId="2063328610" sldId="284"/>
            <ac:inkMk id="20" creationId="{99DE6010-72FC-4AB2-7653-6E3FA9F7F522}"/>
          </ac:inkMkLst>
        </pc:inkChg>
        <pc:inkChg chg="add del">
          <ac:chgData name="Aniket Chhabra" userId="598e0514-bef3-4e71-b6aa-f2edd6441cff" providerId="ADAL" clId="{FFB5BFD2-246A-034F-B635-DE62B5FCF3A6}" dt="2023-05-27T07:31:25.502" v="14" actId="478"/>
          <ac:inkMkLst>
            <pc:docMk/>
            <pc:sldMk cId="2063328610" sldId="284"/>
            <ac:inkMk id="21" creationId="{68A55537-C98F-E1EF-98A2-18F150B8DB95}"/>
          </ac:inkMkLst>
        </pc:inkChg>
        <pc:inkChg chg="add del">
          <ac:chgData name="Aniket Chhabra" userId="598e0514-bef3-4e71-b6aa-f2edd6441cff" providerId="ADAL" clId="{FFB5BFD2-246A-034F-B635-DE62B5FCF3A6}" dt="2023-05-27T07:31:25.502" v="14" actId="478"/>
          <ac:inkMkLst>
            <pc:docMk/>
            <pc:sldMk cId="2063328610" sldId="284"/>
            <ac:inkMk id="22" creationId="{CE4A09C4-A28F-8362-B20C-99DC0CE7C6FA}"/>
          </ac:inkMkLst>
        </pc:inkChg>
        <pc:inkChg chg="add del">
          <ac:chgData name="Aniket Chhabra" userId="598e0514-bef3-4e71-b6aa-f2edd6441cff" providerId="ADAL" clId="{FFB5BFD2-246A-034F-B635-DE62B5FCF3A6}" dt="2023-05-27T07:31:25.502" v="14" actId="478"/>
          <ac:inkMkLst>
            <pc:docMk/>
            <pc:sldMk cId="2063328610" sldId="284"/>
            <ac:inkMk id="34" creationId="{5E38E386-FA60-C777-9B76-5C638AC5664A}"/>
          </ac:inkMkLst>
        </pc:inkChg>
        <pc:inkChg chg="add del">
          <ac:chgData name="Aniket Chhabra" userId="598e0514-bef3-4e71-b6aa-f2edd6441cff" providerId="ADAL" clId="{FFB5BFD2-246A-034F-B635-DE62B5FCF3A6}" dt="2023-05-27T07:31:25.502" v="14" actId="478"/>
          <ac:inkMkLst>
            <pc:docMk/>
            <pc:sldMk cId="2063328610" sldId="284"/>
            <ac:inkMk id="37" creationId="{EC633F70-59F3-6228-CE94-D92AF95FD0F6}"/>
          </ac:inkMkLst>
        </pc:inkChg>
        <pc:inkChg chg="add del">
          <ac:chgData name="Aniket Chhabra" userId="598e0514-bef3-4e71-b6aa-f2edd6441cff" providerId="ADAL" clId="{FFB5BFD2-246A-034F-B635-DE62B5FCF3A6}" dt="2023-05-27T07:31:25.502" v="14" actId="478"/>
          <ac:inkMkLst>
            <pc:docMk/>
            <pc:sldMk cId="2063328610" sldId="284"/>
            <ac:inkMk id="38" creationId="{3A010016-8454-C296-3B46-D07BB450AA97}"/>
          </ac:inkMkLst>
        </pc:inkChg>
        <pc:inkChg chg="add del">
          <ac:chgData name="Aniket Chhabra" userId="598e0514-bef3-4e71-b6aa-f2edd6441cff" providerId="ADAL" clId="{FFB5BFD2-246A-034F-B635-DE62B5FCF3A6}" dt="2023-05-27T07:31:25.502" v="14" actId="478"/>
          <ac:inkMkLst>
            <pc:docMk/>
            <pc:sldMk cId="2063328610" sldId="284"/>
            <ac:inkMk id="39" creationId="{97E552F5-A6B6-63E3-B3C4-77F640762875}"/>
          </ac:inkMkLst>
        </pc:inkChg>
        <pc:inkChg chg="add del">
          <ac:chgData name="Aniket Chhabra" userId="598e0514-bef3-4e71-b6aa-f2edd6441cff" providerId="ADAL" clId="{FFB5BFD2-246A-034F-B635-DE62B5FCF3A6}" dt="2023-05-27T07:31:25.502" v="14" actId="478"/>
          <ac:inkMkLst>
            <pc:docMk/>
            <pc:sldMk cId="2063328610" sldId="284"/>
            <ac:inkMk id="40" creationId="{BEDF9856-7BE5-FE14-7EF1-C9A133B22E31}"/>
          </ac:inkMkLst>
        </pc:inkChg>
        <pc:inkChg chg="add del">
          <ac:chgData name="Aniket Chhabra" userId="598e0514-bef3-4e71-b6aa-f2edd6441cff" providerId="ADAL" clId="{FFB5BFD2-246A-034F-B635-DE62B5FCF3A6}" dt="2023-05-27T07:31:25.502" v="14" actId="478"/>
          <ac:inkMkLst>
            <pc:docMk/>
            <pc:sldMk cId="2063328610" sldId="284"/>
            <ac:inkMk id="41" creationId="{6424D424-692E-2702-708C-951B93735A97}"/>
          </ac:inkMkLst>
        </pc:inkChg>
        <pc:inkChg chg="add del">
          <ac:chgData name="Aniket Chhabra" userId="598e0514-bef3-4e71-b6aa-f2edd6441cff" providerId="ADAL" clId="{FFB5BFD2-246A-034F-B635-DE62B5FCF3A6}" dt="2023-05-27T07:31:25.502" v="14" actId="478"/>
          <ac:inkMkLst>
            <pc:docMk/>
            <pc:sldMk cId="2063328610" sldId="284"/>
            <ac:inkMk id="42" creationId="{B8EA2041-1E30-560D-ED47-0F4A6B25D67E}"/>
          </ac:inkMkLst>
        </pc:inkChg>
        <pc:inkChg chg="add del">
          <ac:chgData name="Aniket Chhabra" userId="598e0514-bef3-4e71-b6aa-f2edd6441cff" providerId="ADAL" clId="{FFB5BFD2-246A-034F-B635-DE62B5FCF3A6}" dt="2023-05-27T07:31:25.502" v="14" actId="478"/>
          <ac:inkMkLst>
            <pc:docMk/>
            <pc:sldMk cId="2063328610" sldId="284"/>
            <ac:inkMk id="43" creationId="{D4184470-9718-64D6-A932-2F46C3D99D6E}"/>
          </ac:inkMkLst>
        </pc:inkChg>
        <pc:inkChg chg="add del">
          <ac:chgData name="Aniket Chhabra" userId="598e0514-bef3-4e71-b6aa-f2edd6441cff" providerId="ADAL" clId="{FFB5BFD2-246A-034F-B635-DE62B5FCF3A6}" dt="2023-05-27T07:31:25.502" v="14" actId="478"/>
          <ac:inkMkLst>
            <pc:docMk/>
            <pc:sldMk cId="2063328610" sldId="284"/>
            <ac:inkMk id="44" creationId="{94ED4732-6593-4151-4043-168726D30938}"/>
          </ac:inkMkLst>
        </pc:inkChg>
        <pc:inkChg chg="add del">
          <ac:chgData name="Aniket Chhabra" userId="598e0514-bef3-4e71-b6aa-f2edd6441cff" providerId="ADAL" clId="{FFB5BFD2-246A-034F-B635-DE62B5FCF3A6}" dt="2023-05-27T07:31:25.502" v="14" actId="478"/>
          <ac:inkMkLst>
            <pc:docMk/>
            <pc:sldMk cId="2063328610" sldId="284"/>
            <ac:inkMk id="46" creationId="{F335B593-AB21-5D53-A8FA-E7039CA6E97E}"/>
          </ac:inkMkLst>
        </pc:inkChg>
        <pc:inkChg chg="add del">
          <ac:chgData name="Aniket Chhabra" userId="598e0514-bef3-4e71-b6aa-f2edd6441cff" providerId="ADAL" clId="{FFB5BFD2-246A-034F-B635-DE62B5FCF3A6}" dt="2023-05-27T07:31:25.502" v="14" actId="478"/>
          <ac:inkMkLst>
            <pc:docMk/>
            <pc:sldMk cId="2063328610" sldId="284"/>
            <ac:inkMk id="47" creationId="{5CFBEE80-7941-A2CB-E7AE-201693D0D1B0}"/>
          </ac:inkMkLst>
        </pc:inkChg>
        <pc:inkChg chg="add del">
          <ac:chgData name="Aniket Chhabra" userId="598e0514-bef3-4e71-b6aa-f2edd6441cff" providerId="ADAL" clId="{FFB5BFD2-246A-034F-B635-DE62B5FCF3A6}" dt="2023-05-27T07:31:25.502" v="14" actId="478"/>
          <ac:inkMkLst>
            <pc:docMk/>
            <pc:sldMk cId="2063328610" sldId="284"/>
            <ac:inkMk id="48" creationId="{9039213C-AC9B-B924-4EB8-C08199E17600}"/>
          </ac:inkMkLst>
        </pc:inkChg>
        <pc:inkChg chg="add del">
          <ac:chgData name="Aniket Chhabra" userId="598e0514-bef3-4e71-b6aa-f2edd6441cff" providerId="ADAL" clId="{FFB5BFD2-246A-034F-B635-DE62B5FCF3A6}" dt="2023-05-27T07:31:25.502" v="14" actId="478"/>
          <ac:inkMkLst>
            <pc:docMk/>
            <pc:sldMk cId="2063328610" sldId="284"/>
            <ac:inkMk id="50" creationId="{7B733590-E58F-A062-0322-35BC28171596}"/>
          </ac:inkMkLst>
        </pc:inkChg>
        <pc:inkChg chg="add del">
          <ac:chgData name="Aniket Chhabra" userId="598e0514-bef3-4e71-b6aa-f2edd6441cff" providerId="ADAL" clId="{FFB5BFD2-246A-034F-B635-DE62B5FCF3A6}" dt="2023-05-27T07:31:25.502" v="14" actId="478"/>
          <ac:inkMkLst>
            <pc:docMk/>
            <pc:sldMk cId="2063328610" sldId="284"/>
            <ac:inkMk id="51" creationId="{BD00AA77-ACC3-FED4-3C3D-04E52B55D1D4}"/>
          </ac:inkMkLst>
        </pc:inkChg>
        <pc:inkChg chg="add del">
          <ac:chgData name="Aniket Chhabra" userId="598e0514-bef3-4e71-b6aa-f2edd6441cff" providerId="ADAL" clId="{FFB5BFD2-246A-034F-B635-DE62B5FCF3A6}" dt="2023-05-27T07:31:25.502" v="14" actId="478"/>
          <ac:inkMkLst>
            <pc:docMk/>
            <pc:sldMk cId="2063328610" sldId="284"/>
            <ac:inkMk id="52" creationId="{FAE851A3-C7E6-13DC-FE63-0822E2E0DFF8}"/>
          </ac:inkMkLst>
        </pc:inkChg>
        <pc:inkChg chg="add del">
          <ac:chgData name="Aniket Chhabra" userId="598e0514-bef3-4e71-b6aa-f2edd6441cff" providerId="ADAL" clId="{FFB5BFD2-246A-034F-B635-DE62B5FCF3A6}" dt="2023-05-27T07:31:25.502" v="14" actId="478"/>
          <ac:inkMkLst>
            <pc:docMk/>
            <pc:sldMk cId="2063328610" sldId="284"/>
            <ac:inkMk id="53" creationId="{37329085-3DD7-6A91-69CD-0F07D305251E}"/>
          </ac:inkMkLst>
        </pc:inkChg>
        <pc:inkChg chg="add del">
          <ac:chgData name="Aniket Chhabra" userId="598e0514-bef3-4e71-b6aa-f2edd6441cff" providerId="ADAL" clId="{FFB5BFD2-246A-034F-B635-DE62B5FCF3A6}" dt="2023-05-27T07:31:25.502" v="14" actId="478"/>
          <ac:inkMkLst>
            <pc:docMk/>
            <pc:sldMk cId="2063328610" sldId="284"/>
            <ac:inkMk id="66" creationId="{D1FFE367-9F7E-EE78-D97F-E5FCD009A29D}"/>
          </ac:inkMkLst>
        </pc:inkChg>
        <pc:inkChg chg="add del">
          <ac:chgData name="Aniket Chhabra" userId="598e0514-bef3-4e71-b6aa-f2edd6441cff" providerId="ADAL" clId="{FFB5BFD2-246A-034F-B635-DE62B5FCF3A6}" dt="2023-05-27T07:31:25.502" v="14" actId="478"/>
          <ac:inkMkLst>
            <pc:docMk/>
            <pc:sldMk cId="2063328610" sldId="284"/>
            <ac:inkMk id="67" creationId="{D7F131C4-8D42-42CF-6E30-A316AB0ED530}"/>
          </ac:inkMkLst>
        </pc:inkChg>
        <pc:inkChg chg="add del">
          <ac:chgData name="Aniket Chhabra" userId="598e0514-bef3-4e71-b6aa-f2edd6441cff" providerId="ADAL" clId="{FFB5BFD2-246A-034F-B635-DE62B5FCF3A6}" dt="2023-05-27T07:31:25.502" v="14" actId="478"/>
          <ac:inkMkLst>
            <pc:docMk/>
            <pc:sldMk cId="2063328610" sldId="284"/>
            <ac:inkMk id="68" creationId="{045F9D51-9BD1-B566-5C15-1ACF18972381}"/>
          </ac:inkMkLst>
        </pc:inkChg>
        <pc:inkChg chg="add del">
          <ac:chgData name="Aniket Chhabra" userId="598e0514-bef3-4e71-b6aa-f2edd6441cff" providerId="ADAL" clId="{FFB5BFD2-246A-034F-B635-DE62B5FCF3A6}" dt="2023-05-27T07:31:25.502" v="14" actId="478"/>
          <ac:inkMkLst>
            <pc:docMk/>
            <pc:sldMk cId="2063328610" sldId="284"/>
            <ac:inkMk id="69" creationId="{6BDB37E3-422F-1C3C-0610-8E3A6B7174B0}"/>
          </ac:inkMkLst>
        </pc:inkChg>
        <pc:inkChg chg="add del">
          <ac:chgData name="Aniket Chhabra" userId="598e0514-bef3-4e71-b6aa-f2edd6441cff" providerId="ADAL" clId="{FFB5BFD2-246A-034F-B635-DE62B5FCF3A6}" dt="2023-05-27T07:31:25.502" v="14" actId="478"/>
          <ac:inkMkLst>
            <pc:docMk/>
            <pc:sldMk cId="2063328610" sldId="284"/>
            <ac:inkMk id="71" creationId="{8B5DE85D-EF0C-B29C-601F-1F03FCB672CD}"/>
          </ac:inkMkLst>
        </pc:inkChg>
        <pc:inkChg chg="add del">
          <ac:chgData name="Aniket Chhabra" userId="598e0514-bef3-4e71-b6aa-f2edd6441cff" providerId="ADAL" clId="{FFB5BFD2-246A-034F-B635-DE62B5FCF3A6}" dt="2023-05-27T07:31:25.502" v="14" actId="478"/>
          <ac:inkMkLst>
            <pc:docMk/>
            <pc:sldMk cId="2063328610" sldId="284"/>
            <ac:inkMk id="72" creationId="{0C5CF5B9-A555-45FB-A7A3-C3779A4FDDB4}"/>
          </ac:inkMkLst>
        </pc:inkChg>
      </pc:sldChg>
      <pc:sldChg chg="addSp delSp modSp mod">
        <pc:chgData name="Aniket Chhabra" userId="598e0514-bef3-4e71-b6aa-f2edd6441cff" providerId="ADAL" clId="{FFB5BFD2-246A-034F-B635-DE62B5FCF3A6}" dt="2023-06-03T15:57:01.691" v="1554"/>
        <pc:sldMkLst>
          <pc:docMk/>
          <pc:sldMk cId="1370836176" sldId="285"/>
        </pc:sldMkLst>
        <pc:spChg chg="add del">
          <ac:chgData name="Aniket Chhabra" userId="598e0514-bef3-4e71-b6aa-f2edd6441cff" providerId="ADAL" clId="{FFB5BFD2-246A-034F-B635-DE62B5FCF3A6}" dt="2023-05-27T07:31:48.170" v="16" actId="478"/>
          <ac:spMkLst>
            <pc:docMk/>
            <pc:sldMk cId="1370836176" sldId="285"/>
            <ac:spMk id="19" creationId="{58A59DC6-D3D0-4BB1-93BC-9ECA02D2F6F8}"/>
          </ac:spMkLst>
        </pc:spChg>
        <pc:grpChg chg="del mod">
          <ac:chgData name="Aniket Chhabra" userId="598e0514-bef3-4e71-b6aa-f2edd6441cff" providerId="ADAL" clId="{FFB5BFD2-246A-034F-B635-DE62B5FCF3A6}" dt="2023-05-27T12:26:57.191" v="987"/>
          <ac:grpSpMkLst>
            <pc:docMk/>
            <pc:sldMk cId="1370836176" sldId="285"/>
            <ac:grpSpMk id="7" creationId="{29DC0959-006B-A0CE-FEC6-16138BF064E1}"/>
          </ac:grpSpMkLst>
        </pc:grpChg>
        <pc:grpChg chg="mod">
          <ac:chgData name="Aniket Chhabra" userId="598e0514-bef3-4e71-b6aa-f2edd6441cff" providerId="ADAL" clId="{FFB5BFD2-246A-034F-B635-DE62B5FCF3A6}" dt="2023-05-27T12:26:57.191" v="987"/>
          <ac:grpSpMkLst>
            <pc:docMk/>
            <pc:sldMk cId="1370836176" sldId="285"/>
            <ac:grpSpMk id="11" creationId="{0694EDF8-E68F-D45B-9E55-52C7E18D3FD6}"/>
          </ac:grpSpMkLst>
        </pc:grpChg>
        <pc:grpChg chg="add del">
          <ac:chgData name="Aniket Chhabra" userId="598e0514-bef3-4e71-b6aa-f2edd6441cff" providerId="ADAL" clId="{FFB5BFD2-246A-034F-B635-DE62B5FCF3A6}" dt="2023-05-27T07:31:51.779" v="17" actId="478"/>
          <ac:grpSpMkLst>
            <pc:docMk/>
            <pc:sldMk cId="1370836176" sldId="285"/>
            <ac:grpSpMk id="12" creationId="{AE126389-607E-9600-640A-9E85C04DAE11}"/>
          </ac:grpSpMkLst>
        </pc:grpChg>
        <pc:grpChg chg="del mod">
          <ac:chgData name="Aniket Chhabra" userId="598e0514-bef3-4e71-b6aa-f2edd6441cff" providerId="ADAL" clId="{FFB5BFD2-246A-034F-B635-DE62B5FCF3A6}" dt="2023-05-27T12:27:24.228" v="1011"/>
          <ac:grpSpMkLst>
            <pc:docMk/>
            <pc:sldMk cId="1370836176" sldId="285"/>
            <ac:grpSpMk id="24" creationId="{FCBFD55C-F9AF-1BCA-60DA-1C50E8E2A49F}"/>
          </ac:grpSpMkLst>
        </pc:grpChg>
        <pc:grpChg chg="del mod">
          <ac:chgData name="Aniket Chhabra" userId="598e0514-bef3-4e71-b6aa-f2edd6441cff" providerId="ADAL" clId="{FFB5BFD2-246A-034F-B635-DE62B5FCF3A6}" dt="2023-05-27T12:27:24.228" v="1011"/>
          <ac:grpSpMkLst>
            <pc:docMk/>
            <pc:sldMk cId="1370836176" sldId="285"/>
            <ac:grpSpMk id="35" creationId="{3C839530-1771-EB47-FDAE-6613EEAC3A70}"/>
          </ac:grpSpMkLst>
        </pc:grpChg>
        <pc:grpChg chg="mod">
          <ac:chgData name="Aniket Chhabra" userId="598e0514-bef3-4e71-b6aa-f2edd6441cff" providerId="ADAL" clId="{FFB5BFD2-246A-034F-B635-DE62B5FCF3A6}" dt="2023-05-27T12:27:24.228" v="1011"/>
          <ac:grpSpMkLst>
            <pc:docMk/>
            <pc:sldMk cId="1370836176" sldId="285"/>
            <ac:grpSpMk id="37" creationId="{17BB6701-EC33-2142-265E-A71CFD66EC8E}"/>
          </ac:grpSpMkLst>
        </pc:grpChg>
        <pc:grpChg chg="add del">
          <ac:chgData name="Aniket Chhabra" userId="598e0514-bef3-4e71-b6aa-f2edd6441cff" providerId="ADAL" clId="{FFB5BFD2-246A-034F-B635-DE62B5FCF3A6}" dt="2023-05-27T07:31:51.779" v="17" actId="478"/>
          <ac:grpSpMkLst>
            <pc:docMk/>
            <pc:sldMk cId="1370836176" sldId="285"/>
            <ac:grpSpMk id="42" creationId="{21835C86-3635-ABA3-755C-9F8A0B39288A}"/>
          </ac:grpSpMkLst>
        </pc:grpChg>
        <pc:grpChg chg="mod">
          <ac:chgData name="Aniket Chhabra" userId="598e0514-bef3-4e71-b6aa-f2edd6441cff" providerId="ADAL" clId="{FFB5BFD2-246A-034F-B635-DE62B5FCF3A6}" dt="2023-05-27T12:27:26.784" v="1019"/>
          <ac:grpSpMkLst>
            <pc:docMk/>
            <pc:sldMk cId="1370836176" sldId="285"/>
            <ac:grpSpMk id="45" creationId="{20A5A00C-AD66-7104-B3AD-64B6424BB0E7}"/>
          </ac:grpSpMkLst>
        </pc:grpChg>
        <pc:grpChg chg="add del">
          <ac:chgData name="Aniket Chhabra" userId="598e0514-bef3-4e71-b6aa-f2edd6441cff" providerId="ADAL" clId="{FFB5BFD2-246A-034F-B635-DE62B5FCF3A6}" dt="2023-05-27T07:31:51.779" v="17" actId="478"/>
          <ac:grpSpMkLst>
            <pc:docMk/>
            <pc:sldMk cId="1370836176" sldId="285"/>
            <ac:grpSpMk id="45" creationId="{BDF247E1-59C4-EFA1-2951-2D94A8C670EB}"/>
          </ac:grpSpMkLst>
        </pc:grpChg>
        <pc:grpChg chg="add del">
          <ac:chgData name="Aniket Chhabra" userId="598e0514-bef3-4e71-b6aa-f2edd6441cff" providerId="ADAL" clId="{FFB5BFD2-246A-034F-B635-DE62B5FCF3A6}" dt="2023-05-27T07:31:51.779" v="17" actId="478"/>
          <ac:grpSpMkLst>
            <pc:docMk/>
            <pc:sldMk cId="1370836176" sldId="285"/>
            <ac:grpSpMk id="54" creationId="{B793B2D4-367B-AEED-F7D2-8B2AA14D5C28}"/>
          </ac:grpSpMkLst>
        </pc:grpChg>
        <pc:grpChg chg="mod">
          <ac:chgData name="Aniket Chhabra" userId="598e0514-bef3-4e71-b6aa-f2edd6441cff" providerId="ADAL" clId="{FFB5BFD2-246A-034F-B635-DE62B5FCF3A6}" dt="2023-05-27T12:27:35.477" v="1029"/>
          <ac:grpSpMkLst>
            <pc:docMk/>
            <pc:sldMk cId="1370836176" sldId="285"/>
            <ac:grpSpMk id="56" creationId="{C6F70AB1-F42F-A78D-DDBF-0F543F24DB1A}"/>
          </ac:grpSpMkLst>
        </pc:grpChg>
        <pc:grpChg chg="mod">
          <ac:chgData name="Aniket Chhabra" userId="598e0514-bef3-4e71-b6aa-f2edd6441cff" providerId="ADAL" clId="{FFB5BFD2-246A-034F-B635-DE62B5FCF3A6}" dt="2023-05-27T12:27:37.007" v="1033"/>
          <ac:grpSpMkLst>
            <pc:docMk/>
            <pc:sldMk cId="1370836176" sldId="285"/>
            <ac:grpSpMk id="60" creationId="{78373AAA-425A-D4E1-FBB9-59BB8E6E42D7}"/>
          </ac:grpSpMkLst>
        </pc:grpChg>
        <pc:grpChg chg="mod">
          <ac:chgData name="Aniket Chhabra" userId="598e0514-bef3-4e71-b6aa-f2edd6441cff" providerId="ADAL" clId="{FFB5BFD2-246A-034F-B635-DE62B5FCF3A6}" dt="2023-06-03T15:56:25.745" v="1535"/>
          <ac:grpSpMkLst>
            <pc:docMk/>
            <pc:sldMk cId="1370836176" sldId="285"/>
            <ac:grpSpMk id="67" creationId="{51128C1C-AA9B-129E-01B2-17124A31FE7D}"/>
          </ac:grpSpMkLst>
        </pc:grpChg>
        <pc:grpChg chg="del mod">
          <ac:chgData name="Aniket Chhabra" userId="598e0514-bef3-4e71-b6aa-f2edd6441cff" providerId="ADAL" clId="{FFB5BFD2-246A-034F-B635-DE62B5FCF3A6}" dt="2023-06-03T15:57:01.691" v="1554"/>
          <ac:grpSpMkLst>
            <pc:docMk/>
            <pc:sldMk cId="1370836176" sldId="285"/>
            <ac:grpSpMk id="70" creationId="{DEA83EBD-DE4C-1661-DB49-3CA43907ED64}"/>
          </ac:grpSpMkLst>
        </pc:grpChg>
        <pc:grpChg chg="mod">
          <ac:chgData name="Aniket Chhabra" userId="598e0514-bef3-4e71-b6aa-f2edd6441cff" providerId="ADAL" clId="{FFB5BFD2-246A-034F-B635-DE62B5FCF3A6}" dt="2023-06-03T15:57:01.691" v="1554"/>
          <ac:grpSpMkLst>
            <pc:docMk/>
            <pc:sldMk cId="1370836176" sldId="285"/>
            <ac:grpSpMk id="75" creationId="{C1FD9569-73FA-BE46-C3A5-5405E49F7EB3}"/>
          </ac:grpSpMkLst>
        </pc:grpChg>
        <pc:grpChg chg="add del">
          <ac:chgData name="Aniket Chhabra" userId="598e0514-bef3-4e71-b6aa-f2edd6441cff" providerId="ADAL" clId="{FFB5BFD2-246A-034F-B635-DE62B5FCF3A6}" dt="2023-05-27T07:31:51.779" v="17" actId="478"/>
          <ac:grpSpMkLst>
            <pc:docMk/>
            <pc:sldMk cId="1370836176" sldId="285"/>
            <ac:grpSpMk id="90" creationId="{45D56CA8-0044-EB23-3401-A072917A8C80}"/>
          </ac:grpSpMkLst>
        </pc:grpChg>
        <pc:grpChg chg="add del">
          <ac:chgData name="Aniket Chhabra" userId="598e0514-bef3-4e71-b6aa-f2edd6441cff" providerId="ADAL" clId="{FFB5BFD2-246A-034F-B635-DE62B5FCF3A6}" dt="2023-05-27T07:31:51.779" v="17" actId="478"/>
          <ac:grpSpMkLst>
            <pc:docMk/>
            <pc:sldMk cId="1370836176" sldId="285"/>
            <ac:grpSpMk id="99" creationId="{2FA39F35-A134-BF89-4C75-7E60EE379CD7}"/>
          </ac:grpSpMkLst>
        </pc:grpChg>
        <pc:grpChg chg="add del">
          <ac:chgData name="Aniket Chhabra" userId="598e0514-bef3-4e71-b6aa-f2edd6441cff" providerId="ADAL" clId="{FFB5BFD2-246A-034F-B635-DE62B5FCF3A6}" dt="2023-05-27T07:31:51.779" v="17" actId="478"/>
          <ac:grpSpMkLst>
            <pc:docMk/>
            <pc:sldMk cId="1370836176" sldId="285"/>
            <ac:grpSpMk id="104" creationId="{44F26FCF-1ECB-7835-7E6D-69E24FFE9A64}"/>
          </ac:grpSpMkLst>
        </pc:grpChg>
        <pc:grpChg chg="add del">
          <ac:chgData name="Aniket Chhabra" userId="598e0514-bef3-4e71-b6aa-f2edd6441cff" providerId="ADAL" clId="{FFB5BFD2-246A-034F-B635-DE62B5FCF3A6}" dt="2023-05-27T07:31:51.779" v="17" actId="478"/>
          <ac:grpSpMkLst>
            <pc:docMk/>
            <pc:sldMk cId="1370836176" sldId="285"/>
            <ac:grpSpMk id="107" creationId="{EC19D45C-9143-7054-ECE6-BD3FB38A4B27}"/>
          </ac:grpSpMkLst>
        </pc:grpChg>
        <pc:grpChg chg="add del">
          <ac:chgData name="Aniket Chhabra" userId="598e0514-bef3-4e71-b6aa-f2edd6441cff" providerId="ADAL" clId="{FFB5BFD2-246A-034F-B635-DE62B5FCF3A6}" dt="2023-05-27T07:31:51.779" v="17" actId="478"/>
          <ac:grpSpMkLst>
            <pc:docMk/>
            <pc:sldMk cId="1370836176" sldId="285"/>
            <ac:grpSpMk id="143" creationId="{463B33A8-C6E8-D445-D36C-FB04573FA099}"/>
          </ac:grpSpMkLst>
        </pc:grpChg>
        <pc:grpChg chg="add del">
          <ac:chgData name="Aniket Chhabra" userId="598e0514-bef3-4e71-b6aa-f2edd6441cff" providerId="ADAL" clId="{FFB5BFD2-246A-034F-B635-DE62B5FCF3A6}" dt="2023-05-27T07:31:51.779" v="17" actId="478"/>
          <ac:grpSpMkLst>
            <pc:docMk/>
            <pc:sldMk cId="1370836176" sldId="285"/>
            <ac:grpSpMk id="144" creationId="{C5EFDB63-4548-20D5-B9F4-1E06D7A51C14}"/>
          </ac:grpSpMkLst>
        </pc:grpChg>
        <pc:grpChg chg="add del">
          <ac:chgData name="Aniket Chhabra" userId="598e0514-bef3-4e71-b6aa-f2edd6441cff" providerId="ADAL" clId="{FFB5BFD2-246A-034F-B635-DE62B5FCF3A6}" dt="2023-05-27T07:31:51.779" v="17" actId="478"/>
          <ac:grpSpMkLst>
            <pc:docMk/>
            <pc:sldMk cId="1370836176" sldId="285"/>
            <ac:grpSpMk id="159" creationId="{D7EA7A87-1291-47B9-8D6D-E220477A0484}"/>
          </ac:grpSpMkLst>
        </pc:grpChg>
        <pc:grpChg chg="add del">
          <ac:chgData name="Aniket Chhabra" userId="598e0514-bef3-4e71-b6aa-f2edd6441cff" providerId="ADAL" clId="{FFB5BFD2-246A-034F-B635-DE62B5FCF3A6}" dt="2023-05-27T07:31:51.779" v="17" actId="478"/>
          <ac:grpSpMkLst>
            <pc:docMk/>
            <pc:sldMk cId="1370836176" sldId="285"/>
            <ac:grpSpMk id="193" creationId="{56E844B9-7EB1-486A-6D42-3731C0B854F3}"/>
          </ac:grpSpMkLst>
        </pc:grpChg>
        <pc:grpChg chg="add del">
          <ac:chgData name="Aniket Chhabra" userId="598e0514-bef3-4e71-b6aa-f2edd6441cff" providerId="ADAL" clId="{FFB5BFD2-246A-034F-B635-DE62B5FCF3A6}" dt="2023-05-27T07:31:51.779" v="17" actId="478"/>
          <ac:grpSpMkLst>
            <pc:docMk/>
            <pc:sldMk cId="1370836176" sldId="285"/>
            <ac:grpSpMk id="203" creationId="{DF7551C6-DD11-285A-6089-808D9184C6BA}"/>
          </ac:grpSpMkLst>
        </pc:grpChg>
        <pc:grpChg chg="add del">
          <ac:chgData name="Aniket Chhabra" userId="598e0514-bef3-4e71-b6aa-f2edd6441cff" providerId="ADAL" clId="{FFB5BFD2-246A-034F-B635-DE62B5FCF3A6}" dt="2023-05-27T07:31:51.779" v="17" actId="478"/>
          <ac:grpSpMkLst>
            <pc:docMk/>
            <pc:sldMk cId="1370836176" sldId="285"/>
            <ac:grpSpMk id="211" creationId="{722E3195-B7C9-29AB-A694-7222870BDA08}"/>
          </ac:grpSpMkLst>
        </pc:grpChg>
        <pc:grpChg chg="add del">
          <ac:chgData name="Aniket Chhabra" userId="598e0514-bef3-4e71-b6aa-f2edd6441cff" providerId="ADAL" clId="{FFB5BFD2-246A-034F-B635-DE62B5FCF3A6}" dt="2023-05-27T07:31:51.779" v="17" actId="478"/>
          <ac:grpSpMkLst>
            <pc:docMk/>
            <pc:sldMk cId="1370836176" sldId="285"/>
            <ac:grpSpMk id="228" creationId="{7C25A338-647D-C0C7-4B6B-71AB33B88417}"/>
          </ac:grpSpMkLst>
        </pc:grpChg>
        <pc:grpChg chg="add del">
          <ac:chgData name="Aniket Chhabra" userId="598e0514-bef3-4e71-b6aa-f2edd6441cff" providerId="ADAL" clId="{FFB5BFD2-246A-034F-B635-DE62B5FCF3A6}" dt="2023-05-27T07:31:51.779" v="17" actId="478"/>
          <ac:grpSpMkLst>
            <pc:docMk/>
            <pc:sldMk cId="1370836176" sldId="285"/>
            <ac:grpSpMk id="260" creationId="{B170B8E8-9C37-4682-2316-FDD209AD8E30}"/>
          </ac:grpSpMkLst>
        </pc:grpChg>
        <pc:grpChg chg="add del">
          <ac:chgData name="Aniket Chhabra" userId="598e0514-bef3-4e71-b6aa-f2edd6441cff" providerId="ADAL" clId="{FFB5BFD2-246A-034F-B635-DE62B5FCF3A6}" dt="2023-05-27T07:31:51.779" v="17" actId="478"/>
          <ac:grpSpMkLst>
            <pc:docMk/>
            <pc:sldMk cId="1370836176" sldId="285"/>
            <ac:grpSpMk id="304" creationId="{F7D64FEA-4B4B-EB3A-2DCF-D4D492847067}"/>
          </ac:grpSpMkLst>
        </pc:grpChg>
        <pc:grpChg chg="add del">
          <ac:chgData name="Aniket Chhabra" userId="598e0514-bef3-4e71-b6aa-f2edd6441cff" providerId="ADAL" clId="{FFB5BFD2-246A-034F-B635-DE62B5FCF3A6}" dt="2023-05-27T07:31:51.779" v="17" actId="478"/>
          <ac:grpSpMkLst>
            <pc:docMk/>
            <pc:sldMk cId="1370836176" sldId="285"/>
            <ac:grpSpMk id="305" creationId="{29E4F4CA-D957-8AD4-80E3-4C2668C01DEF}"/>
          </ac:grpSpMkLst>
        </pc:grpChg>
        <pc:grpChg chg="add del">
          <ac:chgData name="Aniket Chhabra" userId="598e0514-bef3-4e71-b6aa-f2edd6441cff" providerId="ADAL" clId="{FFB5BFD2-246A-034F-B635-DE62B5FCF3A6}" dt="2023-05-27T07:31:51.779" v="17" actId="478"/>
          <ac:grpSpMkLst>
            <pc:docMk/>
            <pc:sldMk cId="1370836176" sldId="285"/>
            <ac:grpSpMk id="306" creationId="{C1897291-99A4-ABC8-5A11-EA66C42DEC66}"/>
          </ac:grpSpMkLst>
        </pc:grpChg>
        <pc:grpChg chg="add del">
          <ac:chgData name="Aniket Chhabra" userId="598e0514-bef3-4e71-b6aa-f2edd6441cff" providerId="ADAL" clId="{FFB5BFD2-246A-034F-B635-DE62B5FCF3A6}" dt="2023-05-27T07:31:51.779" v="17" actId="478"/>
          <ac:grpSpMkLst>
            <pc:docMk/>
            <pc:sldMk cId="1370836176" sldId="285"/>
            <ac:grpSpMk id="309" creationId="{69BBF714-3B0F-0AC3-B131-036E872ACFF9}"/>
          </ac:grpSpMkLst>
        </pc:grpChg>
        <pc:grpChg chg="add del">
          <ac:chgData name="Aniket Chhabra" userId="598e0514-bef3-4e71-b6aa-f2edd6441cff" providerId="ADAL" clId="{FFB5BFD2-246A-034F-B635-DE62B5FCF3A6}" dt="2023-05-27T07:31:51.779" v="17" actId="478"/>
          <ac:grpSpMkLst>
            <pc:docMk/>
            <pc:sldMk cId="1370836176" sldId="285"/>
            <ac:grpSpMk id="317" creationId="{508DF387-A958-FC53-361F-C9EEFE5FA44A}"/>
          </ac:grpSpMkLst>
        </pc:grpChg>
        <pc:inkChg chg="add mod">
          <ac:chgData name="Aniket Chhabra" userId="598e0514-bef3-4e71-b6aa-f2edd6441cff" providerId="ADAL" clId="{FFB5BFD2-246A-034F-B635-DE62B5FCF3A6}" dt="2023-05-27T12:26:57.191" v="987"/>
          <ac:inkMkLst>
            <pc:docMk/>
            <pc:sldMk cId="1370836176" sldId="285"/>
            <ac:inkMk id="3" creationId="{426D3830-2BDD-D88B-8C5E-690DF95C9692}"/>
          </ac:inkMkLst>
        </pc:inkChg>
        <pc:inkChg chg="add del">
          <ac:chgData name="Aniket Chhabra" userId="598e0514-bef3-4e71-b6aa-f2edd6441cff" providerId="ADAL" clId="{FFB5BFD2-246A-034F-B635-DE62B5FCF3A6}" dt="2023-05-27T07:31:51.779" v="17" actId="478"/>
          <ac:inkMkLst>
            <pc:docMk/>
            <pc:sldMk cId="1370836176" sldId="285"/>
            <ac:inkMk id="3" creationId="{A38B737F-4F53-43D3-9789-7B2C3BEFAE37}"/>
          </ac:inkMkLst>
        </pc:inkChg>
        <pc:inkChg chg="add mod">
          <ac:chgData name="Aniket Chhabra" userId="598e0514-bef3-4e71-b6aa-f2edd6441cff" providerId="ADAL" clId="{FFB5BFD2-246A-034F-B635-DE62B5FCF3A6}" dt="2023-05-27T12:26:57.191" v="987"/>
          <ac:inkMkLst>
            <pc:docMk/>
            <pc:sldMk cId="1370836176" sldId="285"/>
            <ac:inkMk id="4" creationId="{89211DD5-10A4-C65E-5E66-F7024F0FC029}"/>
          </ac:inkMkLst>
        </pc:inkChg>
        <pc:inkChg chg="add mod">
          <ac:chgData name="Aniket Chhabra" userId="598e0514-bef3-4e71-b6aa-f2edd6441cff" providerId="ADAL" clId="{FFB5BFD2-246A-034F-B635-DE62B5FCF3A6}" dt="2023-05-27T12:26:57.191" v="987"/>
          <ac:inkMkLst>
            <pc:docMk/>
            <pc:sldMk cId="1370836176" sldId="285"/>
            <ac:inkMk id="5" creationId="{B087139B-B0D3-5F4E-2CAA-107A23F85DD2}"/>
          </ac:inkMkLst>
        </pc:inkChg>
        <pc:inkChg chg="add">
          <ac:chgData name="Aniket Chhabra" userId="598e0514-bef3-4e71-b6aa-f2edd6441cff" providerId="ADAL" clId="{FFB5BFD2-246A-034F-B635-DE62B5FCF3A6}" dt="2023-06-03T15:55:10.064" v="1528" actId="9405"/>
          <ac:inkMkLst>
            <pc:docMk/>
            <pc:sldMk cId="1370836176" sldId="285"/>
            <ac:inkMk id="7" creationId="{185AD66D-E44E-C70B-3E00-93CF8C19FAF1}"/>
          </ac:inkMkLst>
        </pc:inkChg>
        <pc:inkChg chg="add del">
          <ac:chgData name="Aniket Chhabra" userId="598e0514-bef3-4e71-b6aa-f2edd6441cff" providerId="ADAL" clId="{FFB5BFD2-246A-034F-B635-DE62B5FCF3A6}" dt="2023-05-27T07:31:51.779" v="17" actId="478"/>
          <ac:inkMkLst>
            <pc:docMk/>
            <pc:sldMk cId="1370836176" sldId="285"/>
            <ac:inkMk id="7" creationId="{73D28C4A-73E6-E920-CA57-50D6BB39B14C}"/>
          </ac:inkMkLst>
        </pc:inkChg>
        <pc:inkChg chg="add del">
          <ac:chgData name="Aniket Chhabra" userId="598e0514-bef3-4e71-b6aa-f2edd6441cff" providerId="ADAL" clId="{FFB5BFD2-246A-034F-B635-DE62B5FCF3A6}" dt="2023-05-27T07:31:51.779" v="17" actId="478"/>
          <ac:inkMkLst>
            <pc:docMk/>
            <pc:sldMk cId="1370836176" sldId="285"/>
            <ac:inkMk id="8" creationId="{34175319-8F78-DCC4-72FE-4F3A6F65598D}"/>
          </ac:inkMkLst>
        </pc:inkChg>
        <pc:inkChg chg="add mod">
          <ac:chgData name="Aniket Chhabra" userId="598e0514-bef3-4e71-b6aa-f2edd6441cff" providerId="ADAL" clId="{FFB5BFD2-246A-034F-B635-DE62B5FCF3A6}" dt="2023-05-27T12:26:57.191" v="987"/>
          <ac:inkMkLst>
            <pc:docMk/>
            <pc:sldMk cId="1370836176" sldId="285"/>
            <ac:inkMk id="8" creationId="{41CA136B-A4C3-ADED-317E-0060EF41A9BA}"/>
          </ac:inkMkLst>
        </pc:inkChg>
        <pc:inkChg chg="add mod">
          <ac:chgData name="Aniket Chhabra" userId="598e0514-bef3-4e71-b6aa-f2edd6441cff" providerId="ADAL" clId="{FFB5BFD2-246A-034F-B635-DE62B5FCF3A6}" dt="2023-05-27T12:26:57.191" v="987"/>
          <ac:inkMkLst>
            <pc:docMk/>
            <pc:sldMk cId="1370836176" sldId="285"/>
            <ac:inkMk id="9" creationId="{47698967-2E1B-D523-0C37-DFA6E084D734}"/>
          </ac:inkMkLst>
        </pc:inkChg>
        <pc:inkChg chg="add mod">
          <ac:chgData name="Aniket Chhabra" userId="598e0514-bef3-4e71-b6aa-f2edd6441cff" providerId="ADAL" clId="{FFB5BFD2-246A-034F-B635-DE62B5FCF3A6}" dt="2023-05-27T12:27:24.228" v="1011"/>
          <ac:inkMkLst>
            <pc:docMk/>
            <pc:sldMk cId="1370836176" sldId="285"/>
            <ac:inkMk id="12" creationId="{6EA9A1C5-018A-4FD3-6EBD-FCB9EE091E57}"/>
          </ac:inkMkLst>
        </pc:inkChg>
        <pc:inkChg chg="add del">
          <ac:chgData name="Aniket Chhabra" userId="598e0514-bef3-4e71-b6aa-f2edd6441cff" providerId="ADAL" clId="{FFB5BFD2-246A-034F-B635-DE62B5FCF3A6}" dt="2023-05-27T07:31:51.779" v="17" actId="478"/>
          <ac:inkMkLst>
            <pc:docMk/>
            <pc:sldMk cId="1370836176" sldId="285"/>
            <ac:inkMk id="13" creationId="{33226A8A-E960-3CDB-5E6A-EFD8FEF07E2C}"/>
          </ac:inkMkLst>
        </pc:inkChg>
        <pc:inkChg chg="add mod">
          <ac:chgData name="Aniket Chhabra" userId="598e0514-bef3-4e71-b6aa-f2edd6441cff" providerId="ADAL" clId="{FFB5BFD2-246A-034F-B635-DE62B5FCF3A6}" dt="2023-05-27T12:27:24.228" v="1011"/>
          <ac:inkMkLst>
            <pc:docMk/>
            <pc:sldMk cId="1370836176" sldId="285"/>
            <ac:inkMk id="13" creationId="{6E6C6C18-6D44-F748-1CE3-108079E2C174}"/>
          </ac:inkMkLst>
        </pc:inkChg>
        <pc:inkChg chg="add del">
          <ac:chgData name="Aniket Chhabra" userId="598e0514-bef3-4e71-b6aa-f2edd6441cff" providerId="ADAL" clId="{FFB5BFD2-246A-034F-B635-DE62B5FCF3A6}" dt="2023-05-27T07:31:51.779" v="17" actId="478"/>
          <ac:inkMkLst>
            <pc:docMk/>
            <pc:sldMk cId="1370836176" sldId="285"/>
            <ac:inkMk id="14" creationId="{0C8A637A-CA7C-A139-A8C7-E210E3240BDE}"/>
          </ac:inkMkLst>
        </pc:inkChg>
        <pc:inkChg chg="add mod">
          <ac:chgData name="Aniket Chhabra" userId="598e0514-bef3-4e71-b6aa-f2edd6441cff" providerId="ADAL" clId="{FFB5BFD2-246A-034F-B635-DE62B5FCF3A6}" dt="2023-05-27T12:27:24.228" v="1011"/>
          <ac:inkMkLst>
            <pc:docMk/>
            <pc:sldMk cId="1370836176" sldId="285"/>
            <ac:inkMk id="14" creationId="{FA1CD6A7-BE47-9B5F-9652-61EA026E01D3}"/>
          </ac:inkMkLst>
        </pc:inkChg>
        <pc:inkChg chg="add mod">
          <ac:chgData name="Aniket Chhabra" userId="598e0514-bef3-4e71-b6aa-f2edd6441cff" providerId="ADAL" clId="{FFB5BFD2-246A-034F-B635-DE62B5FCF3A6}" dt="2023-05-27T12:27:24.228" v="1011"/>
          <ac:inkMkLst>
            <pc:docMk/>
            <pc:sldMk cId="1370836176" sldId="285"/>
            <ac:inkMk id="15" creationId="{C589B7B6-1FE8-F1C5-62C9-195433742A55}"/>
          </ac:inkMkLst>
        </pc:inkChg>
        <pc:inkChg chg="add mod">
          <ac:chgData name="Aniket Chhabra" userId="598e0514-bef3-4e71-b6aa-f2edd6441cff" providerId="ADAL" clId="{FFB5BFD2-246A-034F-B635-DE62B5FCF3A6}" dt="2023-05-27T12:27:24.228" v="1011"/>
          <ac:inkMkLst>
            <pc:docMk/>
            <pc:sldMk cId="1370836176" sldId="285"/>
            <ac:inkMk id="16" creationId="{9FDD95E1-760E-0495-365D-50010641C062}"/>
          </ac:inkMkLst>
        </pc:inkChg>
        <pc:inkChg chg="add mod">
          <ac:chgData name="Aniket Chhabra" userId="598e0514-bef3-4e71-b6aa-f2edd6441cff" providerId="ADAL" clId="{FFB5BFD2-246A-034F-B635-DE62B5FCF3A6}" dt="2023-05-27T12:27:24.228" v="1011"/>
          <ac:inkMkLst>
            <pc:docMk/>
            <pc:sldMk cId="1370836176" sldId="285"/>
            <ac:inkMk id="18" creationId="{5A76580C-A1BD-DC38-308F-D3CC1D460E52}"/>
          </ac:inkMkLst>
        </pc:inkChg>
        <pc:inkChg chg="add mod">
          <ac:chgData name="Aniket Chhabra" userId="598e0514-bef3-4e71-b6aa-f2edd6441cff" providerId="ADAL" clId="{FFB5BFD2-246A-034F-B635-DE62B5FCF3A6}" dt="2023-05-27T12:27:24.228" v="1011"/>
          <ac:inkMkLst>
            <pc:docMk/>
            <pc:sldMk cId="1370836176" sldId="285"/>
            <ac:inkMk id="20" creationId="{D6C9121B-FB01-3356-317C-F926B80EA242}"/>
          </ac:inkMkLst>
        </pc:inkChg>
        <pc:inkChg chg="add mod">
          <ac:chgData name="Aniket Chhabra" userId="598e0514-bef3-4e71-b6aa-f2edd6441cff" providerId="ADAL" clId="{FFB5BFD2-246A-034F-B635-DE62B5FCF3A6}" dt="2023-05-27T12:27:24.228" v="1011"/>
          <ac:inkMkLst>
            <pc:docMk/>
            <pc:sldMk cId="1370836176" sldId="285"/>
            <ac:inkMk id="21" creationId="{D50D8C7C-06B5-B64E-CDF7-F57E7E619BDF}"/>
          </ac:inkMkLst>
        </pc:inkChg>
        <pc:inkChg chg="add mod">
          <ac:chgData name="Aniket Chhabra" userId="598e0514-bef3-4e71-b6aa-f2edd6441cff" providerId="ADAL" clId="{FFB5BFD2-246A-034F-B635-DE62B5FCF3A6}" dt="2023-05-27T12:27:24.228" v="1011"/>
          <ac:inkMkLst>
            <pc:docMk/>
            <pc:sldMk cId="1370836176" sldId="285"/>
            <ac:inkMk id="22" creationId="{58E3D297-E110-6DE5-3B4C-C3FF87A8CF22}"/>
          </ac:inkMkLst>
        </pc:inkChg>
        <pc:inkChg chg="add mod">
          <ac:chgData name="Aniket Chhabra" userId="598e0514-bef3-4e71-b6aa-f2edd6441cff" providerId="ADAL" clId="{FFB5BFD2-246A-034F-B635-DE62B5FCF3A6}" dt="2023-05-27T12:27:24.228" v="1011"/>
          <ac:inkMkLst>
            <pc:docMk/>
            <pc:sldMk cId="1370836176" sldId="285"/>
            <ac:inkMk id="23" creationId="{A1EF26B7-7236-0530-4864-CBE0716B924E}"/>
          </ac:inkMkLst>
        </pc:inkChg>
        <pc:inkChg chg="add">
          <ac:chgData name="Aniket Chhabra" userId="598e0514-bef3-4e71-b6aa-f2edd6441cff" providerId="ADAL" clId="{FFB5BFD2-246A-034F-B635-DE62B5FCF3A6}" dt="2023-06-03T15:55:25.694" v="1529" actId="9405"/>
          <ac:inkMkLst>
            <pc:docMk/>
            <pc:sldMk cId="1370836176" sldId="285"/>
            <ac:inkMk id="24" creationId="{7F77535F-9D38-9BDC-6A7D-AD19CC553575}"/>
          </ac:inkMkLst>
        </pc:inkChg>
        <pc:inkChg chg="add mod">
          <ac:chgData name="Aniket Chhabra" userId="598e0514-bef3-4e71-b6aa-f2edd6441cff" providerId="ADAL" clId="{FFB5BFD2-246A-034F-B635-DE62B5FCF3A6}" dt="2023-05-27T12:27:24.228" v="1011"/>
          <ac:inkMkLst>
            <pc:docMk/>
            <pc:sldMk cId="1370836176" sldId="285"/>
            <ac:inkMk id="25" creationId="{299802C4-535D-514F-46BC-4BB12DDFC24D}"/>
          </ac:inkMkLst>
        </pc:inkChg>
        <pc:inkChg chg="add mod">
          <ac:chgData name="Aniket Chhabra" userId="598e0514-bef3-4e71-b6aa-f2edd6441cff" providerId="ADAL" clId="{FFB5BFD2-246A-034F-B635-DE62B5FCF3A6}" dt="2023-05-27T12:27:24.228" v="1011"/>
          <ac:inkMkLst>
            <pc:docMk/>
            <pc:sldMk cId="1370836176" sldId="285"/>
            <ac:inkMk id="26" creationId="{3BBA61FC-F51E-24EA-C965-74531E60DD63}"/>
          </ac:inkMkLst>
        </pc:inkChg>
        <pc:inkChg chg="add mod">
          <ac:chgData name="Aniket Chhabra" userId="598e0514-bef3-4e71-b6aa-f2edd6441cff" providerId="ADAL" clId="{FFB5BFD2-246A-034F-B635-DE62B5FCF3A6}" dt="2023-05-27T12:27:24.228" v="1011"/>
          <ac:inkMkLst>
            <pc:docMk/>
            <pc:sldMk cId="1370836176" sldId="285"/>
            <ac:inkMk id="27" creationId="{E0E554A8-E54B-E683-AF44-BFEDF2059F5C}"/>
          </ac:inkMkLst>
        </pc:inkChg>
        <pc:inkChg chg="add del">
          <ac:chgData name="Aniket Chhabra" userId="598e0514-bef3-4e71-b6aa-f2edd6441cff" providerId="ADAL" clId="{FFB5BFD2-246A-034F-B635-DE62B5FCF3A6}" dt="2023-05-27T07:31:51.779" v="17" actId="478"/>
          <ac:inkMkLst>
            <pc:docMk/>
            <pc:sldMk cId="1370836176" sldId="285"/>
            <ac:inkMk id="27" creationId="{EECAD0D7-F7AD-8FBD-4156-4B73AB772017}"/>
          </ac:inkMkLst>
        </pc:inkChg>
        <pc:inkChg chg="add mod">
          <ac:chgData name="Aniket Chhabra" userId="598e0514-bef3-4e71-b6aa-f2edd6441cff" providerId="ADAL" clId="{FFB5BFD2-246A-034F-B635-DE62B5FCF3A6}" dt="2023-05-27T12:27:24.228" v="1011"/>
          <ac:inkMkLst>
            <pc:docMk/>
            <pc:sldMk cId="1370836176" sldId="285"/>
            <ac:inkMk id="28" creationId="{DDF17369-695B-356A-F4BB-EA5F6031A762}"/>
          </ac:inkMkLst>
        </pc:inkChg>
        <pc:inkChg chg="del">
          <ac:chgData name="Aniket Chhabra" userId="598e0514-bef3-4e71-b6aa-f2edd6441cff" providerId="ADAL" clId="{FFB5BFD2-246A-034F-B635-DE62B5FCF3A6}" dt="2023-05-27T07:31:53.773" v="18" actId="478"/>
          <ac:inkMkLst>
            <pc:docMk/>
            <pc:sldMk cId="1370836176" sldId="285"/>
            <ac:inkMk id="28" creationId="{EAE80128-5881-0424-3BE5-9AC974E568F5}"/>
          </ac:inkMkLst>
        </pc:inkChg>
        <pc:inkChg chg="add mod">
          <ac:chgData name="Aniket Chhabra" userId="598e0514-bef3-4e71-b6aa-f2edd6441cff" providerId="ADAL" clId="{FFB5BFD2-246A-034F-B635-DE62B5FCF3A6}" dt="2023-05-27T12:27:24.228" v="1011"/>
          <ac:inkMkLst>
            <pc:docMk/>
            <pc:sldMk cId="1370836176" sldId="285"/>
            <ac:inkMk id="29" creationId="{17CFF9AF-3D4E-62E2-A15F-A658095420D5}"/>
          </ac:inkMkLst>
        </pc:inkChg>
        <pc:inkChg chg="add mod">
          <ac:chgData name="Aniket Chhabra" userId="598e0514-bef3-4e71-b6aa-f2edd6441cff" providerId="ADAL" clId="{FFB5BFD2-246A-034F-B635-DE62B5FCF3A6}" dt="2023-05-27T12:27:24.228" v="1011"/>
          <ac:inkMkLst>
            <pc:docMk/>
            <pc:sldMk cId="1370836176" sldId="285"/>
            <ac:inkMk id="30" creationId="{C2D3E7C8-5EAC-E665-473B-C2DCE0ABDC63}"/>
          </ac:inkMkLst>
        </pc:inkChg>
        <pc:inkChg chg="add mod">
          <ac:chgData name="Aniket Chhabra" userId="598e0514-bef3-4e71-b6aa-f2edd6441cff" providerId="ADAL" clId="{FFB5BFD2-246A-034F-B635-DE62B5FCF3A6}" dt="2023-05-27T12:27:24.228" v="1011"/>
          <ac:inkMkLst>
            <pc:docMk/>
            <pc:sldMk cId="1370836176" sldId="285"/>
            <ac:inkMk id="31" creationId="{F26DEF92-893D-8ED5-1B4E-4665FEE0D2BE}"/>
          </ac:inkMkLst>
        </pc:inkChg>
        <pc:inkChg chg="add mod">
          <ac:chgData name="Aniket Chhabra" userId="598e0514-bef3-4e71-b6aa-f2edd6441cff" providerId="ADAL" clId="{FFB5BFD2-246A-034F-B635-DE62B5FCF3A6}" dt="2023-05-27T12:27:24.228" v="1011"/>
          <ac:inkMkLst>
            <pc:docMk/>
            <pc:sldMk cId="1370836176" sldId="285"/>
            <ac:inkMk id="32" creationId="{241346EC-4045-EB50-AD0B-A5849F70C74E}"/>
          </ac:inkMkLst>
        </pc:inkChg>
        <pc:inkChg chg="add mod">
          <ac:chgData name="Aniket Chhabra" userId="598e0514-bef3-4e71-b6aa-f2edd6441cff" providerId="ADAL" clId="{FFB5BFD2-246A-034F-B635-DE62B5FCF3A6}" dt="2023-05-27T12:27:24.228" v="1011"/>
          <ac:inkMkLst>
            <pc:docMk/>
            <pc:sldMk cId="1370836176" sldId="285"/>
            <ac:inkMk id="33" creationId="{9F71CF5C-ACD2-BF74-3013-6BC663F0CBFB}"/>
          </ac:inkMkLst>
        </pc:inkChg>
        <pc:inkChg chg="add mod">
          <ac:chgData name="Aniket Chhabra" userId="598e0514-bef3-4e71-b6aa-f2edd6441cff" providerId="ADAL" clId="{FFB5BFD2-246A-034F-B635-DE62B5FCF3A6}" dt="2023-05-27T12:27:24.228" v="1011"/>
          <ac:inkMkLst>
            <pc:docMk/>
            <pc:sldMk cId="1370836176" sldId="285"/>
            <ac:inkMk id="34" creationId="{FD483B2C-9DC3-303C-6CE4-C50399A68238}"/>
          </ac:inkMkLst>
        </pc:inkChg>
        <pc:inkChg chg="add">
          <ac:chgData name="Aniket Chhabra" userId="598e0514-bef3-4e71-b6aa-f2edd6441cff" providerId="ADAL" clId="{FFB5BFD2-246A-034F-B635-DE62B5FCF3A6}" dt="2023-06-03T15:56:18.116" v="1530" actId="9405"/>
          <ac:inkMkLst>
            <pc:docMk/>
            <pc:sldMk cId="1370836176" sldId="285"/>
            <ac:inkMk id="35" creationId="{7A98F149-8479-82D1-6285-7BD300E61867}"/>
          </ac:inkMkLst>
        </pc:inkChg>
        <pc:inkChg chg="add del">
          <ac:chgData name="Aniket Chhabra" userId="598e0514-bef3-4e71-b6aa-f2edd6441cff" providerId="ADAL" clId="{FFB5BFD2-246A-034F-B635-DE62B5FCF3A6}" dt="2023-05-27T07:31:51.779" v="17" actId="478"/>
          <ac:inkMkLst>
            <pc:docMk/>
            <pc:sldMk cId="1370836176" sldId="285"/>
            <ac:inkMk id="36" creationId="{2E35F1E8-6F18-9AE1-E872-76FB5C293C06}"/>
          </ac:inkMkLst>
        </pc:inkChg>
        <pc:inkChg chg="add mod">
          <ac:chgData name="Aniket Chhabra" userId="598e0514-bef3-4e71-b6aa-f2edd6441cff" providerId="ADAL" clId="{FFB5BFD2-246A-034F-B635-DE62B5FCF3A6}" dt="2023-05-27T12:27:24.228" v="1011"/>
          <ac:inkMkLst>
            <pc:docMk/>
            <pc:sldMk cId="1370836176" sldId="285"/>
            <ac:inkMk id="36" creationId="{B970B199-5D83-F985-59AB-B565FF4A28DE}"/>
          </ac:inkMkLst>
        </pc:inkChg>
        <pc:inkChg chg="add mod">
          <ac:chgData name="Aniket Chhabra" userId="598e0514-bef3-4e71-b6aa-f2edd6441cff" providerId="ADAL" clId="{FFB5BFD2-246A-034F-B635-DE62B5FCF3A6}" dt="2023-05-27T12:27:26.784" v="1019"/>
          <ac:inkMkLst>
            <pc:docMk/>
            <pc:sldMk cId="1370836176" sldId="285"/>
            <ac:inkMk id="38" creationId="{E45CEB0C-9CBE-42A9-C9AD-5B294399C94D}"/>
          </ac:inkMkLst>
        </pc:inkChg>
        <pc:inkChg chg="add mod">
          <ac:chgData name="Aniket Chhabra" userId="598e0514-bef3-4e71-b6aa-f2edd6441cff" providerId="ADAL" clId="{FFB5BFD2-246A-034F-B635-DE62B5FCF3A6}" dt="2023-05-27T12:27:26.784" v="1019"/>
          <ac:inkMkLst>
            <pc:docMk/>
            <pc:sldMk cId="1370836176" sldId="285"/>
            <ac:inkMk id="39" creationId="{6A4B1B69-D6D5-F5D0-D1DA-16E0FFE0C822}"/>
          </ac:inkMkLst>
        </pc:inkChg>
        <pc:inkChg chg="add mod">
          <ac:chgData name="Aniket Chhabra" userId="598e0514-bef3-4e71-b6aa-f2edd6441cff" providerId="ADAL" clId="{FFB5BFD2-246A-034F-B635-DE62B5FCF3A6}" dt="2023-05-27T12:27:26.784" v="1019"/>
          <ac:inkMkLst>
            <pc:docMk/>
            <pc:sldMk cId="1370836176" sldId="285"/>
            <ac:inkMk id="40" creationId="{F32CA083-3D65-9007-72CE-085F2428C73A}"/>
          </ac:inkMkLst>
        </pc:inkChg>
        <pc:inkChg chg="add mod">
          <ac:chgData name="Aniket Chhabra" userId="598e0514-bef3-4e71-b6aa-f2edd6441cff" providerId="ADAL" clId="{FFB5BFD2-246A-034F-B635-DE62B5FCF3A6}" dt="2023-05-27T12:27:26.784" v="1019"/>
          <ac:inkMkLst>
            <pc:docMk/>
            <pc:sldMk cId="1370836176" sldId="285"/>
            <ac:inkMk id="41" creationId="{400F94DF-4DDB-0B92-CA43-41228917E77C}"/>
          </ac:inkMkLst>
        </pc:inkChg>
        <pc:inkChg chg="add del">
          <ac:chgData name="Aniket Chhabra" userId="598e0514-bef3-4e71-b6aa-f2edd6441cff" providerId="ADAL" clId="{FFB5BFD2-246A-034F-B635-DE62B5FCF3A6}" dt="2023-05-27T07:31:51.779" v="17" actId="478"/>
          <ac:inkMkLst>
            <pc:docMk/>
            <pc:sldMk cId="1370836176" sldId="285"/>
            <ac:inkMk id="41" creationId="{8DD4ECCE-4F42-7B8B-0521-D6A098B4919A}"/>
          </ac:inkMkLst>
        </pc:inkChg>
        <pc:inkChg chg="add mod">
          <ac:chgData name="Aniket Chhabra" userId="598e0514-bef3-4e71-b6aa-f2edd6441cff" providerId="ADAL" clId="{FFB5BFD2-246A-034F-B635-DE62B5FCF3A6}" dt="2023-05-27T12:27:26.784" v="1019"/>
          <ac:inkMkLst>
            <pc:docMk/>
            <pc:sldMk cId="1370836176" sldId="285"/>
            <ac:inkMk id="42" creationId="{4DD532A3-41EC-8D02-9DA3-30551547F138}"/>
          </ac:inkMkLst>
        </pc:inkChg>
        <pc:inkChg chg="add mod">
          <ac:chgData name="Aniket Chhabra" userId="598e0514-bef3-4e71-b6aa-f2edd6441cff" providerId="ADAL" clId="{FFB5BFD2-246A-034F-B635-DE62B5FCF3A6}" dt="2023-05-27T12:27:26.784" v="1019"/>
          <ac:inkMkLst>
            <pc:docMk/>
            <pc:sldMk cId="1370836176" sldId="285"/>
            <ac:inkMk id="43" creationId="{EB37A413-C9BE-B178-0F6B-3E6BFE1A4342}"/>
          </ac:inkMkLst>
        </pc:inkChg>
        <pc:inkChg chg="add mod">
          <ac:chgData name="Aniket Chhabra" userId="598e0514-bef3-4e71-b6aa-f2edd6441cff" providerId="ADAL" clId="{FFB5BFD2-246A-034F-B635-DE62B5FCF3A6}" dt="2023-05-27T12:27:26.784" v="1019"/>
          <ac:inkMkLst>
            <pc:docMk/>
            <pc:sldMk cId="1370836176" sldId="285"/>
            <ac:inkMk id="44" creationId="{92B0573A-1FF7-17FF-A43E-DBE6FB4A0B67}"/>
          </ac:inkMkLst>
        </pc:inkChg>
        <pc:inkChg chg="add del">
          <ac:chgData name="Aniket Chhabra" userId="598e0514-bef3-4e71-b6aa-f2edd6441cff" providerId="ADAL" clId="{FFB5BFD2-246A-034F-B635-DE62B5FCF3A6}" dt="2023-05-27T07:31:51.779" v="17" actId="478"/>
          <ac:inkMkLst>
            <pc:docMk/>
            <pc:sldMk cId="1370836176" sldId="285"/>
            <ac:inkMk id="46" creationId="{2A227978-62C6-E24B-1F7F-A0DAF0F8F501}"/>
          </ac:inkMkLst>
        </pc:inkChg>
        <pc:inkChg chg="add">
          <ac:chgData name="Aniket Chhabra" userId="598e0514-bef3-4e71-b6aa-f2edd6441cff" providerId="ADAL" clId="{FFB5BFD2-246A-034F-B635-DE62B5FCF3A6}" dt="2023-05-27T12:27:31.493" v="1020" actId="9405"/>
          <ac:inkMkLst>
            <pc:docMk/>
            <pc:sldMk cId="1370836176" sldId="285"/>
            <ac:inkMk id="46" creationId="{8A245F5B-A5B2-1C1B-C4C7-66BD27B9E0FA}"/>
          </ac:inkMkLst>
        </pc:inkChg>
        <pc:inkChg chg="add">
          <ac:chgData name="Aniket Chhabra" userId="598e0514-bef3-4e71-b6aa-f2edd6441cff" providerId="ADAL" clId="{FFB5BFD2-246A-034F-B635-DE62B5FCF3A6}" dt="2023-05-27T12:27:32.384" v="1021" actId="9405"/>
          <ac:inkMkLst>
            <pc:docMk/>
            <pc:sldMk cId="1370836176" sldId="285"/>
            <ac:inkMk id="47" creationId="{3D9DAE95-9864-3686-CF37-35BE143D20C7}"/>
          </ac:inkMkLst>
        </pc:inkChg>
        <pc:inkChg chg="add del">
          <ac:chgData name="Aniket Chhabra" userId="598e0514-bef3-4e71-b6aa-f2edd6441cff" providerId="ADAL" clId="{FFB5BFD2-246A-034F-B635-DE62B5FCF3A6}" dt="2023-05-27T07:31:51.779" v="17" actId="478"/>
          <ac:inkMkLst>
            <pc:docMk/>
            <pc:sldMk cId="1370836176" sldId="285"/>
            <ac:inkMk id="47" creationId="{96303B9F-0DD6-7C75-D939-8DDA64A8FA12}"/>
          </ac:inkMkLst>
        </pc:inkChg>
        <pc:inkChg chg="add del">
          <ac:chgData name="Aniket Chhabra" userId="598e0514-bef3-4e71-b6aa-f2edd6441cff" providerId="ADAL" clId="{FFB5BFD2-246A-034F-B635-DE62B5FCF3A6}" dt="2023-05-27T07:31:51.779" v="17" actId="478"/>
          <ac:inkMkLst>
            <pc:docMk/>
            <pc:sldMk cId="1370836176" sldId="285"/>
            <ac:inkMk id="48" creationId="{C6F1995E-4A83-4F34-59C7-439649E1AD4D}"/>
          </ac:inkMkLst>
        </pc:inkChg>
        <pc:inkChg chg="add mod">
          <ac:chgData name="Aniket Chhabra" userId="598e0514-bef3-4e71-b6aa-f2edd6441cff" providerId="ADAL" clId="{FFB5BFD2-246A-034F-B635-DE62B5FCF3A6}" dt="2023-05-27T12:27:35.477" v="1029"/>
          <ac:inkMkLst>
            <pc:docMk/>
            <pc:sldMk cId="1370836176" sldId="285"/>
            <ac:inkMk id="48" creationId="{E396CD80-E1A6-C5F9-ABDB-3EC253CE53E3}"/>
          </ac:inkMkLst>
        </pc:inkChg>
        <pc:inkChg chg="add mod">
          <ac:chgData name="Aniket Chhabra" userId="598e0514-bef3-4e71-b6aa-f2edd6441cff" providerId="ADAL" clId="{FFB5BFD2-246A-034F-B635-DE62B5FCF3A6}" dt="2023-05-27T12:27:35.477" v="1029"/>
          <ac:inkMkLst>
            <pc:docMk/>
            <pc:sldMk cId="1370836176" sldId="285"/>
            <ac:inkMk id="49" creationId="{22BA7C5B-C44B-6139-3944-E0BDDDAF7125}"/>
          </ac:inkMkLst>
        </pc:inkChg>
        <pc:inkChg chg="add mod">
          <ac:chgData name="Aniket Chhabra" userId="598e0514-bef3-4e71-b6aa-f2edd6441cff" providerId="ADAL" clId="{FFB5BFD2-246A-034F-B635-DE62B5FCF3A6}" dt="2023-05-27T12:27:35.477" v="1029"/>
          <ac:inkMkLst>
            <pc:docMk/>
            <pc:sldMk cId="1370836176" sldId="285"/>
            <ac:inkMk id="50" creationId="{E83E522B-F605-E2BD-D4EE-C5972F866091}"/>
          </ac:inkMkLst>
        </pc:inkChg>
        <pc:inkChg chg="add">
          <ac:chgData name="Aniket Chhabra" userId="598e0514-bef3-4e71-b6aa-f2edd6441cff" providerId="ADAL" clId="{FFB5BFD2-246A-034F-B635-DE62B5FCF3A6}" dt="2023-05-27T07:48:49.452" v="258" actId="9405"/>
          <ac:inkMkLst>
            <pc:docMk/>
            <pc:sldMk cId="1370836176" sldId="285"/>
            <ac:inkMk id="51" creationId="{422B9B79-2316-742F-B4B4-79FA9CFA51DD}"/>
          </ac:inkMkLst>
        </pc:inkChg>
        <pc:inkChg chg="add mod">
          <ac:chgData name="Aniket Chhabra" userId="598e0514-bef3-4e71-b6aa-f2edd6441cff" providerId="ADAL" clId="{FFB5BFD2-246A-034F-B635-DE62B5FCF3A6}" dt="2023-05-27T12:27:35.477" v="1029"/>
          <ac:inkMkLst>
            <pc:docMk/>
            <pc:sldMk cId="1370836176" sldId="285"/>
            <ac:inkMk id="52" creationId="{C0B72917-F6FB-5D50-0D27-BCE477B71FE9}"/>
          </ac:inkMkLst>
        </pc:inkChg>
        <pc:inkChg chg="add mod">
          <ac:chgData name="Aniket Chhabra" userId="598e0514-bef3-4e71-b6aa-f2edd6441cff" providerId="ADAL" clId="{FFB5BFD2-246A-034F-B635-DE62B5FCF3A6}" dt="2023-05-27T12:27:35.477" v="1029"/>
          <ac:inkMkLst>
            <pc:docMk/>
            <pc:sldMk cId="1370836176" sldId="285"/>
            <ac:inkMk id="53" creationId="{94AC8685-BB5B-B5C8-A6F1-B704E2CE57D3}"/>
          </ac:inkMkLst>
        </pc:inkChg>
        <pc:inkChg chg="add mod">
          <ac:chgData name="Aniket Chhabra" userId="598e0514-bef3-4e71-b6aa-f2edd6441cff" providerId="ADAL" clId="{FFB5BFD2-246A-034F-B635-DE62B5FCF3A6}" dt="2023-05-27T12:27:35.477" v="1029"/>
          <ac:inkMkLst>
            <pc:docMk/>
            <pc:sldMk cId="1370836176" sldId="285"/>
            <ac:inkMk id="54" creationId="{29293E5D-F171-8058-587F-61DBC368298D}"/>
          </ac:inkMkLst>
        </pc:inkChg>
        <pc:inkChg chg="add mod">
          <ac:chgData name="Aniket Chhabra" userId="598e0514-bef3-4e71-b6aa-f2edd6441cff" providerId="ADAL" clId="{FFB5BFD2-246A-034F-B635-DE62B5FCF3A6}" dt="2023-05-27T12:27:35.477" v="1029"/>
          <ac:inkMkLst>
            <pc:docMk/>
            <pc:sldMk cId="1370836176" sldId="285"/>
            <ac:inkMk id="55" creationId="{A2935A26-78DF-9CED-4105-3623C67F6D1D}"/>
          </ac:inkMkLst>
        </pc:inkChg>
        <pc:inkChg chg="add">
          <ac:chgData name="Aniket Chhabra" userId="598e0514-bef3-4e71-b6aa-f2edd6441cff" providerId="ADAL" clId="{FFB5BFD2-246A-034F-B635-DE62B5FCF3A6}" dt="2023-05-27T12:27:35.954" v="1030" actId="9405"/>
          <ac:inkMkLst>
            <pc:docMk/>
            <pc:sldMk cId="1370836176" sldId="285"/>
            <ac:inkMk id="57" creationId="{5210A789-6B4F-C1C1-6E79-415D03C535DA}"/>
          </ac:inkMkLst>
        </pc:inkChg>
        <pc:inkChg chg="add mod">
          <ac:chgData name="Aniket Chhabra" userId="598e0514-bef3-4e71-b6aa-f2edd6441cff" providerId="ADAL" clId="{FFB5BFD2-246A-034F-B635-DE62B5FCF3A6}" dt="2023-05-27T12:27:37.007" v="1033"/>
          <ac:inkMkLst>
            <pc:docMk/>
            <pc:sldMk cId="1370836176" sldId="285"/>
            <ac:inkMk id="58" creationId="{198EC63B-9F40-60DA-4A28-6F4AD237643B}"/>
          </ac:inkMkLst>
        </pc:inkChg>
        <pc:inkChg chg="add mod">
          <ac:chgData name="Aniket Chhabra" userId="598e0514-bef3-4e71-b6aa-f2edd6441cff" providerId="ADAL" clId="{FFB5BFD2-246A-034F-B635-DE62B5FCF3A6}" dt="2023-05-27T12:27:37.007" v="1033"/>
          <ac:inkMkLst>
            <pc:docMk/>
            <pc:sldMk cId="1370836176" sldId="285"/>
            <ac:inkMk id="59" creationId="{D9297CF0-C52D-7A1C-643A-E60CE3F845DB}"/>
          </ac:inkMkLst>
        </pc:inkChg>
        <pc:inkChg chg="add">
          <ac:chgData name="Aniket Chhabra" userId="598e0514-bef3-4e71-b6aa-f2edd6441cff" providerId="ADAL" clId="{FFB5BFD2-246A-034F-B635-DE62B5FCF3A6}" dt="2023-05-27T12:27:40.817" v="1034" actId="9405"/>
          <ac:inkMkLst>
            <pc:docMk/>
            <pc:sldMk cId="1370836176" sldId="285"/>
            <ac:inkMk id="61" creationId="{8DFE459F-042A-2647-C1EA-E3FD1A241945}"/>
          </ac:inkMkLst>
        </pc:inkChg>
        <pc:inkChg chg="add">
          <ac:chgData name="Aniket Chhabra" userId="598e0514-bef3-4e71-b6aa-f2edd6441cff" providerId="ADAL" clId="{FFB5BFD2-246A-034F-B635-DE62B5FCF3A6}" dt="2023-06-03T15:56:20.152" v="1531" actId="9405"/>
          <ac:inkMkLst>
            <pc:docMk/>
            <pc:sldMk cId="1370836176" sldId="285"/>
            <ac:inkMk id="63" creationId="{2668C899-9540-2BE9-6B60-B386A0FC2314}"/>
          </ac:inkMkLst>
        </pc:inkChg>
        <pc:inkChg chg="add">
          <ac:chgData name="Aniket Chhabra" userId="598e0514-bef3-4e71-b6aa-f2edd6441cff" providerId="ADAL" clId="{FFB5BFD2-246A-034F-B635-DE62B5FCF3A6}" dt="2023-06-03T15:56:21.231" v="1532" actId="9405"/>
          <ac:inkMkLst>
            <pc:docMk/>
            <pc:sldMk cId="1370836176" sldId="285"/>
            <ac:inkMk id="64" creationId="{F79EF249-747B-1CD8-D1BE-1BA4CE3995F1}"/>
          </ac:inkMkLst>
        </pc:inkChg>
        <pc:inkChg chg="add mod">
          <ac:chgData name="Aniket Chhabra" userId="598e0514-bef3-4e71-b6aa-f2edd6441cff" providerId="ADAL" clId="{FFB5BFD2-246A-034F-B635-DE62B5FCF3A6}" dt="2023-06-03T15:56:25.745" v="1535"/>
          <ac:inkMkLst>
            <pc:docMk/>
            <pc:sldMk cId="1370836176" sldId="285"/>
            <ac:inkMk id="65" creationId="{EE2B50C3-FC71-E2CB-F491-A0F527948FBE}"/>
          </ac:inkMkLst>
        </pc:inkChg>
        <pc:inkChg chg="add mod">
          <ac:chgData name="Aniket Chhabra" userId="598e0514-bef3-4e71-b6aa-f2edd6441cff" providerId="ADAL" clId="{FFB5BFD2-246A-034F-B635-DE62B5FCF3A6}" dt="2023-06-03T15:56:25.745" v="1535"/>
          <ac:inkMkLst>
            <pc:docMk/>
            <pc:sldMk cId="1370836176" sldId="285"/>
            <ac:inkMk id="66" creationId="{154463E0-6720-AC58-20D2-35B98025A060}"/>
          </ac:inkMkLst>
        </pc:inkChg>
        <pc:inkChg chg="add del">
          <ac:chgData name="Aniket Chhabra" userId="598e0514-bef3-4e71-b6aa-f2edd6441cff" providerId="ADAL" clId="{FFB5BFD2-246A-034F-B635-DE62B5FCF3A6}" dt="2023-05-27T07:31:51.779" v="17" actId="478"/>
          <ac:inkMkLst>
            <pc:docMk/>
            <pc:sldMk cId="1370836176" sldId="285"/>
            <ac:inkMk id="67" creationId="{576C8253-6A0D-D6C1-4652-95247AEDE3AF}"/>
          </ac:inkMkLst>
        </pc:inkChg>
        <pc:inkChg chg="add mod">
          <ac:chgData name="Aniket Chhabra" userId="598e0514-bef3-4e71-b6aa-f2edd6441cff" providerId="ADAL" clId="{FFB5BFD2-246A-034F-B635-DE62B5FCF3A6}" dt="2023-06-03T15:57:01.691" v="1554"/>
          <ac:inkMkLst>
            <pc:docMk/>
            <pc:sldMk cId="1370836176" sldId="285"/>
            <ac:inkMk id="68" creationId="{51FD4E67-C441-4CF2-91F9-7EB03CEED480}"/>
          </ac:inkMkLst>
        </pc:inkChg>
        <pc:inkChg chg="add mod">
          <ac:chgData name="Aniket Chhabra" userId="598e0514-bef3-4e71-b6aa-f2edd6441cff" providerId="ADAL" clId="{FFB5BFD2-246A-034F-B635-DE62B5FCF3A6}" dt="2023-06-03T15:57:01.691" v="1554"/>
          <ac:inkMkLst>
            <pc:docMk/>
            <pc:sldMk cId="1370836176" sldId="285"/>
            <ac:inkMk id="69" creationId="{8898B2D8-D22E-63E8-62F5-C12C3D40E8EA}"/>
          </ac:inkMkLst>
        </pc:inkChg>
        <pc:inkChg chg="add del">
          <ac:chgData name="Aniket Chhabra" userId="598e0514-bef3-4e71-b6aa-f2edd6441cff" providerId="ADAL" clId="{FFB5BFD2-246A-034F-B635-DE62B5FCF3A6}" dt="2023-05-27T07:31:51.779" v="17" actId="478"/>
          <ac:inkMkLst>
            <pc:docMk/>
            <pc:sldMk cId="1370836176" sldId="285"/>
            <ac:inkMk id="70" creationId="{97608600-E3B8-F44C-FF7B-4995FF893D1A}"/>
          </ac:inkMkLst>
        </pc:inkChg>
        <pc:inkChg chg="add">
          <ac:chgData name="Aniket Chhabra" userId="598e0514-bef3-4e71-b6aa-f2edd6441cff" providerId="ADAL" clId="{FFB5BFD2-246A-034F-B635-DE62B5FCF3A6}" dt="2023-06-03T15:56:58.382" v="1550" actId="9405"/>
          <ac:inkMkLst>
            <pc:docMk/>
            <pc:sldMk cId="1370836176" sldId="285"/>
            <ac:inkMk id="71" creationId="{FF022468-6546-1104-6D1A-10A0B0A3D275}"/>
          </ac:inkMkLst>
        </pc:inkChg>
        <pc:inkChg chg="add">
          <ac:chgData name="Aniket Chhabra" userId="598e0514-bef3-4e71-b6aa-f2edd6441cff" providerId="ADAL" clId="{FFB5BFD2-246A-034F-B635-DE62B5FCF3A6}" dt="2023-06-03T15:56:58.556" v="1551" actId="9405"/>
          <ac:inkMkLst>
            <pc:docMk/>
            <pc:sldMk cId="1370836176" sldId="285"/>
            <ac:inkMk id="72" creationId="{4055FF48-38C9-56DF-B9FF-BA35F4677051}"/>
          </ac:inkMkLst>
        </pc:inkChg>
        <pc:inkChg chg="add mod">
          <ac:chgData name="Aniket Chhabra" userId="598e0514-bef3-4e71-b6aa-f2edd6441cff" providerId="ADAL" clId="{FFB5BFD2-246A-034F-B635-DE62B5FCF3A6}" dt="2023-06-03T15:57:01.691" v="1554"/>
          <ac:inkMkLst>
            <pc:docMk/>
            <pc:sldMk cId="1370836176" sldId="285"/>
            <ac:inkMk id="73" creationId="{597F7C4A-363F-E3F8-6E3B-62147B0D6261}"/>
          </ac:inkMkLst>
        </pc:inkChg>
        <pc:inkChg chg="add mod">
          <ac:chgData name="Aniket Chhabra" userId="598e0514-bef3-4e71-b6aa-f2edd6441cff" providerId="ADAL" clId="{FFB5BFD2-246A-034F-B635-DE62B5FCF3A6}" dt="2023-06-03T15:57:01.691" v="1554"/>
          <ac:inkMkLst>
            <pc:docMk/>
            <pc:sldMk cId="1370836176" sldId="285"/>
            <ac:inkMk id="74" creationId="{785C110F-851C-2F21-5295-E984CE869E6A}"/>
          </ac:inkMkLst>
        </pc:inkChg>
        <pc:inkChg chg="add del">
          <ac:chgData name="Aniket Chhabra" userId="598e0514-bef3-4e71-b6aa-f2edd6441cff" providerId="ADAL" clId="{FFB5BFD2-246A-034F-B635-DE62B5FCF3A6}" dt="2023-05-27T07:31:51.779" v="17" actId="478"/>
          <ac:inkMkLst>
            <pc:docMk/>
            <pc:sldMk cId="1370836176" sldId="285"/>
            <ac:inkMk id="102" creationId="{77ABA1EF-3516-E67C-5BCA-F234A113D3AB}"/>
          </ac:inkMkLst>
        </pc:inkChg>
        <pc:inkChg chg="add del">
          <ac:chgData name="Aniket Chhabra" userId="598e0514-bef3-4e71-b6aa-f2edd6441cff" providerId="ADAL" clId="{FFB5BFD2-246A-034F-B635-DE62B5FCF3A6}" dt="2023-05-27T07:31:51.779" v="17" actId="478"/>
          <ac:inkMkLst>
            <pc:docMk/>
            <pc:sldMk cId="1370836176" sldId="285"/>
            <ac:inkMk id="103" creationId="{14DBFCFD-F048-A5F4-03B9-1CACB6F5E9C4}"/>
          </ac:inkMkLst>
        </pc:inkChg>
        <pc:inkChg chg="add del">
          <ac:chgData name="Aniket Chhabra" userId="598e0514-bef3-4e71-b6aa-f2edd6441cff" providerId="ADAL" clId="{FFB5BFD2-246A-034F-B635-DE62B5FCF3A6}" dt="2023-05-27T07:31:51.779" v="17" actId="478"/>
          <ac:inkMkLst>
            <pc:docMk/>
            <pc:sldMk cId="1370836176" sldId="285"/>
            <ac:inkMk id="116" creationId="{25AFC2F3-7EA4-AF8A-0AC4-66F1B507187D}"/>
          </ac:inkMkLst>
        </pc:inkChg>
        <pc:inkChg chg="add del">
          <ac:chgData name="Aniket Chhabra" userId="598e0514-bef3-4e71-b6aa-f2edd6441cff" providerId="ADAL" clId="{FFB5BFD2-246A-034F-B635-DE62B5FCF3A6}" dt="2023-05-27T07:31:51.779" v="17" actId="478"/>
          <ac:inkMkLst>
            <pc:docMk/>
            <pc:sldMk cId="1370836176" sldId="285"/>
            <ac:inkMk id="118" creationId="{FC687177-8CC8-5B0B-41C4-440D1E48F54C}"/>
          </ac:inkMkLst>
        </pc:inkChg>
        <pc:inkChg chg="add del">
          <ac:chgData name="Aniket Chhabra" userId="598e0514-bef3-4e71-b6aa-f2edd6441cff" providerId="ADAL" clId="{FFB5BFD2-246A-034F-B635-DE62B5FCF3A6}" dt="2023-05-27T07:31:51.779" v="17" actId="478"/>
          <ac:inkMkLst>
            <pc:docMk/>
            <pc:sldMk cId="1370836176" sldId="285"/>
            <ac:inkMk id="145" creationId="{93EDF87F-1EBF-7062-10A7-BEA995B403FF}"/>
          </ac:inkMkLst>
        </pc:inkChg>
        <pc:inkChg chg="add del">
          <ac:chgData name="Aniket Chhabra" userId="598e0514-bef3-4e71-b6aa-f2edd6441cff" providerId="ADAL" clId="{FFB5BFD2-246A-034F-B635-DE62B5FCF3A6}" dt="2023-05-27T07:31:51.779" v="17" actId="478"/>
          <ac:inkMkLst>
            <pc:docMk/>
            <pc:sldMk cId="1370836176" sldId="285"/>
            <ac:inkMk id="147" creationId="{55506BB4-5EC0-8638-FA94-539FCA73378E}"/>
          </ac:inkMkLst>
        </pc:inkChg>
        <pc:inkChg chg="add del">
          <ac:chgData name="Aniket Chhabra" userId="598e0514-bef3-4e71-b6aa-f2edd6441cff" providerId="ADAL" clId="{FFB5BFD2-246A-034F-B635-DE62B5FCF3A6}" dt="2023-05-27T07:31:51.779" v="17" actId="478"/>
          <ac:inkMkLst>
            <pc:docMk/>
            <pc:sldMk cId="1370836176" sldId="285"/>
            <ac:inkMk id="148" creationId="{92A8CA67-419B-BBC6-50EA-364125A862FA}"/>
          </ac:inkMkLst>
        </pc:inkChg>
        <pc:inkChg chg="add del">
          <ac:chgData name="Aniket Chhabra" userId="598e0514-bef3-4e71-b6aa-f2edd6441cff" providerId="ADAL" clId="{FFB5BFD2-246A-034F-B635-DE62B5FCF3A6}" dt="2023-05-27T07:31:51.779" v="17" actId="478"/>
          <ac:inkMkLst>
            <pc:docMk/>
            <pc:sldMk cId="1370836176" sldId="285"/>
            <ac:inkMk id="149" creationId="{1418A17A-1844-52DD-2589-FA537603DEDB}"/>
          </ac:inkMkLst>
        </pc:inkChg>
        <pc:inkChg chg="add del">
          <ac:chgData name="Aniket Chhabra" userId="598e0514-bef3-4e71-b6aa-f2edd6441cff" providerId="ADAL" clId="{FFB5BFD2-246A-034F-B635-DE62B5FCF3A6}" dt="2023-05-27T07:31:51.779" v="17" actId="478"/>
          <ac:inkMkLst>
            <pc:docMk/>
            <pc:sldMk cId="1370836176" sldId="285"/>
            <ac:inkMk id="180" creationId="{C06E726E-00BE-61F2-40C3-C68DD1271598}"/>
          </ac:inkMkLst>
        </pc:inkChg>
        <pc:inkChg chg="add del">
          <ac:chgData name="Aniket Chhabra" userId="598e0514-bef3-4e71-b6aa-f2edd6441cff" providerId="ADAL" clId="{FFB5BFD2-246A-034F-B635-DE62B5FCF3A6}" dt="2023-05-27T07:31:51.779" v="17" actId="478"/>
          <ac:inkMkLst>
            <pc:docMk/>
            <pc:sldMk cId="1370836176" sldId="285"/>
            <ac:inkMk id="202" creationId="{106B4262-166A-8653-CD6A-81CC54F2DE46}"/>
          </ac:inkMkLst>
        </pc:inkChg>
        <pc:inkChg chg="add del">
          <ac:chgData name="Aniket Chhabra" userId="598e0514-bef3-4e71-b6aa-f2edd6441cff" providerId="ADAL" clId="{FFB5BFD2-246A-034F-B635-DE62B5FCF3A6}" dt="2023-05-27T07:31:51.779" v="17" actId="478"/>
          <ac:inkMkLst>
            <pc:docMk/>
            <pc:sldMk cId="1370836176" sldId="285"/>
            <ac:inkMk id="204" creationId="{1CDCA895-734B-3DAE-6538-ECA85AE750F0}"/>
          </ac:inkMkLst>
        </pc:inkChg>
        <pc:inkChg chg="add del">
          <ac:chgData name="Aniket Chhabra" userId="598e0514-bef3-4e71-b6aa-f2edd6441cff" providerId="ADAL" clId="{FFB5BFD2-246A-034F-B635-DE62B5FCF3A6}" dt="2023-05-27T07:31:51.779" v="17" actId="478"/>
          <ac:inkMkLst>
            <pc:docMk/>
            <pc:sldMk cId="1370836176" sldId="285"/>
            <ac:inkMk id="205" creationId="{30392724-1CA5-C7B9-52B5-DD3CCB979C49}"/>
          </ac:inkMkLst>
        </pc:inkChg>
      </pc:sldChg>
      <pc:sldChg chg="addSp delSp modSp mod">
        <pc:chgData name="Aniket Chhabra" userId="598e0514-bef3-4e71-b6aa-f2edd6441cff" providerId="ADAL" clId="{FFB5BFD2-246A-034F-B635-DE62B5FCF3A6}" dt="2023-06-03T15:56:54.844" v="1549" actId="9405"/>
        <pc:sldMkLst>
          <pc:docMk/>
          <pc:sldMk cId="2691590533" sldId="286"/>
        </pc:sldMkLst>
        <pc:grpChg chg="mod">
          <ac:chgData name="Aniket Chhabra" userId="598e0514-bef3-4e71-b6aa-f2edd6441cff" providerId="ADAL" clId="{FFB5BFD2-246A-034F-B635-DE62B5FCF3A6}" dt="2023-05-27T12:27:50.822" v="1037"/>
          <ac:grpSpMkLst>
            <pc:docMk/>
            <pc:sldMk cId="2691590533" sldId="286"/>
            <ac:grpSpMk id="7" creationId="{177811B0-6D5A-B666-CF32-DE74F1A270AB}"/>
          </ac:grpSpMkLst>
        </pc:grpChg>
        <pc:grpChg chg="mod">
          <ac:chgData name="Aniket Chhabra" userId="598e0514-bef3-4e71-b6aa-f2edd6441cff" providerId="ADAL" clId="{FFB5BFD2-246A-034F-B635-DE62B5FCF3A6}" dt="2023-05-27T12:27:52.141" v="1040"/>
          <ac:grpSpMkLst>
            <pc:docMk/>
            <pc:sldMk cId="2691590533" sldId="286"/>
            <ac:grpSpMk id="10" creationId="{37BC279D-B0B8-8DF7-423C-5EE59FC02574}"/>
          </ac:grpSpMkLst>
        </pc:grpChg>
        <pc:grpChg chg="mod">
          <ac:chgData name="Aniket Chhabra" userId="598e0514-bef3-4e71-b6aa-f2edd6441cff" providerId="ADAL" clId="{FFB5BFD2-246A-034F-B635-DE62B5FCF3A6}" dt="2023-05-27T12:28:00.885" v="1050"/>
          <ac:grpSpMkLst>
            <pc:docMk/>
            <pc:sldMk cId="2691590533" sldId="286"/>
            <ac:grpSpMk id="22" creationId="{C06AC0C6-E3B7-FF4B-A8B7-13D9ABEBB5F3}"/>
          </ac:grpSpMkLst>
        </pc:grpChg>
        <pc:grpChg chg="del">
          <ac:chgData name="Aniket Chhabra" userId="598e0514-bef3-4e71-b6aa-f2edd6441cff" providerId="ADAL" clId="{FFB5BFD2-246A-034F-B635-DE62B5FCF3A6}" dt="2023-05-27T07:32:10.829" v="20" actId="478"/>
          <ac:grpSpMkLst>
            <pc:docMk/>
            <pc:sldMk cId="2691590533" sldId="286"/>
            <ac:grpSpMk id="28" creationId="{D0E441CF-09C2-CF23-B73C-5A44B31BC514}"/>
          </ac:grpSpMkLst>
        </pc:grpChg>
        <pc:grpChg chg="del">
          <ac:chgData name="Aniket Chhabra" userId="598e0514-bef3-4e71-b6aa-f2edd6441cff" providerId="ADAL" clId="{FFB5BFD2-246A-034F-B635-DE62B5FCF3A6}" dt="2023-05-27T07:32:10.829" v="20" actId="478"/>
          <ac:grpSpMkLst>
            <pc:docMk/>
            <pc:sldMk cId="2691590533" sldId="286"/>
            <ac:grpSpMk id="35" creationId="{6FC762A7-2ECC-51E2-3795-4BDE673876EC}"/>
          </ac:grpSpMkLst>
        </pc:grpChg>
        <pc:grpChg chg="del">
          <ac:chgData name="Aniket Chhabra" userId="598e0514-bef3-4e71-b6aa-f2edd6441cff" providerId="ADAL" clId="{FFB5BFD2-246A-034F-B635-DE62B5FCF3A6}" dt="2023-05-27T07:32:10.829" v="20" actId="478"/>
          <ac:grpSpMkLst>
            <pc:docMk/>
            <pc:sldMk cId="2691590533" sldId="286"/>
            <ac:grpSpMk id="63" creationId="{3E42F8D7-E70C-A524-76D3-7CF3478604A6}"/>
          </ac:grpSpMkLst>
        </pc:grpChg>
        <pc:grpChg chg="del">
          <ac:chgData name="Aniket Chhabra" userId="598e0514-bef3-4e71-b6aa-f2edd6441cff" providerId="ADAL" clId="{FFB5BFD2-246A-034F-B635-DE62B5FCF3A6}" dt="2023-05-27T07:32:06.363" v="19" actId="478"/>
          <ac:grpSpMkLst>
            <pc:docMk/>
            <pc:sldMk cId="2691590533" sldId="286"/>
            <ac:grpSpMk id="112" creationId="{5D4837F9-2811-10F4-A778-2149521FCA32}"/>
          </ac:grpSpMkLst>
        </pc:grpChg>
        <pc:grpChg chg="del">
          <ac:chgData name="Aniket Chhabra" userId="598e0514-bef3-4e71-b6aa-f2edd6441cff" providerId="ADAL" clId="{FFB5BFD2-246A-034F-B635-DE62B5FCF3A6}" dt="2023-05-27T07:32:06.363" v="19" actId="478"/>
          <ac:grpSpMkLst>
            <pc:docMk/>
            <pc:sldMk cId="2691590533" sldId="286"/>
            <ac:grpSpMk id="128" creationId="{E30C90A6-41D3-37F2-7C2D-CA6A065FCA9B}"/>
          </ac:grpSpMkLst>
        </pc:grpChg>
        <pc:grpChg chg="del">
          <ac:chgData name="Aniket Chhabra" userId="598e0514-bef3-4e71-b6aa-f2edd6441cff" providerId="ADAL" clId="{FFB5BFD2-246A-034F-B635-DE62B5FCF3A6}" dt="2023-05-27T07:32:06.363" v="19" actId="478"/>
          <ac:grpSpMkLst>
            <pc:docMk/>
            <pc:sldMk cId="2691590533" sldId="286"/>
            <ac:grpSpMk id="154" creationId="{6AED3BB5-7E56-900E-F6F1-87B0C58AB542}"/>
          </ac:grpSpMkLst>
        </pc:grpChg>
        <pc:grpChg chg="del">
          <ac:chgData name="Aniket Chhabra" userId="598e0514-bef3-4e71-b6aa-f2edd6441cff" providerId="ADAL" clId="{FFB5BFD2-246A-034F-B635-DE62B5FCF3A6}" dt="2023-05-27T07:32:10.829" v="20" actId="478"/>
          <ac:grpSpMkLst>
            <pc:docMk/>
            <pc:sldMk cId="2691590533" sldId="286"/>
            <ac:grpSpMk id="162" creationId="{E9F0DC67-A570-4A69-C7FF-8D9C132525E7}"/>
          </ac:grpSpMkLst>
        </pc:grpChg>
        <pc:grpChg chg="del">
          <ac:chgData name="Aniket Chhabra" userId="598e0514-bef3-4e71-b6aa-f2edd6441cff" providerId="ADAL" clId="{FFB5BFD2-246A-034F-B635-DE62B5FCF3A6}" dt="2023-05-27T07:32:10.829" v="20" actId="478"/>
          <ac:grpSpMkLst>
            <pc:docMk/>
            <pc:sldMk cId="2691590533" sldId="286"/>
            <ac:grpSpMk id="176" creationId="{F788A0C0-82A5-585B-71D8-42BA34A55B4A}"/>
          </ac:grpSpMkLst>
        </pc:grpChg>
        <pc:grpChg chg="del">
          <ac:chgData name="Aniket Chhabra" userId="598e0514-bef3-4e71-b6aa-f2edd6441cff" providerId="ADAL" clId="{FFB5BFD2-246A-034F-B635-DE62B5FCF3A6}" dt="2023-05-27T07:32:10.829" v="20" actId="478"/>
          <ac:grpSpMkLst>
            <pc:docMk/>
            <pc:sldMk cId="2691590533" sldId="286"/>
            <ac:grpSpMk id="183" creationId="{A76CA22E-A3C6-1299-360F-27E36A4DD958}"/>
          </ac:grpSpMkLst>
        </pc:grpChg>
        <pc:inkChg chg="add mod">
          <ac:chgData name="Aniket Chhabra" userId="598e0514-bef3-4e71-b6aa-f2edd6441cff" providerId="ADAL" clId="{FFB5BFD2-246A-034F-B635-DE62B5FCF3A6}" dt="2023-05-27T12:27:50.822" v="1037"/>
          <ac:inkMkLst>
            <pc:docMk/>
            <pc:sldMk cId="2691590533" sldId="286"/>
            <ac:inkMk id="3" creationId="{0505A6A8-7FB8-B8DB-5E46-4FF108B7052E}"/>
          </ac:inkMkLst>
        </pc:inkChg>
        <pc:inkChg chg="del">
          <ac:chgData name="Aniket Chhabra" userId="598e0514-bef3-4e71-b6aa-f2edd6441cff" providerId="ADAL" clId="{FFB5BFD2-246A-034F-B635-DE62B5FCF3A6}" dt="2023-05-27T07:32:06.363" v="19" actId="478"/>
          <ac:inkMkLst>
            <pc:docMk/>
            <pc:sldMk cId="2691590533" sldId="286"/>
            <ac:inkMk id="3" creationId="{A97071F9-B3EA-5091-E7E7-0F845D1ED658}"/>
          </ac:inkMkLst>
        </pc:inkChg>
        <pc:inkChg chg="add">
          <ac:chgData name="Aniket Chhabra" userId="598e0514-bef3-4e71-b6aa-f2edd6441cff" providerId="ADAL" clId="{FFB5BFD2-246A-034F-B635-DE62B5FCF3A6}" dt="2023-05-27T07:51:02.750" v="259" actId="9405"/>
          <ac:inkMkLst>
            <pc:docMk/>
            <pc:sldMk cId="2691590533" sldId="286"/>
            <ac:inkMk id="4" creationId="{AC523817-A9EF-04D6-CA04-3FAAF2B80F7E}"/>
          </ac:inkMkLst>
        </pc:inkChg>
        <pc:inkChg chg="add mod">
          <ac:chgData name="Aniket Chhabra" userId="598e0514-bef3-4e71-b6aa-f2edd6441cff" providerId="ADAL" clId="{FFB5BFD2-246A-034F-B635-DE62B5FCF3A6}" dt="2023-05-27T12:27:50.822" v="1037"/>
          <ac:inkMkLst>
            <pc:docMk/>
            <pc:sldMk cId="2691590533" sldId="286"/>
            <ac:inkMk id="5" creationId="{DC0814A0-94EC-E7EA-85ED-F2E9668CF9A5}"/>
          </ac:inkMkLst>
        </pc:inkChg>
        <pc:inkChg chg="add mod">
          <ac:chgData name="Aniket Chhabra" userId="598e0514-bef3-4e71-b6aa-f2edd6441cff" providerId="ADAL" clId="{FFB5BFD2-246A-034F-B635-DE62B5FCF3A6}" dt="2023-05-27T12:27:52.141" v="1040"/>
          <ac:inkMkLst>
            <pc:docMk/>
            <pc:sldMk cId="2691590533" sldId="286"/>
            <ac:inkMk id="8" creationId="{1EB16F7D-64BF-ADB8-27F3-DDB9090D7098}"/>
          </ac:inkMkLst>
        </pc:inkChg>
        <pc:inkChg chg="add mod">
          <ac:chgData name="Aniket Chhabra" userId="598e0514-bef3-4e71-b6aa-f2edd6441cff" providerId="ADAL" clId="{FFB5BFD2-246A-034F-B635-DE62B5FCF3A6}" dt="2023-05-27T12:27:52.141" v="1040"/>
          <ac:inkMkLst>
            <pc:docMk/>
            <pc:sldMk cId="2691590533" sldId="286"/>
            <ac:inkMk id="9" creationId="{D8D1BEF3-D31F-1589-E1A0-A5D52AA800D2}"/>
          </ac:inkMkLst>
        </pc:inkChg>
        <pc:inkChg chg="add">
          <ac:chgData name="Aniket Chhabra" userId="598e0514-bef3-4e71-b6aa-f2edd6441cff" providerId="ADAL" clId="{FFB5BFD2-246A-034F-B635-DE62B5FCF3A6}" dt="2023-05-27T12:27:53.378" v="1041" actId="9405"/>
          <ac:inkMkLst>
            <pc:docMk/>
            <pc:sldMk cId="2691590533" sldId="286"/>
            <ac:inkMk id="11" creationId="{C778F83D-2A68-AD63-1807-F82FF83C3E98}"/>
          </ac:inkMkLst>
        </pc:inkChg>
        <pc:inkChg chg="add">
          <ac:chgData name="Aniket Chhabra" userId="598e0514-bef3-4e71-b6aa-f2edd6441cff" providerId="ADAL" clId="{FFB5BFD2-246A-034F-B635-DE62B5FCF3A6}" dt="2023-05-27T12:27:53.828" v="1042" actId="9405"/>
          <ac:inkMkLst>
            <pc:docMk/>
            <pc:sldMk cId="2691590533" sldId="286"/>
            <ac:inkMk id="12" creationId="{F48B347B-AE2F-39B7-666F-C80CD4C3B0BC}"/>
          </ac:inkMkLst>
        </pc:inkChg>
        <pc:inkChg chg="add">
          <ac:chgData name="Aniket Chhabra" userId="598e0514-bef3-4e71-b6aa-f2edd6441cff" providerId="ADAL" clId="{FFB5BFD2-246A-034F-B635-DE62B5FCF3A6}" dt="2023-05-27T12:27:54.795" v="1043" actId="9405"/>
          <ac:inkMkLst>
            <pc:docMk/>
            <pc:sldMk cId="2691590533" sldId="286"/>
            <ac:inkMk id="13" creationId="{88A61E97-0A19-DCBF-52D6-A81A5072728C}"/>
          </ac:inkMkLst>
        </pc:inkChg>
        <pc:inkChg chg="add">
          <ac:chgData name="Aniket Chhabra" userId="598e0514-bef3-4e71-b6aa-f2edd6441cff" providerId="ADAL" clId="{FFB5BFD2-246A-034F-B635-DE62B5FCF3A6}" dt="2023-05-27T12:27:55.075" v="1044" actId="9405"/>
          <ac:inkMkLst>
            <pc:docMk/>
            <pc:sldMk cId="2691590533" sldId="286"/>
            <ac:inkMk id="14" creationId="{3B0134B5-21F7-BE39-F774-57ECA77BB168}"/>
          </ac:inkMkLst>
        </pc:inkChg>
        <pc:inkChg chg="add">
          <ac:chgData name="Aniket Chhabra" userId="598e0514-bef3-4e71-b6aa-f2edd6441cff" providerId="ADAL" clId="{FFB5BFD2-246A-034F-B635-DE62B5FCF3A6}" dt="2023-05-27T12:27:55.362" v="1045" actId="9405"/>
          <ac:inkMkLst>
            <pc:docMk/>
            <pc:sldMk cId="2691590533" sldId="286"/>
            <ac:inkMk id="16" creationId="{5E1CCA0F-E3C0-757C-A7D7-F5A7232C5C66}"/>
          </ac:inkMkLst>
        </pc:inkChg>
        <pc:inkChg chg="add">
          <ac:chgData name="Aniket Chhabra" userId="598e0514-bef3-4e71-b6aa-f2edd6441cff" providerId="ADAL" clId="{FFB5BFD2-246A-034F-B635-DE62B5FCF3A6}" dt="2023-05-27T12:27:56.227" v="1046" actId="9405"/>
          <ac:inkMkLst>
            <pc:docMk/>
            <pc:sldMk cId="2691590533" sldId="286"/>
            <ac:inkMk id="17" creationId="{EF960BDC-7A85-10B0-C25A-32C43082F8F6}"/>
          </ac:inkMkLst>
        </pc:inkChg>
        <pc:inkChg chg="add">
          <ac:chgData name="Aniket Chhabra" userId="598e0514-bef3-4e71-b6aa-f2edd6441cff" providerId="ADAL" clId="{FFB5BFD2-246A-034F-B635-DE62B5FCF3A6}" dt="2023-05-27T12:27:56.945" v="1047" actId="9405"/>
          <ac:inkMkLst>
            <pc:docMk/>
            <pc:sldMk cId="2691590533" sldId="286"/>
            <ac:inkMk id="18" creationId="{3188988E-660C-3EAC-4512-BE5A7902F0D0}"/>
          </ac:inkMkLst>
        </pc:inkChg>
        <pc:inkChg chg="add mod">
          <ac:chgData name="Aniket Chhabra" userId="598e0514-bef3-4e71-b6aa-f2edd6441cff" providerId="ADAL" clId="{FFB5BFD2-246A-034F-B635-DE62B5FCF3A6}" dt="2023-05-27T12:28:00.885" v="1050"/>
          <ac:inkMkLst>
            <pc:docMk/>
            <pc:sldMk cId="2691590533" sldId="286"/>
            <ac:inkMk id="19" creationId="{536C7495-8273-854A-0F39-7F013058EB8D}"/>
          </ac:inkMkLst>
        </pc:inkChg>
        <pc:inkChg chg="add mod">
          <ac:chgData name="Aniket Chhabra" userId="598e0514-bef3-4e71-b6aa-f2edd6441cff" providerId="ADAL" clId="{FFB5BFD2-246A-034F-B635-DE62B5FCF3A6}" dt="2023-05-27T12:28:00.885" v="1050"/>
          <ac:inkMkLst>
            <pc:docMk/>
            <pc:sldMk cId="2691590533" sldId="286"/>
            <ac:inkMk id="20" creationId="{D4C65DB5-F8EF-7325-03E7-2C89E2BA195B}"/>
          </ac:inkMkLst>
        </pc:inkChg>
        <pc:inkChg chg="add">
          <ac:chgData name="Aniket Chhabra" userId="598e0514-bef3-4e71-b6aa-f2edd6441cff" providerId="ADAL" clId="{FFB5BFD2-246A-034F-B635-DE62B5FCF3A6}" dt="2023-06-03T15:56:39.412" v="1539" actId="9405"/>
          <ac:inkMkLst>
            <pc:docMk/>
            <pc:sldMk cId="2691590533" sldId="286"/>
            <ac:inkMk id="24" creationId="{00693611-26F0-4201-BCBD-9640BCF61590}"/>
          </ac:inkMkLst>
        </pc:inkChg>
        <pc:inkChg chg="add">
          <ac:chgData name="Aniket Chhabra" userId="598e0514-bef3-4e71-b6aa-f2edd6441cff" providerId="ADAL" clId="{FFB5BFD2-246A-034F-B635-DE62B5FCF3A6}" dt="2023-06-03T15:56:39.875" v="1540" actId="9405"/>
          <ac:inkMkLst>
            <pc:docMk/>
            <pc:sldMk cId="2691590533" sldId="286"/>
            <ac:inkMk id="25" creationId="{3E5A8A57-83D7-0472-E1CE-BDE4A2645424}"/>
          </ac:inkMkLst>
        </pc:inkChg>
        <pc:inkChg chg="add">
          <ac:chgData name="Aniket Chhabra" userId="598e0514-bef3-4e71-b6aa-f2edd6441cff" providerId="ADAL" clId="{FFB5BFD2-246A-034F-B635-DE62B5FCF3A6}" dt="2023-06-03T15:56:40.336" v="1541" actId="9405"/>
          <ac:inkMkLst>
            <pc:docMk/>
            <pc:sldMk cId="2691590533" sldId="286"/>
            <ac:inkMk id="26" creationId="{1F704B22-0FFF-0B1B-B23E-2041376972F1}"/>
          </ac:inkMkLst>
        </pc:inkChg>
        <pc:inkChg chg="add">
          <ac:chgData name="Aniket Chhabra" userId="598e0514-bef3-4e71-b6aa-f2edd6441cff" providerId="ADAL" clId="{FFB5BFD2-246A-034F-B635-DE62B5FCF3A6}" dt="2023-06-03T15:56:40.607" v="1542" actId="9405"/>
          <ac:inkMkLst>
            <pc:docMk/>
            <pc:sldMk cId="2691590533" sldId="286"/>
            <ac:inkMk id="27" creationId="{8016144A-624B-4D9C-25D6-0E481CD6C4CF}"/>
          </ac:inkMkLst>
        </pc:inkChg>
        <pc:inkChg chg="add">
          <ac:chgData name="Aniket Chhabra" userId="598e0514-bef3-4e71-b6aa-f2edd6441cff" providerId="ADAL" clId="{FFB5BFD2-246A-034F-B635-DE62B5FCF3A6}" dt="2023-06-03T15:56:40.888" v="1543" actId="9405"/>
          <ac:inkMkLst>
            <pc:docMk/>
            <pc:sldMk cId="2691590533" sldId="286"/>
            <ac:inkMk id="28" creationId="{FF0F1754-79A7-FFBA-4D2B-3E0510AE6F2B}"/>
          </ac:inkMkLst>
        </pc:inkChg>
        <pc:inkChg chg="add">
          <ac:chgData name="Aniket Chhabra" userId="598e0514-bef3-4e71-b6aa-f2edd6441cff" providerId="ADAL" clId="{FFB5BFD2-246A-034F-B635-DE62B5FCF3A6}" dt="2023-06-03T15:56:43.361" v="1544" actId="9405"/>
          <ac:inkMkLst>
            <pc:docMk/>
            <pc:sldMk cId="2691590533" sldId="286"/>
            <ac:inkMk id="29" creationId="{ED1E88ED-DE76-D856-F068-91A46A156B20}"/>
          </ac:inkMkLst>
        </pc:inkChg>
        <pc:inkChg chg="add">
          <ac:chgData name="Aniket Chhabra" userId="598e0514-bef3-4e71-b6aa-f2edd6441cff" providerId="ADAL" clId="{FFB5BFD2-246A-034F-B635-DE62B5FCF3A6}" dt="2023-06-03T15:56:45.128" v="1545" actId="9405"/>
          <ac:inkMkLst>
            <pc:docMk/>
            <pc:sldMk cId="2691590533" sldId="286"/>
            <ac:inkMk id="30" creationId="{CFF4EF22-BCBE-1E91-433C-6A0B483E749B}"/>
          </ac:inkMkLst>
        </pc:inkChg>
        <pc:inkChg chg="add">
          <ac:chgData name="Aniket Chhabra" userId="598e0514-bef3-4e71-b6aa-f2edd6441cff" providerId="ADAL" clId="{FFB5BFD2-246A-034F-B635-DE62B5FCF3A6}" dt="2023-06-03T15:56:47.952" v="1546" actId="9405"/>
          <ac:inkMkLst>
            <pc:docMk/>
            <pc:sldMk cId="2691590533" sldId="286"/>
            <ac:inkMk id="31" creationId="{F1D3BA38-A69E-FD13-E6C3-7937A3CBB677}"/>
          </ac:inkMkLst>
        </pc:inkChg>
        <pc:inkChg chg="add">
          <ac:chgData name="Aniket Chhabra" userId="598e0514-bef3-4e71-b6aa-f2edd6441cff" providerId="ADAL" clId="{FFB5BFD2-246A-034F-B635-DE62B5FCF3A6}" dt="2023-06-03T15:56:51.682" v="1547" actId="9405"/>
          <ac:inkMkLst>
            <pc:docMk/>
            <pc:sldMk cId="2691590533" sldId="286"/>
            <ac:inkMk id="32" creationId="{46ECC8BF-06C1-5081-3B3C-AD31664054DA}"/>
          </ac:inkMkLst>
        </pc:inkChg>
        <pc:inkChg chg="add">
          <ac:chgData name="Aniket Chhabra" userId="598e0514-bef3-4e71-b6aa-f2edd6441cff" providerId="ADAL" clId="{FFB5BFD2-246A-034F-B635-DE62B5FCF3A6}" dt="2023-06-03T15:56:54.294" v="1548" actId="9405"/>
          <ac:inkMkLst>
            <pc:docMk/>
            <pc:sldMk cId="2691590533" sldId="286"/>
            <ac:inkMk id="33" creationId="{62DA57F9-4667-BECA-320F-8FA8D7F20139}"/>
          </ac:inkMkLst>
        </pc:inkChg>
        <pc:inkChg chg="add">
          <ac:chgData name="Aniket Chhabra" userId="598e0514-bef3-4e71-b6aa-f2edd6441cff" providerId="ADAL" clId="{FFB5BFD2-246A-034F-B635-DE62B5FCF3A6}" dt="2023-06-03T15:56:54.844" v="1549" actId="9405"/>
          <ac:inkMkLst>
            <pc:docMk/>
            <pc:sldMk cId="2691590533" sldId="286"/>
            <ac:inkMk id="34" creationId="{C5CF2256-22BB-AE18-BDB9-77AD6B28783F}"/>
          </ac:inkMkLst>
        </pc:inkChg>
        <pc:inkChg chg="del">
          <ac:chgData name="Aniket Chhabra" userId="598e0514-bef3-4e71-b6aa-f2edd6441cff" providerId="ADAL" clId="{FFB5BFD2-246A-034F-B635-DE62B5FCF3A6}" dt="2023-05-27T07:32:10.829" v="20" actId="478"/>
          <ac:inkMkLst>
            <pc:docMk/>
            <pc:sldMk cId="2691590533" sldId="286"/>
            <ac:inkMk id="45" creationId="{163D65EC-8036-AB4E-F5FB-61843D2796AA}"/>
          </ac:inkMkLst>
        </pc:inkChg>
        <pc:inkChg chg="del">
          <ac:chgData name="Aniket Chhabra" userId="598e0514-bef3-4e71-b6aa-f2edd6441cff" providerId="ADAL" clId="{FFB5BFD2-246A-034F-B635-DE62B5FCF3A6}" dt="2023-05-27T07:32:06.363" v="19" actId="478"/>
          <ac:inkMkLst>
            <pc:docMk/>
            <pc:sldMk cId="2691590533" sldId="286"/>
            <ac:inkMk id="55" creationId="{F2C819A5-1B86-760A-9860-7A1C41FE0D7E}"/>
          </ac:inkMkLst>
        </pc:inkChg>
        <pc:inkChg chg="del">
          <ac:chgData name="Aniket Chhabra" userId="598e0514-bef3-4e71-b6aa-f2edd6441cff" providerId="ADAL" clId="{FFB5BFD2-246A-034F-B635-DE62B5FCF3A6}" dt="2023-05-27T07:32:06.363" v="19" actId="478"/>
          <ac:inkMkLst>
            <pc:docMk/>
            <pc:sldMk cId="2691590533" sldId="286"/>
            <ac:inkMk id="56" creationId="{EA393989-081C-9212-B6E4-F57195243043}"/>
          </ac:inkMkLst>
        </pc:inkChg>
        <pc:inkChg chg="del">
          <ac:chgData name="Aniket Chhabra" userId="598e0514-bef3-4e71-b6aa-f2edd6441cff" providerId="ADAL" clId="{FFB5BFD2-246A-034F-B635-DE62B5FCF3A6}" dt="2023-05-27T07:32:06.363" v="19" actId="478"/>
          <ac:inkMkLst>
            <pc:docMk/>
            <pc:sldMk cId="2691590533" sldId="286"/>
            <ac:inkMk id="58" creationId="{2D34019C-B798-5C12-4860-D84E3BF7AEDA}"/>
          </ac:inkMkLst>
        </pc:inkChg>
        <pc:inkChg chg="del">
          <ac:chgData name="Aniket Chhabra" userId="598e0514-bef3-4e71-b6aa-f2edd6441cff" providerId="ADAL" clId="{FFB5BFD2-246A-034F-B635-DE62B5FCF3A6}" dt="2023-05-27T07:32:06.363" v="19" actId="478"/>
          <ac:inkMkLst>
            <pc:docMk/>
            <pc:sldMk cId="2691590533" sldId="286"/>
            <ac:inkMk id="92" creationId="{ACCEB843-BD5E-C6E7-D2A6-D628E3CC1B62}"/>
          </ac:inkMkLst>
        </pc:inkChg>
        <pc:inkChg chg="del">
          <ac:chgData name="Aniket Chhabra" userId="598e0514-bef3-4e71-b6aa-f2edd6441cff" providerId="ADAL" clId="{FFB5BFD2-246A-034F-B635-DE62B5FCF3A6}" dt="2023-05-27T07:32:06.363" v="19" actId="478"/>
          <ac:inkMkLst>
            <pc:docMk/>
            <pc:sldMk cId="2691590533" sldId="286"/>
            <ac:inkMk id="94" creationId="{C9B1B891-D8E8-C7E7-C538-8D3D3CF4DEE7}"/>
          </ac:inkMkLst>
        </pc:inkChg>
        <pc:inkChg chg="del">
          <ac:chgData name="Aniket Chhabra" userId="598e0514-bef3-4e71-b6aa-f2edd6441cff" providerId="ADAL" clId="{FFB5BFD2-246A-034F-B635-DE62B5FCF3A6}" dt="2023-05-27T07:32:06.363" v="19" actId="478"/>
          <ac:inkMkLst>
            <pc:docMk/>
            <pc:sldMk cId="2691590533" sldId="286"/>
            <ac:inkMk id="95" creationId="{B5A953B3-7278-27A8-D9C7-4134765749DB}"/>
          </ac:inkMkLst>
        </pc:inkChg>
        <pc:inkChg chg="del">
          <ac:chgData name="Aniket Chhabra" userId="598e0514-bef3-4e71-b6aa-f2edd6441cff" providerId="ADAL" clId="{FFB5BFD2-246A-034F-B635-DE62B5FCF3A6}" dt="2023-05-27T07:32:06.363" v="19" actId="478"/>
          <ac:inkMkLst>
            <pc:docMk/>
            <pc:sldMk cId="2691590533" sldId="286"/>
            <ac:inkMk id="96" creationId="{5D631112-5129-1772-D17B-4A4EA1F8FD47}"/>
          </ac:inkMkLst>
        </pc:inkChg>
        <pc:inkChg chg="del">
          <ac:chgData name="Aniket Chhabra" userId="598e0514-bef3-4e71-b6aa-f2edd6441cff" providerId="ADAL" clId="{FFB5BFD2-246A-034F-B635-DE62B5FCF3A6}" dt="2023-05-27T07:32:06.363" v="19" actId="478"/>
          <ac:inkMkLst>
            <pc:docMk/>
            <pc:sldMk cId="2691590533" sldId="286"/>
            <ac:inkMk id="124" creationId="{49BBA496-CED6-A273-0209-847636971F60}"/>
          </ac:inkMkLst>
        </pc:inkChg>
        <pc:inkChg chg="del">
          <ac:chgData name="Aniket Chhabra" userId="598e0514-bef3-4e71-b6aa-f2edd6441cff" providerId="ADAL" clId="{FFB5BFD2-246A-034F-B635-DE62B5FCF3A6}" dt="2023-05-27T07:32:06.363" v="19" actId="478"/>
          <ac:inkMkLst>
            <pc:docMk/>
            <pc:sldMk cId="2691590533" sldId="286"/>
            <ac:inkMk id="127" creationId="{265075F4-E095-0855-6A2E-C02CB265D96F}"/>
          </ac:inkMkLst>
        </pc:inkChg>
        <pc:inkChg chg="del">
          <ac:chgData name="Aniket Chhabra" userId="598e0514-bef3-4e71-b6aa-f2edd6441cff" providerId="ADAL" clId="{FFB5BFD2-246A-034F-B635-DE62B5FCF3A6}" dt="2023-05-27T07:32:06.363" v="19" actId="478"/>
          <ac:inkMkLst>
            <pc:docMk/>
            <pc:sldMk cId="2691590533" sldId="286"/>
            <ac:inkMk id="131" creationId="{05BD58BB-9C8B-F495-8278-3408FE111394}"/>
          </ac:inkMkLst>
        </pc:inkChg>
      </pc:sldChg>
      <pc:sldChg chg="addSp delSp modSp mod">
        <pc:chgData name="Aniket Chhabra" userId="598e0514-bef3-4e71-b6aa-f2edd6441cff" providerId="ADAL" clId="{FFB5BFD2-246A-034F-B635-DE62B5FCF3A6}" dt="2023-06-17T12:42:05.347" v="1604" actId="478"/>
        <pc:sldMkLst>
          <pc:docMk/>
          <pc:sldMk cId="3090271849" sldId="287"/>
        </pc:sldMkLst>
        <pc:spChg chg="add del">
          <ac:chgData name="Aniket Chhabra" userId="598e0514-bef3-4e71-b6aa-f2edd6441cff" providerId="ADAL" clId="{FFB5BFD2-246A-034F-B635-DE62B5FCF3A6}" dt="2023-05-27T07:32:26.640" v="23" actId="478"/>
          <ac:spMkLst>
            <pc:docMk/>
            <pc:sldMk cId="3090271849" sldId="287"/>
            <ac:spMk id="15" creationId="{A04CC799-8FE4-45BE-988F-82D3CBC8AE46}"/>
          </ac:spMkLst>
        </pc:spChg>
        <pc:spChg chg="add del">
          <ac:chgData name="Aniket Chhabra" userId="598e0514-bef3-4e71-b6aa-f2edd6441cff" providerId="ADAL" clId="{FFB5BFD2-246A-034F-B635-DE62B5FCF3A6}" dt="2023-05-27T07:32:23.819" v="22" actId="478"/>
          <ac:spMkLst>
            <pc:docMk/>
            <pc:sldMk cId="3090271849" sldId="287"/>
            <ac:spMk id="19" creationId="{58A59DC6-D3D0-4BB1-93BC-9ECA02D2F6F8}"/>
          </ac:spMkLst>
        </pc:spChg>
        <pc:grpChg chg="del mod">
          <ac:chgData name="Aniket Chhabra" userId="598e0514-bef3-4e71-b6aa-f2edd6441cff" providerId="ADAL" clId="{FFB5BFD2-246A-034F-B635-DE62B5FCF3A6}" dt="2023-06-17T12:41:59.093" v="1601" actId="478"/>
          <ac:grpSpMkLst>
            <pc:docMk/>
            <pc:sldMk cId="3090271849" sldId="287"/>
            <ac:grpSpMk id="22" creationId="{4970D333-DD50-2982-D81E-EB5D1141FF57}"/>
          </ac:grpSpMkLst>
        </pc:grpChg>
        <pc:grpChg chg="del mod">
          <ac:chgData name="Aniket Chhabra" userId="598e0514-bef3-4e71-b6aa-f2edd6441cff" providerId="ADAL" clId="{FFB5BFD2-246A-034F-B635-DE62B5FCF3A6}" dt="2023-05-27T12:51:22.851" v="1261"/>
          <ac:grpSpMkLst>
            <pc:docMk/>
            <pc:sldMk cId="3090271849" sldId="287"/>
            <ac:grpSpMk id="31" creationId="{84BCE313-1BB3-CEE7-0DA9-04829E71B59A}"/>
          </ac:grpSpMkLst>
        </pc:grpChg>
        <pc:grpChg chg="del mod">
          <ac:chgData name="Aniket Chhabra" userId="598e0514-bef3-4e71-b6aa-f2edd6441cff" providerId="ADAL" clId="{FFB5BFD2-246A-034F-B635-DE62B5FCF3A6}" dt="2023-05-27T12:51:22.851" v="1261"/>
          <ac:grpSpMkLst>
            <pc:docMk/>
            <pc:sldMk cId="3090271849" sldId="287"/>
            <ac:grpSpMk id="32" creationId="{970CF0EB-E12B-D0FD-9BB6-15DC8297ECB8}"/>
          </ac:grpSpMkLst>
        </pc:grpChg>
        <pc:grpChg chg="add del">
          <ac:chgData name="Aniket Chhabra" userId="598e0514-bef3-4e71-b6aa-f2edd6441cff" providerId="ADAL" clId="{FFB5BFD2-246A-034F-B635-DE62B5FCF3A6}" dt="2023-05-27T07:32:26.640" v="23" actId="478"/>
          <ac:grpSpMkLst>
            <pc:docMk/>
            <pc:sldMk cId="3090271849" sldId="287"/>
            <ac:grpSpMk id="45" creationId="{E7058C00-62CA-847F-30EC-AC1C530263F8}"/>
          </ac:grpSpMkLst>
        </pc:grpChg>
        <pc:grpChg chg="del mod">
          <ac:chgData name="Aniket Chhabra" userId="598e0514-bef3-4e71-b6aa-f2edd6441cff" providerId="ADAL" clId="{FFB5BFD2-246A-034F-B635-DE62B5FCF3A6}" dt="2023-05-27T12:51:22.851" v="1261"/>
          <ac:grpSpMkLst>
            <pc:docMk/>
            <pc:sldMk cId="3090271849" sldId="287"/>
            <ac:grpSpMk id="46" creationId="{CE9824C2-688A-7C86-7818-8FCDEA32A0D6}"/>
          </ac:grpSpMkLst>
        </pc:grpChg>
        <pc:grpChg chg="del mod">
          <ac:chgData name="Aniket Chhabra" userId="598e0514-bef3-4e71-b6aa-f2edd6441cff" providerId="ADAL" clId="{FFB5BFD2-246A-034F-B635-DE62B5FCF3A6}" dt="2023-06-17T12:42:01.240" v="1602" actId="478"/>
          <ac:grpSpMkLst>
            <pc:docMk/>
            <pc:sldMk cId="3090271849" sldId="287"/>
            <ac:grpSpMk id="47" creationId="{FAF175B1-0A59-6315-2B3E-EC78F2226685}"/>
          </ac:grpSpMkLst>
        </pc:grpChg>
        <pc:grpChg chg="del mod">
          <ac:chgData name="Aniket Chhabra" userId="598e0514-bef3-4e71-b6aa-f2edd6441cff" providerId="ADAL" clId="{FFB5BFD2-246A-034F-B635-DE62B5FCF3A6}" dt="2023-06-17T12:41:59.093" v="1601" actId="478"/>
          <ac:grpSpMkLst>
            <pc:docMk/>
            <pc:sldMk cId="3090271849" sldId="287"/>
            <ac:grpSpMk id="53" creationId="{308C20B7-BAC5-50A5-BB2A-7862E0235A23}"/>
          </ac:grpSpMkLst>
        </pc:grpChg>
        <pc:grpChg chg="del mod">
          <ac:chgData name="Aniket Chhabra" userId="598e0514-bef3-4e71-b6aa-f2edd6441cff" providerId="ADAL" clId="{FFB5BFD2-246A-034F-B635-DE62B5FCF3A6}" dt="2023-06-17T12:41:59.093" v="1601" actId="478"/>
          <ac:grpSpMkLst>
            <pc:docMk/>
            <pc:sldMk cId="3090271849" sldId="287"/>
            <ac:grpSpMk id="60" creationId="{EA8DCD50-8EAB-7B35-CA95-8ED06C6BDD43}"/>
          </ac:grpSpMkLst>
        </pc:grpChg>
        <pc:grpChg chg="add del">
          <ac:chgData name="Aniket Chhabra" userId="598e0514-bef3-4e71-b6aa-f2edd6441cff" providerId="ADAL" clId="{FFB5BFD2-246A-034F-B635-DE62B5FCF3A6}" dt="2023-05-27T07:32:26.640" v="23" actId="478"/>
          <ac:grpSpMkLst>
            <pc:docMk/>
            <pc:sldMk cId="3090271849" sldId="287"/>
            <ac:grpSpMk id="68" creationId="{120F0FE8-BB29-4256-33EF-8D50B241C913}"/>
          </ac:grpSpMkLst>
        </pc:grpChg>
        <pc:grpChg chg="add del">
          <ac:chgData name="Aniket Chhabra" userId="598e0514-bef3-4e71-b6aa-f2edd6441cff" providerId="ADAL" clId="{FFB5BFD2-246A-034F-B635-DE62B5FCF3A6}" dt="2023-05-27T07:32:26.640" v="23" actId="478"/>
          <ac:grpSpMkLst>
            <pc:docMk/>
            <pc:sldMk cId="3090271849" sldId="287"/>
            <ac:grpSpMk id="95" creationId="{FAFE21F2-D361-6508-8000-2C116D431111}"/>
          </ac:grpSpMkLst>
        </pc:grpChg>
        <pc:grpChg chg="add del">
          <ac:chgData name="Aniket Chhabra" userId="598e0514-bef3-4e71-b6aa-f2edd6441cff" providerId="ADAL" clId="{FFB5BFD2-246A-034F-B635-DE62B5FCF3A6}" dt="2023-05-27T07:32:26.640" v="23" actId="478"/>
          <ac:grpSpMkLst>
            <pc:docMk/>
            <pc:sldMk cId="3090271849" sldId="287"/>
            <ac:grpSpMk id="97" creationId="{A01E2133-DC79-8A85-5BD4-31305DFA10E9}"/>
          </ac:grpSpMkLst>
        </pc:grpChg>
        <pc:grpChg chg="del">
          <ac:chgData name="Aniket Chhabra" userId="598e0514-bef3-4e71-b6aa-f2edd6441cff" providerId="ADAL" clId="{FFB5BFD2-246A-034F-B635-DE62B5FCF3A6}" dt="2023-05-27T07:32:31.131" v="25" actId="478"/>
          <ac:grpSpMkLst>
            <pc:docMk/>
            <pc:sldMk cId="3090271849" sldId="287"/>
            <ac:grpSpMk id="122" creationId="{1F3B6B42-C99B-F197-1F28-694929DD894E}"/>
          </ac:grpSpMkLst>
        </pc:grpChg>
        <pc:grpChg chg="add del">
          <ac:chgData name="Aniket Chhabra" userId="598e0514-bef3-4e71-b6aa-f2edd6441cff" providerId="ADAL" clId="{FFB5BFD2-246A-034F-B635-DE62B5FCF3A6}" dt="2023-05-27T07:32:26.640" v="23" actId="478"/>
          <ac:grpSpMkLst>
            <pc:docMk/>
            <pc:sldMk cId="3090271849" sldId="287"/>
            <ac:grpSpMk id="156" creationId="{27E5CB0D-24E7-9687-9D50-E5D7BB1E37BA}"/>
          </ac:grpSpMkLst>
        </pc:grpChg>
        <pc:grpChg chg="add del">
          <ac:chgData name="Aniket Chhabra" userId="598e0514-bef3-4e71-b6aa-f2edd6441cff" providerId="ADAL" clId="{FFB5BFD2-246A-034F-B635-DE62B5FCF3A6}" dt="2023-05-27T07:32:26.640" v="23" actId="478"/>
          <ac:grpSpMkLst>
            <pc:docMk/>
            <pc:sldMk cId="3090271849" sldId="287"/>
            <ac:grpSpMk id="186" creationId="{2A5AAC7D-6D4B-212F-800A-DF7CDCFFB353}"/>
          </ac:grpSpMkLst>
        </pc:grpChg>
        <pc:grpChg chg="add del">
          <ac:chgData name="Aniket Chhabra" userId="598e0514-bef3-4e71-b6aa-f2edd6441cff" providerId="ADAL" clId="{FFB5BFD2-246A-034F-B635-DE62B5FCF3A6}" dt="2023-05-27T07:32:26.640" v="23" actId="478"/>
          <ac:grpSpMkLst>
            <pc:docMk/>
            <pc:sldMk cId="3090271849" sldId="287"/>
            <ac:grpSpMk id="242" creationId="{F5C9D0B1-EEA2-DE60-F856-1B9771AD85D0}"/>
          </ac:grpSpMkLst>
        </pc:grpChg>
        <pc:grpChg chg="add del">
          <ac:chgData name="Aniket Chhabra" userId="598e0514-bef3-4e71-b6aa-f2edd6441cff" providerId="ADAL" clId="{FFB5BFD2-246A-034F-B635-DE62B5FCF3A6}" dt="2023-05-27T07:32:26.640" v="23" actId="478"/>
          <ac:grpSpMkLst>
            <pc:docMk/>
            <pc:sldMk cId="3090271849" sldId="287"/>
            <ac:grpSpMk id="250" creationId="{7A5B6145-0C84-15BD-AEE8-56687D46578E}"/>
          </ac:grpSpMkLst>
        </pc:grpChg>
        <pc:grpChg chg="add del">
          <ac:chgData name="Aniket Chhabra" userId="598e0514-bef3-4e71-b6aa-f2edd6441cff" providerId="ADAL" clId="{FFB5BFD2-246A-034F-B635-DE62B5FCF3A6}" dt="2023-05-27T07:32:26.640" v="23" actId="478"/>
          <ac:grpSpMkLst>
            <pc:docMk/>
            <pc:sldMk cId="3090271849" sldId="287"/>
            <ac:grpSpMk id="254" creationId="{294675D1-42EA-DCAC-116F-8DC1C5B05F68}"/>
          </ac:grpSpMkLst>
        </pc:grpChg>
        <pc:grpChg chg="del mod">
          <ac:chgData name="Aniket Chhabra" userId="598e0514-bef3-4e71-b6aa-f2edd6441cff" providerId="ADAL" clId="{FFB5BFD2-246A-034F-B635-DE62B5FCF3A6}" dt="2023-06-17T12:41:59.093" v="1601" actId="478"/>
          <ac:grpSpMkLst>
            <pc:docMk/>
            <pc:sldMk cId="3090271849" sldId="287"/>
            <ac:grpSpMk id="259" creationId="{B7140355-447C-C5CF-6CFB-385C565FB9EE}"/>
          </ac:grpSpMkLst>
        </pc:grpChg>
        <pc:grpChg chg="del mod">
          <ac:chgData name="Aniket Chhabra" userId="598e0514-bef3-4e71-b6aa-f2edd6441cff" providerId="ADAL" clId="{FFB5BFD2-246A-034F-B635-DE62B5FCF3A6}" dt="2023-06-17T12:41:59.093" v="1601" actId="478"/>
          <ac:grpSpMkLst>
            <pc:docMk/>
            <pc:sldMk cId="3090271849" sldId="287"/>
            <ac:grpSpMk id="265" creationId="{A1EAED69-6DE0-BAC4-94F1-155995E5D51D}"/>
          </ac:grpSpMkLst>
        </pc:grpChg>
        <pc:grpChg chg="del mod">
          <ac:chgData name="Aniket Chhabra" userId="598e0514-bef3-4e71-b6aa-f2edd6441cff" providerId="ADAL" clId="{FFB5BFD2-246A-034F-B635-DE62B5FCF3A6}" dt="2023-06-17T12:41:59.093" v="1601" actId="478"/>
          <ac:grpSpMkLst>
            <pc:docMk/>
            <pc:sldMk cId="3090271849" sldId="287"/>
            <ac:grpSpMk id="266" creationId="{9206F51E-15C8-8EE4-ECF0-537DA5E31711}"/>
          </ac:grpSpMkLst>
        </pc:grpChg>
        <pc:grpChg chg="del mod">
          <ac:chgData name="Aniket Chhabra" userId="598e0514-bef3-4e71-b6aa-f2edd6441cff" providerId="ADAL" clId="{FFB5BFD2-246A-034F-B635-DE62B5FCF3A6}" dt="2023-06-17T12:41:59.093" v="1601" actId="478"/>
          <ac:grpSpMkLst>
            <pc:docMk/>
            <pc:sldMk cId="3090271849" sldId="287"/>
            <ac:grpSpMk id="272" creationId="{64E51F87-E5E9-788F-1E19-C2B4B0844778}"/>
          </ac:grpSpMkLst>
        </pc:grpChg>
        <pc:grpChg chg="del mod">
          <ac:chgData name="Aniket Chhabra" userId="598e0514-bef3-4e71-b6aa-f2edd6441cff" providerId="ADAL" clId="{FFB5BFD2-246A-034F-B635-DE62B5FCF3A6}" dt="2023-06-17T12:41:59.093" v="1601" actId="478"/>
          <ac:grpSpMkLst>
            <pc:docMk/>
            <pc:sldMk cId="3090271849" sldId="287"/>
            <ac:grpSpMk id="273" creationId="{0FE61C5F-ED3A-B458-621A-91073F8F8F0C}"/>
          </ac:grpSpMkLst>
        </pc:grpChg>
        <pc:grpChg chg="del mod">
          <ac:chgData name="Aniket Chhabra" userId="598e0514-bef3-4e71-b6aa-f2edd6441cff" providerId="ADAL" clId="{FFB5BFD2-246A-034F-B635-DE62B5FCF3A6}" dt="2023-06-17T12:41:59.093" v="1601" actId="478"/>
          <ac:grpSpMkLst>
            <pc:docMk/>
            <pc:sldMk cId="3090271849" sldId="287"/>
            <ac:grpSpMk id="290" creationId="{3D70B861-BFC3-3417-9085-DC2F6F7E05BA}"/>
          </ac:grpSpMkLst>
        </pc:grpChg>
        <pc:grpChg chg="del mod">
          <ac:chgData name="Aniket Chhabra" userId="598e0514-bef3-4e71-b6aa-f2edd6441cff" providerId="ADAL" clId="{FFB5BFD2-246A-034F-B635-DE62B5FCF3A6}" dt="2023-06-17T12:41:59.093" v="1601" actId="478"/>
          <ac:grpSpMkLst>
            <pc:docMk/>
            <pc:sldMk cId="3090271849" sldId="287"/>
            <ac:grpSpMk id="291" creationId="{E83390A4-F198-5508-37F0-B211539D7367}"/>
          </ac:grpSpMkLst>
        </pc:grpChg>
        <pc:inkChg chg="add del">
          <ac:chgData name="Aniket Chhabra" userId="598e0514-bef3-4e71-b6aa-f2edd6441cff" providerId="ADAL" clId="{FFB5BFD2-246A-034F-B635-DE62B5FCF3A6}" dt="2023-06-17T12:42:05.347" v="1604" actId="478"/>
          <ac:inkMkLst>
            <pc:docMk/>
            <pc:sldMk cId="3090271849" sldId="287"/>
            <ac:inkMk id="3" creationId="{158359DA-56A0-86C0-2DB3-C0342DED478E}"/>
          </ac:inkMkLst>
        </pc:inkChg>
        <pc:inkChg chg="add del">
          <ac:chgData name="Aniket Chhabra" userId="598e0514-bef3-4e71-b6aa-f2edd6441cff" providerId="ADAL" clId="{FFB5BFD2-246A-034F-B635-DE62B5FCF3A6}" dt="2023-05-27T07:32:26.640" v="23" actId="478"/>
          <ac:inkMkLst>
            <pc:docMk/>
            <pc:sldMk cId="3090271849" sldId="287"/>
            <ac:inkMk id="3" creationId="{FB099F15-5859-41F4-919E-85B46CC4566A}"/>
          </ac:inkMkLst>
        </pc:inkChg>
        <pc:inkChg chg="add del">
          <ac:chgData name="Aniket Chhabra" userId="598e0514-bef3-4e71-b6aa-f2edd6441cff" providerId="ADAL" clId="{FFB5BFD2-246A-034F-B635-DE62B5FCF3A6}" dt="2023-05-27T12:50:05.297" v="1223"/>
          <ac:inkMkLst>
            <pc:docMk/>
            <pc:sldMk cId="3090271849" sldId="287"/>
            <ac:inkMk id="5" creationId="{07DBEEF4-13D8-591F-8EFE-A063BEBBE44C}"/>
          </ac:inkMkLst>
        </pc:inkChg>
        <pc:inkChg chg="add del">
          <ac:chgData name="Aniket Chhabra" userId="598e0514-bef3-4e71-b6aa-f2edd6441cff" providerId="ADAL" clId="{FFB5BFD2-246A-034F-B635-DE62B5FCF3A6}" dt="2023-06-17T12:42:01.240" v="1602" actId="478"/>
          <ac:inkMkLst>
            <pc:docMk/>
            <pc:sldMk cId="3090271849" sldId="287"/>
            <ac:inkMk id="7" creationId="{95FFA113-7D18-43FB-1E3C-F3CF217E9C4F}"/>
          </ac:inkMkLst>
        </pc:inkChg>
        <pc:inkChg chg="add del">
          <ac:chgData name="Aniket Chhabra" userId="598e0514-bef3-4e71-b6aa-f2edd6441cff" providerId="ADAL" clId="{FFB5BFD2-246A-034F-B635-DE62B5FCF3A6}" dt="2023-05-27T12:50:15.188" v="1226" actId="9405"/>
          <ac:inkMkLst>
            <pc:docMk/>
            <pc:sldMk cId="3090271849" sldId="287"/>
            <ac:inkMk id="8" creationId="{8E05C784-67A3-0E80-25F6-41C7C4D4E400}"/>
          </ac:inkMkLst>
        </pc:inkChg>
        <pc:inkChg chg="add del">
          <ac:chgData name="Aniket Chhabra" userId="598e0514-bef3-4e71-b6aa-f2edd6441cff" providerId="ADAL" clId="{FFB5BFD2-246A-034F-B635-DE62B5FCF3A6}" dt="2023-06-17T12:42:03.409" v="1603" actId="478"/>
          <ac:inkMkLst>
            <pc:docMk/>
            <pc:sldMk cId="3090271849" sldId="287"/>
            <ac:inkMk id="9" creationId="{C23DB4F7-58B9-4846-1C47-CAFDB2098646}"/>
          </ac:inkMkLst>
        </pc:inkChg>
        <pc:inkChg chg="add del">
          <ac:chgData name="Aniket Chhabra" userId="598e0514-bef3-4e71-b6aa-f2edd6441cff" providerId="ADAL" clId="{FFB5BFD2-246A-034F-B635-DE62B5FCF3A6}" dt="2023-06-17T12:42:03.409" v="1603" actId="478"/>
          <ac:inkMkLst>
            <pc:docMk/>
            <pc:sldMk cId="3090271849" sldId="287"/>
            <ac:inkMk id="10" creationId="{E097AAC5-19B5-524F-22A5-BD4F02576CBD}"/>
          </ac:inkMkLst>
        </pc:inkChg>
        <pc:inkChg chg="add del">
          <ac:chgData name="Aniket Chhabra" userId="598e0514-bef3-4e71-b6aa-f2edd6441cff" providerId="ADAL" clId="{FFB5BFD2-246A-034F-B635-DE62B5FCF3A6}" dt="2023-06-17T12:42:03.409" v="1603" actId="478"/>
          <ac:inkMkLst>
            <pc:docMk/>
            <pc:sldMk cId="3090271849" sldId="287"/>
            <ac:inkMk id="11" creationId="{DB0888EB-9DE3-51F1-9BA7-A89CD9149FAC}"/>
          </ac:inkMkLst>
        </pc:inkChg>
        <pc:inkChg chg="add del">
          <ac:chgData name="Aniket Chhabra" userId="598e0514-bef3-4e71-b6aa-f2edd6441cff" providerId="ADAL" clId="{FFB5BFD2-246A-034F-B635-DE62B5FCF3A6}" dt="2023-06-17T12:42:03.409" v="1603" actId="478"/>
          <ac:inkMkLst>
            <pc:docMk/>
            <pc:sldMk cId="3090271849" sldId="287"/>
            <ac:inkMk id="12" creationId="{6C6E09C6-E89A-DA10-9D19-309812DEA18C}"/>
          </ac:inkMkLst>
        </pc:inkChg>
        <pc:inkChg chg="add del">
          <ac:chgData name="Aniket Chhabra" userId="598e0514-bef3-4e71-b6aa-f2edd6441cff" providerId="ADAL" clId="{FFB5BFD2-246A-034F-B635-DE62B5FCF3A6}" dt="2023-06-17T12:42:01.240" v="1602" actId="478"/>
          <ac:inkMkLst>
            <pc:docMk/>
            <pc:sldMk cId="3090271849" sldId="287"/>
            <ac:inkMk id="13" creationId="{A489A27B-B391-DDDE-6492-9DFB45C07942}"/>
          </ac:inkMkLst>
        </pc:inkChg>
        <pc:inkChg chg="add del">
          <ac:chgData name="Aniket Chhabra" userId="598e0514-bef3-4e71-b6aa-f2edd6441cff" providerId="ADAL" clId="{FFB5BFD2-246A-034F-B635-DE62B5FCF3A6}" dt="2023-06-17T12:42:01.240" v="1602" actId="478"/>
          <ac:inkMkLst>
            <pc:docMk/>
            <pc:sldMk cId="3090271849" sldId="287"/>
            <ac:inkMk id="14" creationId="{1DA19C4A-E675-C01C-E833-A8311B71AC8B}"/>
          </ac:inkMkLst>
        </pc:inkChg>
        <pc:inkChg chg="add mod">
          <ac:chgData name="Aniket Chhabra" userId="598e0514-bef3-4e71-b6aa-f2edd6441cff" providerId="ADAL" clId="{FFB5BFD2-246A-034F-B635-DE62B5FCF3A6}" dt="2023-05-27T12:51:09.788" v="1238"/>
          <ac:inkMkLst>
            <pc:docMk/>
            <pc:sldMk cId="3090271849" sldId="287"/>
            <ac:inkMk id="15" creationId="{E464D4C1-B8C3-13E1-2ACA-7DB13E7C63C3}"/>
          </ac:inkMkLst>
        </pc:inkChg>
        <pc:inkChg chg="add mod">
          <ac:chgData name="Aniket Chhabra" userId="598e0514-bef3-4e71-b6aa-f2edd6441cff" providerId="ADAL" clId="{FFB5BFD2-246A-034F-B635-DE62B5FCF3A6}" dt="2023-05-27T12:51:09.788" v="1238"/>
          <ac:inkMkLst>
            <pc:docMk/>
            <pc:sldMk cId="3090271849" sldId="287"/>
            <ac:inkMk id="16" creationId="{5688E570-D768-583E-4A0F-D002FF5FD15D}"/>
          </ac:inkMkLst>
        </pc:inkChg>
        <pc:inkChg chg="add mod">
          <ac:chgData name="Aniket Chhabra" userId="598e0514-bef3-4e71-b6aa-f2edd6441cff" providerId="ADAL" clId="{FFB5BFD2-246A-034F-B635-DE62B5FCF3A6}" dt="2023-05-27T12:51:09.788" v="1238"/>
          <ac:inkMkLst>
            <pc:docMk/>
            <pc:sldMk cId="3090271849" sldId="287"/>
            <ac:inkMk id="17" creationId="{4FF40CF0-2C55-EE54-D173-369C62D9DF0C}"/>
          </ac:inkMkLst>
        </pc:inkChg>
        <pc:inkChg chg="add mod">
          <ac:chgData name="Aniket Chhabra" userId="598e0514-bef3-4e71-b6aa-f2edd6441cff" providerId="ADAL" clId="{FFB5BFD2-246A-034F-B635-DE62B5FCF3A6}" dt="2023-05-27T12:51:09.788" v="1238"/>
          <ac:inkMkLst>
            <pc:docMk/>
            <pc:sldMk cId="3090271849" sldId="287"/>
            <ac:inkMk id="20" creationId="{9AC83899-0EB9-0515-5D00-7BCC0E6BFD37}"/>
          </ac:inkMkLst>
        </pc:inkChg>
        <pc:inkChg chg="add mod">
          <ac:chgData name="Aniket Chhabra" userId="598e0514-bef3-4e71-b6aa-f2edd6441cff" providerId="ADAL" clId="{FFB5BFD2-246A-034F-B635-DE62B5FCF3A6}" dt="2023-05-27T12:51:09.788" v="1238"/>
          <ac:inkMkLst>
            <pc:docMk/>
            <pc:sldMk cId="3090271849" sldId="287"/>
            <ac:inkMk id="21" creationId="{C5D9DE59-E865-FBA8-F788-3E5DFA65B287}"/>
          </ac:inkMkLst>
        </pc:inkChg>
        <pc:inkChg chg="add mod">
          <ac:chgData name="Aniket Chhabra" userId="598e0514-bef3-4e71-b6aa-f2edd6441cff" providerId="ADAL" clId="{FFB5BFD2-246A-034F-B635-DE62B5FCF3A6}" dt="2023-05-27T12:51:22.851" v="1261"/>
          <ac:inkMkLst>
            <pc:docMk/>
            <pc:sldMk cId="3090271849" sldId="287"/>
            <ac:inkMk id="23" creationId="{91B24937-E22B-5924-591F-A7F2AE574CBD}"/>
          </ac:inkMkLst>
        </pc:inkChg>
        <pc:inkChg chg="add mod">
          <ac:chgData name="Aniket Chhabra" userId="598e0514-bef3-4e71-b6aa-f2edd6441cff" providerId="ADAL" clId="{FFB5BFD2-246A-034F-B635-DE62B5FCF3A6}" dt="2023-05-27T12:51:22.851" v="1261"/>
          <ac:inkMkLst>
            <pc:docMk/>
            <pc:sldMk cId="3090271849" sldId="287"/>
            <ac:inkMk id="24" creationId="{7D2F3D16-042A-F5EA-3FB0-CD3B43672604}"/>
          </ac:inkMkLst>
        </pc:inkChg>
        <pc:inkChg chg="add mod">
          <ac:chgData name="Aniket Chhabra" userId="598e0514-bef3-4e71-b6aa-f2edd6441cff" providerId="ADAL" clId="{FFB5BFD2-246A-034F-B635-DE62B5FCF3A6}" dt="2023-05-27T12:51:22.851" v="1261"/>
          <ac:inkMkLst>
            <pc:docMk/>
            <pc:sldMk cId="3090271849" sldId="287"/>
            <ac:inkMk id="25" creationId="{90A96C95-BEF8-B5C9-8D02-2B8B8E017E78}"/>
          </ac:inkMkLst>
        </pc:inkChg>
        <pc:inkChg chg="add mod">
          <ac:chgData name="Aniket Chhabra" userId="598e0514-bef3-4e71-b6aa-f2edd6441cff" providerId="ADAL" clId="{FFB5BFD2-246A-034F-B635-DE62B5FCF3A6}" dt="2023-05-27T12:51:22.851" v="1261"/>
          <ac:inkMkLst>
            <pc:docMk/>
            <pc:sldMk cId="3090271849" sldId="287"/>
            <ac:inkMk id="26" creationId="{E977E997-9426-490E-7CC4-47D3BCDC774D}"/>
          </ac:inkMkLst>
        </pc:inkChg>
        <pc:inkChg chg="add mod">
          <ac:chgData name="Aniket Chhabra" userId="598e0514-bef3-4e71-b6aa-f2edd6441cff" providerId="ADAL" clId="{FFB5BFD2-246A-034F-B635-DE62B5FCF3A6}" dt="2023-05-27T12:51:22.851" v="1261"/>
          <ac:inkMkLst>
            <pc:docMk/>
            <pc:sldMk cId="3090271849" sldId="287"/>
            <ac:inkMk id="27" creationId="{9BA0C73C-BA89-15EF-AA95-36DB81A88CFE}"/>
          </ac:inkMkLst>
        </pc:inkChg>
        <pc:inkChg chg="add mod">
          <ac:chgData name="Aniket Chhabra" userId="598e0514-bef3-4e71-b6aa-f2edd6441cff" providerId="ADAL" clId="{FFB5BFD2-246A-034F-B635-DE62B5FCF3A6}" dt="2023-05-27T12:51:22.851" v="1261"/>
          <ac:inkMkLst>
            <pc:docMk/>
            <pc:sldMk cId="3090271849" sldId="287"/>
            <ac:inkMk id="28" creationId="{009E2DC2-AF54-E7F0-0BB6-C859736759E6}"/>
          </ac:inkMkLst>
        </pc:inkChg>
        <pc:inkChg chg="add mod">
          <ac:chgData name="Aniket Chhabra" userId="598e0514-bef3-4e71-b6aa-f2edd6441cff" providerId="ADAL" clId="{FFB5BFD2-246A-034F-B635-DE62B5FCF3A6}" dt="2023-05-27T12:51:22.851" v="1261"/>
          <ac:inkMkLst>
            <pc:docMk/>
            <pc:sldMk cId="3090271849" sldId="287"/>
            <ac:inkMk id="29" creationId="{D8B4ADDF-FCD8-C84E-706D-F718FC33A163}"/>
          </ac:inkMkLst>
        </pc:inkChg>
        <pc:inkChg chg="add mod">
          <ac:chgData name="Aniket Chhabra" userId="598e0514-bef3-4e71-b6aa-f2edd6441cff" providerId="ADAL" clId="{FFB5BFD2-246A-034F-B635-DE62B5FCF3A6}" dt="2023-05-27T12:51:22.851" v="1261"/>
          <ac:inkMkLst>
            <pc:docMk/>
            <pc:sldMk cId="3090271849" sldId="287"/>
            <ac:inkMk id="30" creationId="{B6CE609A-1959-BE8B-8E04-1985F1806597}"/>
          </ac:inkMkLst>
        </pc:inkChg>
        <pc:inkChg chg="add mod">
          <ac:chgData name="Aniket Chhabra" userId="598e0514-bef3-4e71-b6aa-f2edd6441cff" providerId="ADAL" clId="{FFB5BFD2-246A-034F-B635-DE62B5FCF3A6}" dt="2023-05-27T12:51:22.851" v="1261"/>
          <ac:inkMkLst>
            <pc:docMk/>
            <pc:sldMk cId="3090271849" sldId="287"/>
            <ac:inkMk id="33" creationId="{E93E6A7E-8D1D-58BA-03F7-F04DDC141087}"/>
          </ac:inkMkLst>
        </pc:inkChg>
        <pc:inkChg chg="add mod">
          <ac:chgData name="Aniket Chhabra" userId="598e0514-bef3-4e71-b6aa-f2edd6441cff" providerId="ADAL" clId="{FFB5BFD2-246A-034F-B635-DE62B5FCF3A6}" dt="2023-05-27T12:51:22.851" v="1261"/>
          <ac:inkMkLst>
            <pc:docMk/>
            <pc:sldMk cId="3090271849" sldId="287"/>
            <ac:inkMk id="34" creationId="{668A7DFC-1F04-B470-AECA-AB51060BD061}"/>
          </ac:inkMkLst>
        </pc:inkChg>
        <pc:inkChg chg="add mod">
          <ac:chgData name="Aniket Chhabra" userId="598e0514-bef3-4e71-b6aa-f2edd6441cff" providerId="ADAL" clId="{FFB5BFD2-246A-034F-B635-DE62B5FCF3A6}" dt="2023-05-27T12:51:22.851" v="1261"/>
          <ac:inkMkLst>
            <pc:docMk/>
            <pc:sldMk cId="3090271849" sldId="287"/>
            <ac:inkMk id="35" creationId="{BCA4339E-A474-3AAF-3004-89485AF71100}"/>
          </ac:inkMkLst>
        </pc:inkChg>
        <pc:inkChg chg="add mod">
          <ac:chgData name="Aniket Chhabra" userId="598e0514-bef3-4e71-b6aa-f2edd6441cff" providerId="ADAL" clId="{FFB5BFD2-246A-034F-B635-DE62B5FCF3A6}" dt="2023-05-27T12:51:22.851" v="1261"/>
          <ac:inkMkLst>
            <pc:docMk/>
            <pc:sldMk cId="3090271849" sldId="287"/>
            <ac:inkMk id="36" creationId="{6D24BACA-D532-F69F-875E-1A93297D206F}"/>
          </ac:inkMkLst>
        </pc:inkChg>
        <pc:inkChg chg="add mod">
          <ac:chgData name="Aniket Chhabra" userId="598e0514-bef3-4e71-b6aa-f2edd6441cff" providerId="ADAL" clId="{FFB5BFD2-246A-034F-B635-DE62B5FCF3A6}" dt="2023-05-27T12:51:22.851" v="1261"/>
          <ac:inkMkLst>
            <pc:docMk/>
            <pc:sldMk cId="3090271849" sldId="287"/>
            <ac:inkMk id="37" creationId="{25CE0220-4D04-DCAF-B276-438F0B006363}"/>
          </ac:inkMkLst>
        </pc:inkChg>
        <pc:inkChg chg="add mod">
          <ac:chgData name="Aniket Chhabra" userId="598e0514-bef3-4e71-b6aa-f2edd6441cff" providerId="ADAL" clId="{FFB5BFD2-246A-034F-B635-DE62B5FCF3A6}" dt="2023-05-27T12:51:22.851" v="1261"/>
          <ac:inkMkLst>
            <pc:docMk/>
            <pc:sldMk cId="3090271849" sldId="287"/>
            <ac:inkMk id="38" creationId="{9E23BC44-5595-758B-0D7F-1C33AA3D8A40}"/>
          </ac:inkMkLst>
        </pc:inkChg>
        <pc:inkChg chg="add del">
          <ac:chgData name="Aniket Chhabra" userId="598e0514-bef3-4e71-b6aa-f2edd6441cff" providerId="ADAL" clId="{FFB5BFD2-246A-034F-B635-DE62B5FCF3A6}" dt="2023-05-27T07:32:26.640" v="23" actId="478"/>
          <ac:inkMkLst>
            <pc:docMk/>
            <pc:sldMk cId="3090271849" sldId="287"/>
            <ac:inkMk id="39" creationId="{52158227-3224-E673-FF6B-261AE79DD7B4}"/>
          </ac:inkMkLst>
        </pc:inkChg>
        <pc:inkChg chg="add mod">
          <ac:chgData name="Aniket Chhabra" userId="598e0514-bef3-4e71-b6aa-f2edd6441cff" providerId="ADAL" clId="{FFB5BFD2-246A-034F-B635-DE62B5FCF3A6}" dt="2023-05-27T12:51:22.851" v="1261"/>
          <ac:inkMkLst>
            <pc:docMk/>
            <pc:sldMk cId="3090271849" sldId="287"/>
            <ac:inkMk id="39" creationId="{521E60E8-438B-D436-569B-48BA2926542D}"/>
          </ac:inkMkLst>
        </pc:inkChg>
        <pc:inkChg chg="add del">
          <ac:chgData name="Aniket Chhabra" userId="598e0514-bef3-4e71-b6aa-f2edd6441cff" providerId="ADAL" clId="{FFB5BFD2-246A-034F-B635-DE62B5FCF3A6}" dt="2023-05-27T07:32:26.640" v="23" actId="478"/>
          <ac:inkMkLst>
            <pc:docMk/>
            <pc:sldMk cId="3090271849" sldId="287"/>
            <ac:inkMk id="40" creationId="{8B17A602-9D3A-F25F-3807-654D23A63DD1}"/>
          </ac:inkMkLst>
        </pc:inkChg>
        <pc:inkChg chg="add mod">
          <ac:chgData name="Aniket Chhabra" userId="598e0514-bef3-4e71-b6aa-f2edd6441cff" providerId="ADAL" clId="{FFB5BFD2-246A-034F-B635-DE62B5FCF3A6}" dt="2023-05-27T12:51:22.851" v="1261"/>
          <ac:inkMkLst>
            <pc:docMk/>
            <pc:sldMk cId="3090271849" sldId="287"/>
            <ac:inkMk id="40" creationId="{D1ECD67C-2E19-5AF7-62CA-4EFDD086062A}"/>
          </ac:inkMkLst>
        </pc:inkChg>
        <pc:inkChg chg="add mod">
          <ac:chgData name="Aniket Chhabra" userId="598e0514-bef3-4e71-b6aa-f2edd6441cff" providerId="ADAL" clId="{FFB5BFD2-246A-034F-B635-DE62B5FCF3A6}" dt="2023-05-27T12:51:22.851" v="1261"/>
          <ac:inkMkLst>
            <pc:docMk/>
            <pc:sldMk cId="3090271849" sldId="287"/>
            <ac:inkMk id="41" creationId="{C6D39BC0-D1D1-2560-E96F-7CAEE9EC210D}"/>
          </ac:inkMkLst>
        </pc:inkChg>
        <pc:inkChg chg="add mod">
          <ac:chgData name="Aniket Chhabra" userId="598e0514-bef3-4e71-b6aa-f2edd6441cff" providerId="ADAL" clId="{FFB5BFD2-246A-034F-B635-DE62B5FCF3A6}" dt="2023-05-27T12:51:22.851" v="1261"/>
          <ac:inkMkLst>
            <pc:docMk/>
            <pc:sldMk cId="3090271849" sldId="287"/>
            <ac:inkMk id="42" creationId="{E1DB1627-A4CA-D04B-0BF0-79C163C4A1C0}"/>
          </ac:inkMkLst>
        </pc:inkChg>
        <pc:inkChg chg="add mod">
          <ac:chgData name="Aniket Chhabra" userId="598e0514-bef3-4e71-b6aa-f2edd6441cff" providerId="ADAL" clId="{FFB5BFD2-246A-034F-B635-DE62B5FCF3A6}" dt="2023-05-27T12:51:22.851" v="1261"/>
          <ac:inkMkLst>
            <pc:docMk/>
            <pc:sldMk cId="3090271849" sldId="287"/>
            <ac:inkMk id="43" creationId="{44ACAB97-9A75-AA41-EC6D-61774CC7B6CE}"/>
          </ac:inkMkLst>
        </pc:inkChg>
        <pc:inkChg chg="add mod">
          <ac:chgData name="Aniket Chhabra" userId="598e0514-bef3-4e71-b6aa-f2edd6441cff" providerId="ADAL" clId="{FFB5BFD2-246A-034F-B635-DE62B5FCF3A6}" dt="2023-05-27T12:51:22.851" v="1261"/>
          <ac:inkMkLst>
            <pc:docMk/>
            <pc:sldMk cId="3090271849" sldId="287"/>
            <ac:inkMk id="44" creationId="{72F9CE95-7381-6448-83B8-F11105BDAA2B}"/>
          </ac:inkMkLst>
        </pc:inkChg>
        <pc:inkChg chg="add mod">
          <ac:chgData name="Aniket Chhabra" userId="598e0514-bef3-4e71-b6aa-f2edd6441cff" providerId="ADAL" clId="{FFB5BFD2-246A-034F-B635-DE62B5FCF3A6}" dt="2023-05-27T12:51:22.851" v="1261"/>
          <ac:inkMkLst>
            <pc:docMk/>
            <pc:sldMk cId="3090271849" sldId="287"/>
            <ac:inkMk id="45" creationId="{C10AC335-6B21-AAE1-EA2E-9E81337C1AF1}"/>
          </ac:inkMkLst>
        </pc:inkChg>
        <pc:inkChg chg="add del">
          <ac:chgData name="Aniket Chhabra" userId="598e0514-bef3-4e71-b6aa-f2edd6441cff" providerId="ADAL" clId="{FFB5BFD2-246A-034F-B635-DE62B5FCF3A6}" dt="2023-05-27T07:32:26.640" v="23" actId="478"/>
          <ac:inkMkLst>
            <pc:docMk/>
            <pc:sldMk cId="3090271849" sldId="287"/>
            <ac:inkMk id="46" creationId="{1EDF7F99-6CDD-8802-3BDB-38F402A96AEE}"/>
          </ac:inkMkLst>
        </pc:inkChg>
        <pc:inkChg chg="add del">
          <ac:chgData name="Aniket Chhabra" userId="598e0514-bef3-4e71-b6aa-f2edd6441cff" providerId="ADAL" clId="{FFB5BFD2-246A-034F-B635-DE62B5FCF3A6}" dt="2023-05-27T07:32:26.640" v="23" actId="478"/>
          <ac:inkMkLst>
            <pc:docMk/>
            <pc:sldMk cId="3090271849" sldId="287"/>
            <ac:inkMk id="47" creationId="{B823A015-E347-074E-CE72-0D4E33C377E0}"/>
          </ac:inkMkLst>
        </pc:inkChg>
        <pc:inkChg chg="add mod">
          <ac:chgData name="Aniket Chhabra" userId="598e0514-bef3-4e71-b6aa-f2edd6441cff" providerId="ADAL" clId="{FFB5BFD2-246A-034F-B635-DE62B5FCF3A6}" dt="2023-05-27T12:51:57.972" v="1267"/>
          <ac:inkMkLst>
            <pc:docMk/>
            <pc:sldMk cId="3090271849" sldId="287"/>
            <ac:inkMk id="48" creationId="{4FAA7C45-6D18-BA9F-4A5B-8DB8F4E0F4D0}"/>
          </ac:inkMkLst>
        </pc:inkChg>
        <pc:inkChg chg="add mod">
          <ac:chgData name="Aniket Chhabra" userId="598e0514-bef3-4e71-b6aa-f2edd6441cff" providerId="ADAL" clId="{FFB5BFD2-246A-034F-B635-DE62B5FCF3A6}" dt="2023-05-27T12:51:57.972" v="1267"/>
          <ac:inkMkLst>
            <pc:docMk/>
            <pc:sldMk cId="3090271849" sldId="287"/>
            <ac:inkMk id="49" creationId="{8B3E8B3C-2332-C049-6E6B-B77BFCF78924}"/>
          </ac:inkMkLst>
        </pc:inkChg>
        <pc:inkChg chg="add mod">
          <ac:chgData name="Aniket Chhabra" userId="598e0514-bef3-4e71-b6aa-f2edd6441cff" providerId="ADAL" clId="{FFB5BFD2-246A-034F-B635-DE62B5FCF3A6}" dt="2023-05-27T12:51:57.972" v="1267"/>
          <ac:inkMkLst>
            <pc:docMk/>
            <pc:sldMk cId="3090271849" sldId="287"/>
            <ac:inkMk id="50" creationId="{770D30A1-5108-5858-E919-1F9C5D7406A5}"/>
          </ac:inkMkLst>
        </pc:inkChg>
        <pc:inkChg chg="add mod">
          <ac:chgData name="Aniket Chhabra" userId="598e0514-bef3-4e71-b6aa-f2edd6441cff" providerId="ADAL" clId="{FFB5BFD2-246A-034F-B635-DE62B5FCF3A6}" dt="2023-05-27T12:51:57.972" v="1267"/>
          <ac:inkMkLst>
            <pc:docMk/>
            <pc:sldMk cId="3090271849" sldId="287"/>
            <ac:inkMk id="51" creationId="{E7A3AEC1-D2D0-BDA0-3A84-20548B7684BE}"/>
          </ac:inkMkLst>
        </pc:inkChg>
        <pc:inkChg chg="add mod">
          <ac:chgData name="Aniket Chhabra" userId="598e0514-bef3-4e71-b6aa-f2edd6441cff" providerId="ADAL" clId="{FFB5BFD2-246A-034F-B635-DE62B5FCF3A6}" dt="2023-05-27T12:51:57.972" v="1267"/>
          <ac:inkMkLst>
            <pc:docMk/>
            <pc:sldMk cId="3090271849" sldId="287"/>
            <ac:inkMk id="52" creationId="{65E5851E-F1DA-69F5-A01E-A8E721B94DBB}"/>
          </ac:inkMkLst>
        </pc:inkChg>
        <pc:inkChg chg="add mod">
          <ac:chgData name="Aniket Chhabra" userId="598e0514-bef3-4e71-b6aa-f2edd6441cff" providerId="ADAL" clId="{FFB5BFD2-246A-034F-B635-DE62B5FCF3A6}" dt="2023-05-27T12:52:02.311" v="1274"/>
          <ac:inkMkLst>
            <pc:docMk/>
            <pc:sldMk cId="3090271849" sldId="287"/>
            <ac:inkMk id="54" creationId="{697C6B4B-780F-03F8-EEA8-96C9DDC9B76A}"/>
          </ac:inkMkLst>
        </pc:inkChg>
        <pc:inkChg chg="add mod">
          <ac:chgData name="Aniket Chhabra" userId="598e0514-bef3-4e71-b6aa-f2edd6441cff" providerId="ADAL" clId="{FFB5BFD2-246A-034F-B635-DE62B5FCF3A6}" dt="2023-05-27T12:52:02.311" v="1274"/>
          <ac:inkMkLst>
            <pc:docMk/>
            <pc:sldMk cId="3090271849" sldId="287"/>
            <ac:inkMk id="55" creationId="{E745D6D5-2D7F-45AE-1B43-99867DFBBD89}"/>
          </ac:inkMkLst>
        </pc:inkChg>
        <pc:inkChg chg="add mod">
          <ac:chgData name="Aniket Chhabra" userId="598e0514-bef3-4e71-b6aa-f2edd6441cff" providerId="ADAL" clId="{FFB5BFD2-246A-034F-B635-DE62B5FCF3A6}" dt="2023-05-27T12:52:02.311" v="1274"/>
          <ac:inkMkLst>
            <pc:docMk/>
            <pc:sldMk cId="3090271849" sldId="287"/>
            <ac:inkMk id="56" creationId="{7153842A-7CE0-EFF3-8A79-AA3DD01C0DC4}"/>
          </ac:inkMkLst>
        </pc:inkChg>
        <pc:inkChg chg="add mod">
          <ac:chgData name="Aniket Chhabra" userId="598e0514-bef3-4e71-b6aa-f2edd6441cff" providerId="ADAL" clId="{FFB5BFD2-246A-034F-B635-DE62B5FCF3A6}" dt="2023-05-27T12:52:02.311" v="1274"/>
          <ac:inkMkLst>
            <pc:docMk/>
            <pc:sldMk cId="3090271849" sldId="287"/>
            <ac:inkMk id="57" creationId="{E4526A77-A0F4-B723-ED1F-760D263403AB}"/>
          </ac:inkMkLst>
        </pc:inkChg>
        <pc:inkChg chg="add mod">
          <ac:chgData name="Aniket Chhabra" userId="598e0514-bef3-4e71-b6aa-f2edd6441cff" providerId="ADAL" clId="{FFB5BFD2-246A-034F-B635-DE62B5FCF3A6}" dt="2023-05-27T12:52:02.311" v="1274"/>
          <ac:inkMkLst>
            <pc:docMk/>
            <pc:sldMk cId="3090271849" sldId="287"/>
            <ac:inkMk id="58" creationId="{39CC8503-2DD1-8F5F-6BAE-E80EAAC20355}"/>
          </ac:inkMkLst>
        </pc:inkChg>
        <pc:inkChg chg="add mod">
          <ac:chgData name="Aniket Chhabra" userId="598e0514-bef3-4e71-b6aa-f2edd6441cff" providerId="ADAL" clId="{FFB5BFD2-246A-034F-B635-DE62B5FCF3A6}" dt="2023-05-27T12:52:02.311" v="1274"/>
          <ac:inkMkLst>
            <pc:docMk/>
            <pc:sldMk cId="3090271849" sldId="287"/>
            <ac:inkMk id="59" creationId="{88D139F2-FC93-D27D-6019-23BA446EF606}"/>
          </ac:inkMkLst>
        </pc:inkChg>
        <pc:inkChg chg="add mod">
          <ac:chgData name="Aniket Chhabra" userId="598e0514-bef3-4e71-b6aa-f2edd6441cff" providerId="ADAL" clId="{FFB5BFD2-246A-034F-B635-DE62B5FCF3A6}" dt="2023-05-27T12:52:05.272" v="1280"/>
          <ac:inkMkLst>
            <pc:docMk/>
            <pc:sldMk cId="3090271849" sldId="287"/>
            <ac:inkMk id="61" creationId="{2F3EA058-16B1-79D3-3B4D-1410B9D1DD4D}"/>
          </ac:inkMkLst>
        </pc:inkChg>
        <pc:inkChg chg="add mod">
          <ac:chgData name="Aniket Chhabra" userId="598e0514-bef3-4e71-b6aa-f2edd6441cff" providerId="ADAL" clId="{FFB5BFD2-246A-034F-B635-DE62B5FCF3A6}" dt="2023-05-27T12:52:05.272" v="1280"/>
          <ac:inkMkLst>
            <pc:docMk/>
            <pc:sldMk cId="3090271849" sldId="287"/>
            <ac:inkMk id="62" creationId="{0C13B527-F005-3887-50C2-9F3AC559CA7C}"/>
          </ac:inkMkLst>
        </pc:inkChg>
        <pc:inkChg chg="add mod">
          <ac:chgData name="Aniket Chhabra" userId="598e0514-bef3-4e71-b6aa-f2edd6441cff" providerId="ADAL" clId="{FFB5BFD2-246A-034F-B635-DE62B5FCF3A6}" dt="2023-05-27T12:52:05.272" v="1280"/>
          <ac:inkMkLst>
            <pc:docMk/>
            <pc:sldMk cId="3090271849" sldId="287"/>
            <ac:inkMk id="63" creationId="{DC4DE167-EBBF-3326-7AB9-99623714CF04}"/>
          </ac:inkMkLst>
        </pc:inkChg>
        <pc:inkChg chg="add del">
          <ac:chgData name="Aniket Chhabra" userId="598e0514-bef3-4e71-b6aa-f2edd6441cff" providerId="ADAL" clId="{FFB5BFD2-246A-034F-B635-DE62B5FCF3A6}" dt="2023-05-27T07:32:26.640" v="23" actId="478"/>
          <ac:inkMkLst>
            <pc:docMk/>
            <pc:sldMk cId="3090271849" sldId="287"/>
            <ac:inkMk id="239" creationId="{422538E5-A2B7-876B-AE6E-5414A735C09A}"/>
          </ac:inkMkLst>
        </pc:inkChg>
        <pc:inkChg chg="del">
          <ac:chgData name="Aniket Chhabra" userId="598e0514-bef3-4e71-b6aa-f2edd6441cff" providerId="ADAL" clId="{FFB5BFD2-246A-034F-B635-DE62B5FCF3A6}" dt="2023-05-27T07:32:29.016" v="24" actId="478"/>
          <ac:inkMkLst>
            <pc:docMk/>
            <pc:sldMk cId="3090271849" sldId="287"/>
            <ac:inkMk id="243" creationId="{46D3FB8D-49B2-33DB-B1E4-4B69397D2BDC}"/>
          </ac:inkMkLst>
        </pc:inkChg>
        <pc:inkChg chg="add del">
          <ac:chgData name="Aniket Chhabra" userId="598e0514-bef3-4e71-b6aa-f2edd6441cff" providerId="ADAL" clId="{FFB5BFD2-246A-034F-B635-DE62B5FCF3A6}" dt="2023-05-27T07:32:26.640" v="23" actId="478"/>
          <ac:inkMkLst>
            <pc:docMk/>
            <pc:sldMk cId="3090271849" sldId="287"/>
            <ac:inkMk id="255" creationId="{4E52D99D-BC6B-07A5-3211-39AD8FFE498F}"/>
          </ac:inkMkLst>
        </pc:inkChg>
        <pc:inkChg chg="add mod">
          <ac:chgData name="Aniket Chhabra" userId="598e0514-bef3-4e71-b6aa-f2edd6441cff" providerId="ADAL" clId="{FFB5BFD2-246A-034F-B635-DE62B5FCF3A6}" dt="2023-05-27T12:52:05.272" v="1280"/>
          <ac:inkMkLst>
            <pc:docMk/>
            <pc:sldMk cId="3090271849" sldId="287"/>
            <ac:inkMk id="256" creationId="{340D1CB7-7CB6-8342-A64C-865209684FBC}"/>
          </ac:inkMkLst>
        </pc:inkChg>
        <pc:inkChg chg="add del">
          <ac:chgData name="Aniket Chhabra" userId="598e0514-bef3-4e71-b6aa-f2edd6441cff" providerId="ADAL" clId="{FFB5BFD2-246A-034F-B635-DE62B5FCF3A6}" dt="2023-05-27T07:32:26.640" v="23" actId="478"/>
          <ac:inkMkLst>
            <pc:docMk/>
            <pc:sldMk cId="3090271849" sldId="287"/>
            <ac:inkMk id="256" creationId="{5AAA3C64-A5EF-220F-6D5F-82FEF1C27F96}"/>
          </ac:inkMkLst>
        </pc:inkChg>
        <pc:inkChg chg="add mod">
          <ac:chgData name="Aniket Chhabra" userId="598e0514-bef3-4e71-b6aa-f2edd6441cff" providerId="ADAL" clId="{FFB5BFD2-246A-034F-B635-DE62B5FCF3A6}" dt="2023-05-27T12:52:05.272" v="1280"/>
          <ac:inkMkLst>
            <pc:docMk/>
            <pc:sldMk cId="3090271849" sldId="287"/>
            <ac:inkMk id="257" creationId="{47E57140-2070-74A2-5280-A624D95ECDF0}"/>
          </ac:inkMkLst>
        </pc:inkChg>
        <pc:inkChg chg="add del">
          <ac:chgData name="Aniket Chhabra" userId="598e0514-bef3-4e71-b6aa-f2edd6441cff" providerId="ADAL" clId="{FFB5BFD2-246A-034F-B635-DE62B5FCF3A6}" dt="2023-05-27T07:32:26.640" v="23" actId="478"/>
          <ac:inkMkLst>
            <pc:docMk/>
            <pc:sldMk cId="3090271849" sldId="287"/>
            <ac:inkMk id="257" creationId="{54AA2239-5578-7E7B-077D-D36F6F1B7EA0}"/>
          </ac:inkMkLst>
        </pc:inkChg>
        <pc:inkChg chg="del">
          <ac:chgData name="Aniket Chhabra" userId="598e0514-bef3-4e71-b6aa-f2edd6441cff" providerId="ADAL" clId="{FFB5BFD2-246A-034F-B635-DE62B5FCF3A6}" dt="2023-06-17T12:41:59.093" v="1601" actId="478"/>
          <ac:inkMkLst>
            <pc:docMk/>
            <pc:sldMk cId="3090271849" sldId="287"/>
            <ac:inkMk id="258" creationId="{D5A496AF-94B8-8501-3F3B-C8E130D00C89}"/>
          </ac:inkMkLst>
        </pc:inkChg>
        <pc:inkChg chg="add mod">
          <ac:chgData name="Aniket Chhabra" userId="598e0514-bef3-4e71-b6aa-f2edd6441cff" providerId="ADAL" clId="{FFB5BFD2-246A-034F-B635-DE62B5FCF3A6}" dt="2023-05-27T12:52:11.275" v="1286"/>
          <ac:inkMkLst>
            <pc:docMk/>
            <pc:sldMk cId="3090271849" sldId="287"/>
            <ac:inkMk id="260" creationId="{DDC18009-77EC-B048-EC9B-C74DED3F17D9}"/>
          </ac:inkMkLst>
        </pc:inkChg>
        <pc:inkChg chg="add mod">
          <ac:chgData name="Aniket Chhabra" userId="598e0514-bef3-4e71-b6aa-f2edd6441cff" providerId="ADAL" clId="{FFB5BFD2-246A-034F-B635-DE62B5FCF3A6}" dt="2023-05-27T12:52:11.275" v="1286"/>
          <ac:inkMkLst>
            <pc:docMk/>
            <pc:sldMk cId="3090271849" sldId="287"/>
            <ac:inkMk id="261" creationId="{A680088C-0A5C-CE90-1A06-A811C69F27BD}"/>
          </ac:inkMkLst>
        </pc:inkChg>
        <pc:inkChg chg="add mod">
          <ac:chgData name="Aniket Chhabra" userId="598e0514-bef3-4e71-b6aa-f2edd6441cff" providerId="ADAL" clId="{FFB5BFD2-246A-034F-B635-DE62B5FCF3A6}" dt="2023-05-27T12:52:11.275" v="1286"/>
          <ac:inkMkLst>
            <pc:docMk/>
            <pc:sldMk cId="3090271849" sldId="287"/>
            <ac:inkMk id="262" creationId="{0CC7E23E-6A3D-2CAD-3A56-56BE9E7D4268}"/>
          </ac:inkMkLst>
        </pc:inkChg>
        <pc:inkChg chg="add mod">
          <ac:chgData name="Aniket Chhabra" userId="598e0514-bef3-4e71-b6aa-f2edd6441cff" providerId="ADAL" clId="{FFB5BFD2-246A-034F-B635-DE62B5FCF3A6}" dt="2023-05-27T12:52:11.275" v="1286"/>
          <ac:inkMkLst>
            <pc:docMk/>
            <pc:sldMk cId="3090271849" sldId="287"/>
            <ac:inkMk id="263" creationId="{963E7179-3896-CA11-CA88-59D1773A27D2}"/>
          </ac:inkMkLst>
        </pc:inkChg>
        <pc:inkChg chg="add mod">
          <ac:chgData name="Aniket Chhabra" userId="598e0514-bef3-4e71-b6aa-f2edd6441cff" providerId="ADAL" clId="{FFB5BFD2-246A-034F-B635-DE62B5FCF3A6}" dt="2023-05-27T12:52:11.275" v="1286"/>
          <ac:inkMkLst>
            <pc:docMk/>
            <pc:sldMk cId="3090271849" sldId="287"/>
            <ac:inkMk id="264" creationId="{2ECFD0C6-FC7F-1314-5DCF-8C1DE62EF035}"/>
          </ac:inkMkLst>
        </pc:inkChg>
        <pc:inkChg chg="add mod">
          <ac:chgData name="Aniket Chhabra" userId="598e0514-bef3-4e71-b6aa-f2edd6441cff" providerId="ADAL" clId="{FFB5BFD2-246A-034F-B635-DE62B5FCF3A6}" dt="2023-05-27T12:52:14.329" v="1292"/>
          <ac:inkMkLst>
            <pc:docMk/>
            <pc:sldMk cId="3090271849" sldId="287"/>
            <ac:inkMk id="267" creationId="{11EFF3F7-837A-2723-AE87-4142581E0413}"/>
          </ac:inkMkLst>
        </pc:inkChg>
        <pc:inkChg chg="add mod">
          <ac:chgData name="Aniket Chhabra" userId="598e0514-bef3-4e71-b6aa-f2edd6441cff" providerId="ADAL" clId="{FFB5BFD2-246A-034F-B635-DE62B5FCF3A6}" dt="2023-05-27T12:52:14.329" v="1292"/>
          <ac:inkMkLst>
            <pc:docMk/>
            <pc:sldMk cId="3090271849" sldId="287"/>
            <ac:inkMk id="268" creationId="{A8066B12-6827-A426-0412-F149AB604447}"/>
          </ac:inkMkLst>
        </pc:inkChg>
        <pc:inkChg chg="add mod">
          <ac:chgData name="Aniket Chhabra" userId="598e0514-bef3-4e71-b6aa-f2edd6441cff" providerId="ADAL" clId="{FFB5BFD2-246A-034F-B635-DE62B5FCF3A6}" dt="2023-05-27T12:52:14.329" v="1292"/>
          <ac:inkMkLst>
            <pc:docMk/>
            <pc:sldMk cId="3090271849" sldId="287"/>
            <ac:inkMk id="269" creationId="{BB473A65-64E9-9115-0005-38CEDA2F9D4A}"/>
          </ac:inkMkLst>
        </pc:inkChg>
        <pc:inkChg chg="add mod">
          <ac:chgData name="Aniket Chhabra" userId="598e0514-bef3-4e71-b6aa-f2edd6441cff" providerId="ADAL" clId="{FFB5BFD2-246A-034F-B635-DE62B5FCF3A6}" dt="2023-05-27T12:52:14.329" v="1292"/>
          <ac:inkMkLst>
            <pc:docMk/>
            <pc:sldMk cId="3090271849" sldId="287"/>
            <ac:inkMk id="270" creationId="{93C17A82-1B3D-CC53-51A2-668DFA089D06}"/>
          </ac:inkMkLst>
        </pc:inkChg>
        <pc:inkChg chg="add mod">
          <ac:chgData name="Aniket Chhabra" userId="598e0514-bef3-4e71-b6aa-f2edd6441cff" providerId="ADAL" clId="{FFB5BFD2-246A-034F-B635-DE62B5FCF3A6}" dt="2023-05-27T12:52:14.329" v="1292"/>
          <ac:inkMkLst>
            <pc:docMk/>
            <pc:sldMk cId="3090271849" sldId="287"/>
            <ac:inkMk id="271" creationId="{037CE329-62A7-62C9-3CD5-516693A755F0}"/>
          </ac:inkMkLst>
        </pc:inkChg>
        <pc:inkChg chg="add mod">
          <ac:chgData name="Aniket Chhabra" userId="598e0514-bef3-4e71-b6aa-f2edd6441cff" providerId="ADAL" clId="{FFB5BFD2-246A-034F-B635-DE62B5FCF3A6}" dt="2023-05-27T12:52:24.209" v="1309"/>
          <ac:inkMkLst>
            <pc:docMk/>
            <pc:sldMk cId="3090271849" sldId="287"/>
            <ac:inkMk id="274" creationId="{4E792C8F-0A4D-BE8B-F7B2-43F7189DC9D3}"/>
          </ac:inkMkLst>
        </pc:inkChg>
        <pc:inkChg chg="add mod">
          <ac:chgData name="Aniket Chhabra" userId="598e0514-bef3-4e71-b6aa-f2edd6441cff" providerId="ADAL" clId="{FFB5BFD2-246A-034F-B635-DE62B5FCF3A6}" dt="2023-05-27T12:52:24.209" v="1309"/>
          <ac:inkMkLst>
            <pc:docMk/>
            <pc:sldMk cId="3090271849" sldId="287"/>
            <ac:inkMk id="275" creationId="{2E3E2342-2695-2E8E-9D11-8F19D31B5ECA}"/>
          </ac:inkMkLst>
        </pc:inkChg>
        <pc:inkChg chg="add mod">
          <ac:chgData name="Aniket Chhabra" userId="598e0514-bef3-4e71-b6aa-f2edd6441cff" providerId="ADAL" clId="{FFB5BFD2-246A-034F-B635-DE62B5FCF3A6}" dt="2023-05-27T12:52:24.209" v="1309"/>
          <ac:inkMkLst>
            <pc:docMk/>
            <pc:sldMk cId="3090271849" sldId="287"/>
            <ac:inkMk id="276" creationId="{0760C1FD-DC16-9E7B-BCC2-EA8F6339DC66}"/>
          </ac:inkMkLst>
        </pc:inkChg>
        <pc:inkChg chg="add mod">
          <ac:chgData name="Aniket Chhabra" userId="598e0514-bef3-4e71-b6aa-f2edd6441cff" providerId="ADAL" clId="{FFB5BFD2-246A-034F-B635-DE62B5FCF3A6}" dt="2023-05-27T12:52:24.209" v="1309"/>
          <ac:inkMkLst>
            <pc:docMk/>
            <pc:sldMk cId="3090271849" sldId="287"/>
            <ac:inkMk id="277" creationId="{C21033DF-225A-7E12-7142-329C093D0321}"/>
          </ac:inkMkLst>
        </pc:inkChg>
        <pc:inkChg chg="add mod">
          <ac:chgData name="Aniket Chhabra" userId="598e0514-bef3-4e71-b6aa-f2edd6441cff" providerId="ADAL" clId="{FFB5BFD2-246A-034F-B635-DE62B5FCF3A6}" dt="2023-05-27T12:52:24.209" v="1309"/>
          <ac:inkMkLst>
            <pc:docMk/>
            <pc:sldMk cId="3090271849" sldId="287"/>
            <ac:inkMk id="278" creationId="{E0C0B7B6-73F8-2990-B056-86DFD37FF6B1}"/>
          </ac:inkMkLst>
        </pc:inkChg>
        <pc:inkChg chg="add mod">
          <ac:chgData name="Aniket Chhabra" userId="598e0514-bef3-4e71-b6aa-f2edd6441cff" providerId="ADAL" clId="{FFB5BFD2-246A-034F-B635-DE62B5FCF3A6}" dt="2023-05-27T12:52:24.209" v="1309"/>
          <ac:inkMkLst>
            <pc:docMk/>
            <pc:sldMk cId="3090271849" sldId="287"/>
            <ac:inkMk id="279" creationId="{AE77FF54-6B7C-694B-ED87-4C33DAC66075}"/>
          </ac:inkMkLst>
        </pc:inkChg>
        <pc:inkChg chg="add mod">
          <ac:chgData name="Aniket Chhabra" userId="598e0514-bef3-4e71-b6aa-f2edd6441cff" providerId="ADAL" clId="{FFB5BFD2-246A-034F-B635-DE62B5FCF3A6}" dt="2023-05-27T12:52:24.209" v="1309"/>
          <ac:inkMkLst>
            <pc:docMk/>
            <pc:sldMk cId="3090271849" sldId="287"/>
            <ac:inkMk id="280" creationId="{4EF6162F-DACA-445D-BF97-23B8614B3104}"/>
          </ac:inkMkLst>
        </pc:inkChg>
        <pc:inkChg chg="add mod">
          <ac:chgData name="Aniket Chhabra" userId="598e0514-bef3-4e71-b6aa-f2edd6441cff" providerId="ADAL" clId="{FFB5BFD2-246A-034F-B635-DE62B5FCF3A6}" dt="2023-05-27T12:52:24.209" v="1309"/>
          <ac:inkMkLst>
            <pc:docMk/>
            <pc:sldMk cId="3090271849" sldId="287"/>
            <ac:inkMk id="281" creationId="{B68B0D80-3EF8-5583-0048-427BE1394404}"/>
          </ac:inkMkLst>
        </pc:inkChg>
        <pc:inkChg chg="add mod">
          <ac:chgData name="Aniket Chhabra" userId="598e0514-bef3-4e71-b6aa-f2edd6441cff" providerId="ADAL" clId="{FFB5BFD2-246A-034F-B635-DE62B5FCF3A6}" dt="2023-05-27T12:52:24.209" v="1309"/>
          <ac:inkMkLst>
            <pc:docMk/>
            <pc:sldMk cId="3090271849" sldId="287"/>
            <ac:inkMk id="282" creationId="{9AD57F8F-88AA-5813-22BA-1A9053F7D2DA}"/>
          </ac:inkMkLst>
        </pc:inkChg>
        <pc:inkChg chg="add mod">
          <ac:chgData name="Aniket Chhabra" userId="598e0514-bef3-4e71-b6aa-f2edd6441cff" providerId="ADAL" clId="{FFB5BFD2-246A-034F-B635-DE62B5FCF3A6}" dt="2023-05-27T12:52:24.209" v="1309"/>
          <ac:inkMkLst>
            <pc:docMk/>
            <pc:sldMk cId="3090271849" sldId="287"/>
            <ac:inkMk id="283" creationId="{C009989B-F268-424D-25BD-DCC314D8B358}"/>
          </ac:inkMkLst>
        </pc:inkChg>
        <pc:inkChg chg="add mod">
          <ac:chgData name="Aniket Chhabra" userId="598e0514-bef3-4e71-b6aa-f2edd6441cff" providerId="ADAL" clId="{FFB5BFD2-246A-034F-B635-DE62B5FCF3A6}" dt="2023-05-27T12:52:24.209" v="1309"/>
          <ac:inkMkLst>
            <pc:docMk/>
            <pc:sldMk cId="3090271849" sldId="287"/>
            <ac:inkMk id="284" creationId="{0A8BA738-5324-C901-F65F-0703BD39896D}"/>
          </ac:inkMkLst>
        </pc:inkChg>
        <pc:inkChg chg="add mod">
          <ac:chgData name="Aniket Chhabra" userId="598e0514-bef3-4e71-b6aa-f2edd6441cff" providerId="ADAL" clId="{FFB5BFD2-246A-034F-B635-DE62B5FCF3A6}" dt="2023-05-27T12:52:24.209" v="1309"/>
          <ac:inkMkLst>
            <pc:docMk/>
            <pc:sldMk cId="3090271849" sldId="287"/>
            <ac:inkMk id="285" creationId="{E2B5626D-EC6F-4FC0-0953-935F460BA4E6}"/>
          </ac:inkMkLst>
        </pc:inkChg>
        <pc:inkChg chg="add mod">
          <ac:chgData name="Aniket Chhabra" userId="598e0514-bef3-4e71-b6aa-f2edd6441cff" providerId="ADAL" clId="{FFB5BFD2-246A-034F-B635-DE62B5FCF3A6}" dt="2023-05-27T12:52:24.209" v="1309"/>
          <ac:inkMkLst>
            <pc:docMk/>
            <pc:sldMk cId="3090271849" sldId="287"/>
            <ac:inkMk id="286" creationId="{A6BBEC1D-1A0C-36FB-F659-81F24F13F6E2}"/>
          </ac:inkMkLst>
        </pc:inkChg>
        <pc:inkChg chg="add mod">
          <ac:chgData name="Aniket Chhabra" userId="598e0514-bef3-4e71-b6aa-f2edd6441cff" providerId="ADAL" clId="{FFB5BFD2-246A-034F-B635-DE62B5FCF3A6}" dt="2023-05-27T12:52:24.209" v="1309"/>
          <ac:inkMkLst>
            <pc:docMk/>
            <pc:sldMk cId="3090271849" sldId="287"/>
            <ac:inkMk id="287" creationId="{EB82F79D-FDA3-B685-FD3D-1B4E8EB6763C}"/>
          </ac:inkMkLst>
        </pc:inkChg>
        <pc:inkChg chg="add mod">
          <ac:chgData name="Aniket Chhabra" userId="598e0514-bef3-4e71-b6aa-f2edd6441cff" providerId="ADAL" clId="{FFB5BFD2-246A-034F-B635-DE62B5FCF3A6}" dt="2023-05-27T12:52:24.209" v="1309"/>
          <ac:inkMkLst>
            <pc:docMk/>
            <pc:sldMk cId="3090271849" sldId="287"/>
            <ac:inkMk id="288" creationId="{34FB60B7-387F-2B42-287A-9A0A5668B4BB}"/>
          </ac:inkMkLst>
        </pc:inkChg>
        <pc:inkChg chg="add mod">
          <ac:chgData name="Aniket Chhabra" userId="598e0514-bef3-4e71-b6aa-f2edd6441cff" providerId="ADAL" clId="{FFB5BFD2-246A-034F-B635-DE62B5FCF3A6}" dt="2023-05-27T12:52:24.209" v="1309"/>
          <ac:inkMkLst>
            <pc:docMk/>
            <pc:sldMk cId="3090271849" sldId="287"/>
            <ac:inkMk id="289" creationId="{3938EB1F-3BCB-31E4-2E4E-11A7AECA5CCE}"/>
          </ac:inkMkLst>
        </pc:inkChg>
      </pc:sldChg>
      <pc:sldChg chg="addSp delSp modSp mod">
        <pc:chgData name="Aniket Chhabra" userId="598e0514-bef3-4e71-b6aa-f2edd6441cff" providerId="ADAL" clId="{FFB5BFD2-246A-034F-B635-DE62B5FCF3A6}" dt="2023-06-03T15:42:49.808" v="1365"/>
        <pc:sldMkLst>
          <pc:docMk/>
          <pc:sldMk cId="3979036142" sldId="296"/>
        </pc:sldMkLst>
        <pc:grpChg chg="mod">
          <ac:chgData name="Aniket Chhabra" userId="598e0514-bef3-4e71-b6aa-f2edd6441cff" providerId="ADAL" clId="{FFB5BFD2-246A-034F-B635-DE62B5FCF3A6}" dt="2023-05-27T12:11:46.672" v="638" actId="1076"/>
          <ac:grpSpMkLst>
            <pc:docMk/>
            <pc:sldMk cId="3979036142" sldId="296"/>
            <ac:grpSpMk id="5" creationId="{4AF16A04-4245-4B4A-9B13-E3FA385C1AEF}"/>
          </ac:grpSpMkLst>
        </pc:grpChg>
        <pc:grpChg chg="del mod">
          <ac:chgData name="Aniket Chhabra" userId="598e0514-bef3-4e71-b6aa-f2edd6441cff" providerId="ADAL" clId="{FFB5BFD2-246A-034F-B635-DE62B5FCF3A6}" dt="2023-06-03T15:42:34.494" v="1340"/>
          <ac:grpSpMkLst>
            <pc:docMk/>
            <pc:sldMk cId="3979036142" sldId="296"/>
            <ac:grpSpMk id="9" creationId="{A8618FFF-C59B-DAB5-70FB-11680D891425}"/>
          </ac:grpSpMkLst>
        </pc:grpChg>
        <pc:grpChg chg="del">
          <ac:chgData name="Aniket Chhabra" userId="598e0514-bef3-4e71-b6aa-f2edd6441cff" providerId="ADAL" clId="{FFB5BFD2-246A-034F-B635-DE62B5FCF3A6}" dt="2023-05-27T07:30:49.840" v="2" actId="478"/>
          <ac:grpSpMkLst>
            <pc:docMk/>
            <pc:sldMk cId="3979036142" sldId="296"/>
            <ac:grpSpMk id="15" creationId="{13E9BD0C-FB65-357A-2F8A-070D4CE940E6}"/>
          </ac:grpSpMkLst>
        </pc:grpChg>
        <pc:grpChg chg="mod">
          <ac:chgData name="Aniket Chhabra" userId="598e0514-bef3-4e71-b6aa-f2edd6441cff" providerId="ADAL" clId="{FFB5BFD2-246A-034F-B635-DE62B5FCF3A6}" dt="2023-06-03T15:42:34.494" v="1340"/>
          <ac:grpSpMkLst>
            <pc:docMk/>
            <pc:sldMk cId="3979036142" sldId="296"/>
            <ac:grpSpMk id="18" creationId="{B5F5415D-AFE9-4E3B-D1CA-F6767E3A052F}"/>
          </ac:grpSpMkLst>
        </pc:grpChg>
        <pc:grpChg chg="del mod">
          <ac:chgData name="Aniket Chhabra" userId="598e0514-bef3-4e71-b6aa-f2edd6441cff" providerId="ADAL" clId="{FFB5BFD2-246A-034F-B635-DE62B5FCF3A6}" dt="2023-06-03T15:42:41.276" v="1351"/>
          <ac:grpSpMkLst>
            <pc:docMk/>
            <pc:sldMk cId="3979036142" sldId="296"/>
            <ac:grpSpMk id="30" creationId="{DF20AB6C-8F4D-F356-922B-D6242D7731C1}"/>
          </ac:grpSpMkLst>
        </pc:grpChg>
        <pc:grpChg chg="del mod">
          <ac:chgData name="Aniket Chhabra" userId="598e0514-bef3-4e71-b6aa-f2edd6441cff" providerId="ADAL" clId="{FFB5BFD2-246A-034F-B635-DE62B5FCF3A6}" dt="2023-06-03T15:42:42.415" v="1353"/>
          <ac:grpSpMkLst>
            <pc:docMk/>
            <pc:sldMk cId="3979036142" sldId="296"/>
            <ac:grpSpMk id="31" creationId="{5F390652-8008-36B7-5581-E7E38BA8C133}"/>
          </ac:grpSpMkLst>
        </pc:grpChg>
        <pc:grpChg chg="mod">
          <ac:chgData name="Aniket Chhabra" userId="598e0514-bef3-4e71-b6aa-f2edd6441cff" providerId="ADAL" clId="{FFB5BFD2-246A-034F-B635-DE62B5FCF3A6}" dt="2023-06-03T15:42:42.415" v="1353"/>
          <ac:grpSpMkLst>
            <pc:docMk/>
            <pc:sldMk cId="3979036142" sldId="296"/>
            <ac:grpSpMk id="33" creationId="{F61282C9-12B9-A61C-1C52-93281C4621B3}"/>
          </ac:grpSpMkLst>
        </pc:grpChg>
        <pc:grpChg chg="del mod">
          <ac:chgData name="Aniket Chhabra" userId="598e0514-bef3-4e71-b6aa-f2edd6441cff" providerId="ADAL" clId="{FFB5BFD2-246A-034F-B635-DE62B5FCF3A6}" dt="2023-06-03T15:42:49.808" v="1365"/>
          <ac:grpSpMkLst>
            <pc:docMk/>
            <pc:sldMk cId="3979036142" sldId="296"/>
            <ac:grpSpMk id="41" creationId="{903406A9-6F67-D7F6-F428-43A4F9DF55B4}"/>
          </ac:grpSpMkLst>
        </pc:grpChg>
        <pc:grpChg chg="mod">
          <ac:chgData name="Aniket Chhabra" userId="598e0514-bef3-4e71-b6aa-f2edd6441cff" providerId="ADAL" clId="{FFB5BFD2-246A-034F-B635-DE62B5FCF3A6}" dt="2023-06-03T15:42:49.808" v="1365"/>
          <ac:grpSpMkLst>
            <pc:docMk/>
            <pc:sldMk cId="3979036142" sldId="296"/>
            <ac:grpSpMk id="45" creationId="{2FBAD962-19D1-FA48-C23B-7D8CE1D3FA14}"/>
          </ac:grpSpMkLst>
        </pc:grpChg>
        <pc:grpChg chg="del">
          <ac:chgData name="Aniket Chhabra" userId="598e0514-bef3-4e71-b6aa-f2edd6441cff" providerId="ADAL" clId="{FFB5BFD2-246A-034F-B635-DE62B5FCF3A6}" dt="2023-05-27T07:30:49.840" v="2" actId="478"/>
          <ac:grpSpMkLst>
            <pc:docMk/>
            <pc:sldMk cId="3979036142" sldId="296"/>
            <ac:grpSpMk id="106" creationId="{587A1653-39B1-3E38-FD4B-99D90BEA5126}"/>
          </ac:grpSpMkLst>
        </pc:grpChg>
        <pc:grpChg chg="del">
          <ac:chgData name="Aniket Chhabra" userId="598e0514-bef3-4e71-b6aa-f2edd6441cff" providerId="ADAL" clId="{FFB5BFD2-246A-034F-B635-DE62B5FCF3A6}" dt="2023-05-27T07:30:51.740" v="3" actId="478"/>
          <ac:grpSpMkLst>
            <pc:docMk/>
            <pc:sldMk cId="3979036142" sldId="296"/>
            <ac:grpSpMk id="143" creationId="{58623D91-C62C-AA50-0842-9ED12A11ACE9}"/>
          </ac:grpSpMkLst>
        </pc:grpChg>
        <pc:inkChg chg="add mod">
          <ac:chgData name="Aniket Chhabra" userId="598e0514-bef3-4e71-b6aa-f2edd6441cff" providerId="ADAL" clId="{FFB5BFD2-246A-034F-B635-DE62B5FCF3A6}" dt="2023-06-03T15:42:34.494" v="1340"/>
          <ac:inkMkLst>
            <pc:docMk/>
            <pc:sldMk cId="3979036142" sldId="296"/>
            <ac:inkMk id="2" creationId="{7A38AA7D-D61C-9539-AB03-609F8EE43E91}"/>
          </ac:inkMkLst>
        </pc:inkChg>
        <pc:inkChg chg="del">
          <ac:chgData name="Aniket Chhabra" userId="598e0514-bef3-4e71-b6aa-f2edd6441cff" providerId="ADAL" clId="{FFB5BFD2-246A-034F-B635-DE62B5FCF3A6}" dt="2023-05-27T07:30:49.840" v="2" actId="478"/>
          <ac:inkMkLst>
            <pc:docMk/>
            <pc:sldMk cId="3979036142" sldId="296"/>
            <ac:inkMk id="2" creationId="{ADD3008A-429B-457F-B360-90445128F13D}"/>
          </ac:inkMkLst>
        </pc:inkChg>
        <pc:inkChg chg="add mod">
          <ac:chgData name="Aniket Chhabra" userId="598e0514-bef3-4e71-b6aa-f2edd6441cff" providerId="ADAL" clId="{FFB5BFD2-246A-034F-B635-DE62B5FCF3A6}" dt="2023-06-03T15:42:34.494" v="1340"/>
          <ac:inkMkLst>
            <pc:docMk/>
            <pc:sldMk cId="3979036142" sldId="296"/>
            <ac:inkMk id="6" creationId="{5179A2A4-4938-F5F7-391E-3FA37D7C1B3B}"/>
          </ac:inkMkLst>
        </pc:inkChg>
        <pc:inkChg chg="del">
          <ac:chgData name="Aniket Chhabra" userId="598e0514-bef3-4e71-b6aa-f2edd6441cff" providerId="ADAL" clId="{FFB5BFD2-246A-034F-B635-DE62B5FCF3A6}" dt="2023-05-27T07:30:49.840" v="2" actId="478"/>
          <ac:inkMkLst>
            <pc:docMk/>
            <pc:sldMk cId="3979036142" sldId="296"/>
            <ac:inkMk id="6" creationId="{874F994F-0BD1-4DD4-720A-6AA9E65A6C31}"/>
          </ac:inkMkLst>
        </pc:inkChg>
        <pc:inkChg chg="del">
          <ac:chgData name="Aniket Chhabra" userId="598e0514-bef3-4e71-b6aa-f2edd6441cff" providerId="ADAL" clId="{FFB5BFD2-246A-034F-B635-DE62B5FCF3A6}" dt="2023-05-27T07:30:49.840" v="2" actId="478"/>
          <ac:inkMkLst>
            <pc:docMk/>
            <pc:sldMk cId="3979036142" sldId="296"/>
            <ac:inkMk id="7" creationId="{61F29C76-2CA0-A9FC-73A1-81622938BF27}"/>
          </ac:inkMkLst>
        </pc:inkChg>
        <pc:inkChg chg="add mod">
          <ac:chgData name="Aniket Chhabra" userId="598e0514-bef3-4e71-b6aa-f2edd6441cff" providerId="ADAL" clId="{FFB5BFD2-246A-034F-B635-DE62B5FCF3A6}" dt="2023-06-03T15:42:34.494" v="1340"/>
          <ac:inkMkLst>
            <pc:docMk/>
            <pc:sldMk cId="3979036142" sldId="296"/>
            <ac:inkMk id="7" creationId="{A25684FE-FDC8-F38C-4EC3-1C3F2E2CD9FE}"/>
          </ac:inkMkLst>
        </pc:inkChg>
        <pc:inkChg chg="del">
          <ac:chgData name="Aniket Chhabra" userId="598e0514-bef3-4e71-b6aa-f2edd6441cff" providerId="ADAL" clId="{FFB5BFD2-246A-034F-B635-DE62B5FCF3A6}" dt="2023-05-27T07:30:49.840" v="2" actId="478"/>
          <ac:inkMkLst>
            <pc:docMk/>
            <pc:sldMk cId="3979036142" sldId="296"/>
            <ac:inkMk id="9" creationId="{50755D51-D5EC-1BF2-4AA2-50DED8467112}"/>
          </ac:inkMkLst>
        </pc:inkChg>
        <pc:inkChg chg="del">
          <ac:chgData name="Aniket Chhabra" userId="598e0514-bef3-4e71-b6aa-f2edd6441cff" providerId="ADAL" clId="{FFB5BFD2-246A-034F-B635-DE62B5FCF3A6}" dt="2023-05-27T07:30:49.840" v="2" actId="478"/>
          <ac:inkMkLst>
            <pc:docMk/>
            <pc:sldMk cId="3979036142" sldId="296"/>
            <ac:inkMk id="10" creationId="{8BABC922-A9E4-9D0B-E385-5AC691392682}"/>
          </ac:inkMkLst>
        </pc:inkChg>
        <pc:inkChg chg="add mod">
          <ac:chgData name="Aniket Chhabra" userId="598e0514-bef3-4e71-b6aa-f2edd6441cff" providerId="ADAL" clId="{FFB5BFD2-246A-034F-B635-DE62B5FCF3A6}" dt="2023-06-03T15:42:34.494" v="1340"/>
          <ac:inkMkLst>
            <pc:docMk/>
            <pc:sldMk cId="3979036142" sldId="296"/>
            <ac:inkMk id="10" creationId="{ED5C048F-49D3-D085-06DA-9057FDA79E92}"/>
          </ac:inkMkLst>
        </pc:inkChg>
        <pc:inkChg chg="del">
          <ac:chgData name="Aniket Chhabra" userId="598e0514-bef3-4e71-b6aa-f2edd6441cff" providerId="ADAL" clId="{FFB5BFD2-246A-034F-B635-DE62B5FCF3A6}" dt="2023-05-27T07:30:49.840" v="2" actId="478"/>
          <ac:inkMkLst>
            <pc:docMk/>
            <pc:sldMk cId="3979036142" sldId="296"/>
            <ac:inkMk id="11" creationId="{1F9B0AFB-0853-1230-67BA-65905E7426F9}"/>
          </ac:inkMkLst>
        </pc:inkChg>
        <pc:inkChg chg="add mod">
          <ac:chgData name="Aniket Chhabra" userId="598e0514-bef3-4e71-b6aa-f2edd6441cff" providerId="ADAL" clId="{FFB5BFD2-246A-034F-B635-DE62B5FCF3A6}" dt="2023-06-03T15:42:34.494" v="1340"/>
          <ac:inkMkLst>
            <pc:docMk/>
            <pc:sldMk cId="3979036142" sldId="296"/>
            <ac:inkMk id="11" creationId="{67B0053F-1A13-B412-F7E8-E21A1FD4E323}"/>
          </ac:inkMkLst>
        </pc:inkChg>
        <pc:inkChg chg="del">
          <ac:chgData name="Aniket Chhabra" userId="598e0514-bef3-4e71-b6aa-f2edd6441cff" providerId="ADAL" clId="{FFB5BFD2-246A-034F-B635-DE62B5FCF3A6}" dt="2023-05-27T07:30:49.840" v="2" actId="478"/>
          <ac:inkMkLst>
            <pc:docMk/>
            <pc:sldMk cId="3979036142" sldId="296"/>
            <ac:inkMk id="12" creationId="{18A93E18-A160-1B32-6E84-54C94D84B112}"/>
          </ac:inkMkLst>
        </pc:inkChg>
        <pc:inkChg chg="add mod">
          <ac:chgData name="Aniket Chhabra" userId="598e0514-bef3-4e71-b6aa-f2edd6441cff" providerId="ADAL" clId="{FFB5BFD2-246A-034F-B635-DE62B5FCF3A6}" dt="2023-06-03T15:42:34.494" v="1340"/>
          <ac:inkMkLst>
            <pc:docMk/>
            <pc:sldMk cId="3979036142" sldId="296"/>
            <ac:inkMk id="12" creationId="{593A966D-F7A6-A51D-5EE1-8BC7C75B5A15}"/>
          </ac:inkMkLst>
        </pc:inkChg>
        <pc:inkChg chg="add mod">
          <ac:chgData name="Aniket Chhabra" userId="598e0514-bef3-4e71-b6aa-f2edd6441cff" providerId="ADAL" clId="{FFB5BFD2-246A-034F-B635-DE62B5FCF3A6}" dt="2023-06-03T15:42:34.494" v="1340"/>
          <ac:inkMkLst>
            <pc:docMk/>
            <pc:sldMk cId="3979036142" sldId="296"/>
            <ac:inkMk id="13" creationId="{EBD714CB-1FBE-D0A7-6A7F-7E4400340440}"/>
          </ac:inkMkLst>
        </pc:inkChg>
        <pc:inkChg chg="add mod">
          <ac:chgData name="Aniket Chhabra" userId="598e0514-bef3-4e71-b6aa-f2edd6441cff" providerId="ADAL" clId="{FFB5BFD2-246A-034F-B635-DE62B5FCF3A6}" dt="2023-06-03T15:42:34.494" v="1340"/>
          <ac:inkMkLst>
            <pc:docMk/>
            <pc:sldMk cId="3979036142" sldId="296"/>
            <ac:inkMk id="14" creationId="{85D7D6EE-089C-50D8-55CC-B242B992CBF1}"/>
          </ac:inkMkLst>
        </pc:inkChg>
        <pc:inkChg chg="add mod">
          <ac:chgData name="Aniket Chhabra" userId="598e0514-bef3-4e71-b6aa-f2edd6441cff" providerId="ADAL" clId="{FFB5BFD2-246A-034F-B635-DE62B5FCF3A6}" dt="2023-06-03T15:42:34.494" v="1340"/>
          <ac:inkMkLst>
            <pc:docMk/>
            <pc:sldMk cId="3979036142" sldId="296"/>
            <ac:inkMk id="15" creationId="{CA80C502-D107-7572-86F0-6C4FB6800354}"/>
          </ac:inkMkLst>
        </pc:inkChg>
        <pc:inkChg chg="del">
          <ac:chgData name="Aniket Chhabra" userId="598e0514-bef3-4e71-b6aa-f2edd6441cff" providerId="ADAL" clId="{FFB5BFD2-246A-034F-B635-DE62B5FCF3A6}" dt="2023-05-27T07:30:49.840" v="2" actId="478"/>
          <ac:inkMkLst>
            <pc:docMk/>
            <pc:sldMk cId="3979036142" sldId="296"/>
            <ac:inkMk id="16" creationId="{45B8EB34-1586-7D1B-CE5F-C53A6C738C66}"/>
          </ac:inkMkLst>
        </pc:inkChg>
        <pc:inkChg chg="add mod">
          <ac:chgData name="Aniket Chhabra" userId="598e0514-bef3-4e71-b6aa-f2edd6441cff" providerId="ADAL" clId="{FFB5BFD2-246A-034F-B635-DE62B5FCF3A6}" dt="2023-06-03T15:42:34.494" v="1340"/>
          <ac:inkMkLst>
            <pc:docMk/>
            <pc:sldMk cId="3979036142" sldId="296"/>
            <ac:inkMk id="16" creationId="{66E29E95-9B02-DE88-E5F9-0A42038B5804}"/>
          </ac:inkMkLst>
        </pc:inkChg>
        <pc:inkChg chg="del">
          <ac:chgData name="Aniket Chhabra" userId="598e0514-bef3-4e71-b6aa-f2edd6441cff" providerId="ADAL" clId="{FFB5BFD2-246A-034F-B635-DE62B5FCF3A6}" dt="2023-05-27T07:30:49.840" v="2" actId="478"/>
          <ac:inkMkLst>
            <pc:docMk/>
            <pc:sldMk cId="3979036142" sldId="296"/>
            <ac:inkMk id="17" creationId="{1A1FD346-6339-9814-1DB0-3D9A1E53B973}"/>
          </ac:inkMkLst>
        </pc:inkChg>
        <pc:inkChg chg="add mod">
          <ac:chgData name="Aniket Chhabra" userId="598e0514-bef3-4e71-b6aa-f2edd6441cff" providerId="ADAL" clId="{FFB5BFD2-246A-034F-B635-DE62B5FCF3A6}" dt="2023-06-03T15:42:34.494" v="1340"/>
          <ac:inkMkLst>
            <pc:docMk/>
            <pc:sldMk cId="3979036142" sldId="296"/>
            <ac:inkMk id="17" creationId="{505CCD09-AA46-0AD7-8BE1-846AA761E955}"/>
          </ac:inkMkLst>
        </pc:inkChg>
        <pc:inkChg chg="add mod">
          <ac:chgData name="Aniket Chhabra" userId="598e0514-bef3-4e71-b6aa-f2edd6441cff" providerId="ADAL" clId="{FFB5BFD2-246A-034F-B635-DE62B5FCF3A6}" dt="2023-06-03T15:42:42.415" v="1353"/>
          <ac:inkMkLst>
            <pc:docMk/>
            <pc:sldMk cId="3979036142" sldId="296"/>
            <ac:inkMk id="19" creationId="{4858725A-07A4-50D7-9A53-702F9A86D158}"/>
          </ac:inkMkLst>
        </pc:inkChg>
        <pc:inkChg chg="del">
          <ac:chgData name="Aniket Chhabra" userId="598e0514-bef3-4e71-b6aa-f2edd6441cff" providerId="ADAL" clId="{FFB5BFD2-246A-034F-B635-DE62B5FCF3A6}" dt="2023-05-27T07:30:49.840" v="2" actId="478"/>
          <ac:inkMkLst>
            <pc:docMk/>
            <pc:sldMk cId="3979036142" sldId="296"/>
            <ac:inkMk id="20" creationId="{7D875D33-C04E-E9B6-A061-7FA044EDF5FE}"/>
          </ac:inkMkLst>
        </pc:inkChg>
        <pc:inkChg chg="add mod">
          <ac:chgData name="Aniket Chhabra" userId="598e0514-bef3-4e71-b6aa-f2edd6441cff" providerId="ADAL" clId="{FFB5BFD2-246A-034F-B635-DE62B5FCF3A6}" dt="2023-06-03T15:42:42.415" v="1353"/>
          <ac:inkMkLst>
            <pc:docMk/>
            <pc:sldMk cId="3979036142" sldId="296"/>
            <ac:inkMk id="20" creationId="{DEA868D5-EF89-2F60-1FE4-34EFD2790913}"/>
          </ac:inkMkLst>
        </pc:inkChg>
        <pc:inkChg chg="add mod">
          <ac:chgData name="Aniket Chhabra" userId="598e0514-bef3-4e71-b6aa-f2edd6441cff" providerId="ADAL" clId="{FFB5BFD2-246A-034F-B635-DE62B5FCF3A6}" dt="2023-06-03T15:42:42.415" v="1353"/>
          <ac:inkMkLst>
            <pc:docMk/>
            <pc:sldMk cId="3979036142" sldId="296"/>
            <ac:inkMk id="21" creationId="{8C5A177A-1A03-4A96-25EB-75192D6A3DA0}"/>
          </ac:inkMkLst>
        </pc:inkChg>
        <pc:inkChg chg="del">
          <ac:chgData name="Aniket Chhabra" userId="598e0514-bef3-4e71-b6aa-f2edd6441cff" providerId="ADAL" clId="{FFB5BFD2-246A-034F-B635-DE62B5FCF3A6}" dt="2023-05-27T07:30:49.840" v="2" actId="478"/>
          <ac:inkMkLst>
            <pc:docMk/>
            <pc:sldMk cId="3979036142" sldId="296"/>
            <ac:inkMk id="21" creationId="{A4A031D3-2DC5-7FEF-0587-584D86A011F2}"/>
          </ac:inkMkLst>
        </pc:inkChg>
        <pc:inkChg chg="add mod">
          <ac:chgData name="Aniket Chhabra" userId="598e0514-bef3-4e71-b6aa-f2edd6441cff" providerId="ADAL" clId="{FFB5BFD2-246A-034F-B635-DE62B5FCF3A6}" dt="2023-06-03T15:42:42.415" v="1353"/>
          <ac:inkMkLst>
            <pc:docMk/>
            <pc:sldMk cId="3979036142" sldId="296"/>
            <ac:inkMk id="22" creationId="{968FCC12-9DA8-9B70-231F-17F3670BCD8B}"/>
          </ac:inkMkLst>
        </pc:inkChg>
        <pc:inkChg chg="del">
          <ac:chgData name="Aniket Chhabra" userId="598e0514-bef3-4e71-b6aa-f2edd6441cff" providerId="ADAL" clId="{FFB5BFD2-246A-034F-B635-DE62B5FCF3A6}" dt="2023-05-27T07:30:49.840" v="2" actId="478"/>
          <ac:inkMkLst>
            <pc:docMk/>
            <pc:sldMk cId="3979036142" sldId="296"/>
            <ac:inkMk id="22" creationId="{FF55CCA8-D548-4E26-FB60-08C5EA9D3A3F}"/>
          </ac:inkMkLst>
        </pc:inkChg>
        <pc:inkChg chg="add mod">
          <ac:chgData name="Aniket Chhabra" userId="598e0514-bef3-4e71-b6aa-f2edd6441cff" providerId="ADAL" clId="{FFB5BFD2-246A-034F-B635-DE62B5FCF3A6}" dt="2023-06-03T15:42:42.415" v="1353"/>
          <ac:inkMkLst>
            <pc:docMk/>
            <pc:sldMk cId="3979036142" sldId="296"/>
            <ac:inkMk id="23" creationId="{6006B0B3-FAF8-0151-274B-153F0B89956B}"/>
          </ac:inkMkLst>
        </pc:inkChg>
        <pc:inkChg chg="del">
          <ac:chgData name="Aniket Chhabra" userId="598e0514-bef3-4e71-b6aa-f2edd6441cff" providerId="ADAL" clId="{FFB5BFD2-246A-034F-B635-DE62B5FCF3A6}" dt="2023-05-27T07:30:49.840" v="2" actId="478"/>
          <ac:inkMkLst>
            <pc:docMk/>
            <pc:sldMk cId="3979036142" sldId="296"/>
            <ac:inkMk id="24" creationId="{6D5DBBC8-B8D7-E34D-0E8E-1569A28242DE}"/>
          </ac:inkMkLst>
        </pc:inkChg>
        <pc:inkChg chg="add mod">
          <ac:chgData name="Aniket Chhabra" userId="598e0514-bef3-4e71-b6aa-f2edd6441cff" providerId="ADAL" clId="{FFB5BFD2-246A-034F-B635-DE62B5FCF3A6}" dt="2023-06-03T15:42:42.415" v="1353"/>
          <ac:inkMkLst>
            <pc:docMk/>
            <pc:sldMk cId="3979036142" sldId="296"/>
            <ac:inkMk id="24" creationId="{BD137205-92C9-6D6C-D85C-88D15A640E7F}"/>
          </ac:inkMkLst>
        </pc:inkChg>
        <pc:inkChg chg="add mod">
          <ac:chgData name="Aniket Chhabra" userId="598e0514-bef3-4e71-b6aa-f2edd6441cff" providerId="ADAL" clId="{FFB5BFD2-246A-034F-B635-DE62B5FCF3A6}" dt="2023-06-03T15:42:42.415" v="1353"/>
          <ac:inkMkLst>
            <pc:docMk/>
            <pc:sldMk cId="3979036142" sldId="296"/>
            <ac:inkMk id="25" creationId="{2E87B915-348C-070F-3AAF-93ADA1617E49}"/>
          </ac:inkMkLst>
        </pc:inkChg>
        <pc:inkChg chg="del">
          <ac:chgData name="Aniket Chhabra" userId="598e0514-bef3-4e71-b6aa-f2edd6441cff" providerId="ADAL" clId="{FFB5BFD2-246A-034F-B635-DE62B5FCF3A6}" dt="2023-05-27T07:30:49.840" v="2" actId="478"/>
          <ac:inkMkLst>
            <pc:docMk/>
            <pc:sldMk cId="3979036142" sldId="296"/>
            <ac:inkMk id="25" creationId="{C122C2F1-256B-773D-86E2-66EDF66C5E98}"/>
          </ac:inkMkLst>
        </pc:inkChg>
        <pc:inkChg chg="del">
          <ac:chgData name="Aniket Chhabra" userId="598e0514-bef3-4e71-b6aa-f2edd6441cff" providerId="ADAL" clId="{FFB5BFD2-246A-034F-B635-DE62B5FCF3A6}" dt="2023-05-27T07:30:49.840" v="2" actId="478"/>
          <ac:inkMkLst>
            <pc:docMk/>
            <pc:sldMk cId="3979036142" sldId="296"/>
            <ac:inkMk id="26" creationId="{B20AA993-EF05-E22A-4C9C-3D2A1359E097}"/>
          </ac:inkMkLst>
        </pc:inkChg>
        <pc:inkChg chg="add mod">
          <ac:chgData name="Aniket Chhabra" userId="598e0514-bef3-4e71-b6aa-f2edd6441cff" providerId="ADAL" clId="{FFB5BFD2-246A-034F-B635-DE62B5FCF3A6}" dt="2023-06-03T15:42:42.415" v="1353"/>
          <ac:inkMkLst>
            <pc:docMk/>
            <pc:sldMk cId="3979036142" sldId="296"/>
            <ac:inkMk id="26" creationId="{B9812830-3A88-72E8-C0F8-C14596B7B0DC}"/>
          </ac:inkMkLst>
        </pc:inkChg>
        <pc:inkChg chg="del">
          <ac:chgData name="Aniket Chhabra" userId="598e0514-bef3-4e71-b6aa-f2edd6441cff" providerId="ADAL" clId="{FFB5BFD2-246A-034F-B635-DE62B5FCF3A6}" dt="2023-05-27T07:30:49.840" v="2" actId="478"/>
          <ac:inkMkLst>
            <pc:docMk/>
            <pc:sldMk cId="3979036142" sldId="296"/>
            <ac:inkMk id="27" creationId="{AAD9E8D7-82F6-ACA9-CCFC-EDAA93492559}"/>
          </ac:inkMkLst>
        </pc:inkChg>
        <pc:inkChg chg="add mod">
          <ac:chgData name="Aniket Chhabra" userId="598e0514-bef3-4e71-b6aa-f2edd6441cff" providerId="ADAL" clId="{FFB5BFD2-246A-034F-B635-DE62B5FCF3A6}" dt="2023-06-03T15:42:42.415" v="1353"/>
          <ac:inkMkLst>
            <pc:docMk/>
            <pc:sldMk cId="3979036142" sldId="296"/>
            <ac:inkMk id="27" creationId="{C9A38A5D-AF37-86AD-0852-5F51DB782D30}"/>
          </ac:inkMkLst>
        </pc:inkChg>
        <pc:inkChg chg="del">
          <ac:chgData name="Aniket Chhabra" userId="598e0514-bef3-4e71-b6aa-f2edd6441cff" providerId="ADAL" clId="{FFB5BFD2-246A-034F-B635-DE62B5FCF3A6}" dt="2023-05-27T07:30:49.840" v="2" actId="478"/>
          <ac:inkMkLst>
            <pc:docMk/>
            <pc:sldMk cId="3979036142" sldId="296"/>
            <ac:inkMk id="28" creationId="{4C1CD074-00F9-CAD7-C973-E1B3918A8C8C}"/>
          </ac:inkMkLst>
        </pc:inkChg>
        <pc:inkChg chg="add mod">
          <ac:chgData name="Aniket Chhabra" userId="598e0514-bef3-4e71-b6aa-f2edd6441cff" providerId="ADAL" clId="{FFB5BFD2-246A-034F-B635-DE62B5FCF3A6}" dt="2023-06-03T15:42:42.415" v="1353"/>
          <ac:inkMkLst>
            <pc:docMk/>
            <pc:sldMk cId="3979036142" sldId="296"/>
            <ac:inkMk id="28" creationId="{86F01BC7-35DC-00F6-AED3-DD7A7E449A96}"/>
          </ac:inkMkLst>
        </pc:inkChg>
        <pc:inkChg chg="add">
          <ac:chgData name="Aniket Chhabra" userId="598e0514-bef3-4e71-b6aa-f2edd6441cff" providerId="ADAL" clId="{FFB5BFD2-246A-034F-B635-DE62B5FCF3A6}" dt="2023-05-27T07:37:58.006" v="151" actId="9405"/>
          <ac:inkMkLst>
            <pc:docMk/>
            <pc:sldMk cId="3979036142" sldId="296"/>
            <ac:inkMk id="29" creationId="{A54BAB8C-BADD-2746-285B-CBA3B4E2ACED}"/>
          </ac:inkMkLst>
        </pc:inkChg>
        <pc:inkChg chg="del">
          <ac:chgData name="Aniket Chhabra" userId="598e0514-bef3-4e71-b6aa-f2edd6441cff" providerId="ADAL" clId="{FFB5BFD2-246A-034F-B635-DE62B5FCF3A6}" dt="2023-05-27T07:30:49.840" v="2" actId="478"/>
          <ac:inkMkLst>
            <pc:docMk/>
            <pc:sldMk cId="3979036142" sldId="296"/>
            <ac:inkMk id="30" creationId="{CA861569-E4DD-434F-B1E0-57CC1DADA1DC}"/>
          </ac:inkMkLst>
        </pc:inkChg>
        <pc:inkChg chg="del">
          <ac:chgData name="Aniket Chhabra" userId="598e0514-bef3-4e71-b6aa-f2edd6441cff" providerId="ADAL" clId="{FFB5BFD2-246A-034F-B635-DE62B5FCF3A6}" dt="2023-05-27T07:30:49.840" v="2" actId="478"/>
          <ac:inkMkLst>
            <pc:docMk/>
            <pc:sldMk cId="3979036142" sldId="296"/>
            <ac:inkMk id="32" creationId="{AF2FAB23-3C40-8B45-F7B3-496C3DE7828B}"/>
          </ac:inkMkLst>
        </pc:inkChg>
        <pc:inkChg chg="add mod">
          <ac:chgData name="Aniket Chhabra" userId="598e0514-bef3-4e71-b6aa-f2edd6441cff" providerId="ADAL" clId="{FFB5BFD2-246A-034F-B635-DE62B5FCF3A6}" dt="2023-06-03T15:42:42.415" v="1353"/>
          <ac:inkMkLst>
            <pc:docMk/>
            <pc:sldMk cId="3979036142" sldId="296"/>
            <ac:inkMk id="32" creationId="{AFDAE4A4-0B43-C8D2-0DD9-7D33DD9791BE}"/>
          </ac:inkMkLst>
        </pc:inkChg>
        <pc:inkChg chg="del">
          <ac:chgData name="Aniket Chhabra" userId="598e0514-bef3-4e71-b6aa-f2edd6441cff" providerId="ADAL" clId="{FFB5BFD2-246A-034F-B635-DE62B5FCF3A6}" dt="2023-05-27T07:30:49.840" v="2" actId="478"/>
          <ac:inkMkLst>
            <pc:docMk/>
            <pc:sldMk cId="3979036142" sldId="296"/>
            <ac:inkMk id="33" creationId="{F695E4F5-683A-ECCA-902E-A48CA8895878}"/>
          </ac:inkMkLst>
        </pc:inkChg>
        <pc:inkChg chg="del">
          <ac:chgData name="Aniket Chhabra" userId="598e0514-bef3-4e71-b6aa-f2edd6441cff" providerId="ADAL" clId="{FFB5BFD2-246A-034F-B635-DE62B5FCF3A6}" dt="2023-05-27T07:30:49.840" v="2" actId="478"/>
          <ac:inkMkLst>
            <pc:docMk/>
            <pc:sldMk cId="3979036142" sldId="296"/>
            <ac:inkMk id="34" creationId="{C631D54C-6B58-67D5-962C-B2E333263F34}"/>
          </ac:inkMkLst>
        </pc:inkChg>
        <pc:inkChg chg="add mod">
          <ac:chgData name="Aniket Chhabra" userId="598e0514-bef3-4e71-b6aa-f2edd6441cff" providerId="ADAL" clId="{FFB5BFD2-246A-034F-B635-DE62B5FCF3A6}" dt="2023-06-03T15:42:49.808" v="1365"/>
          <ac:inkMkLst>
            <pc:docMk/>
            <pc:sldMk cId="3979036142" sldId="296"/>
            <ac:inkMk id="34" creationId="{C7E0443A-0850-1B4A-65E5-E794157D710F}"/>
          </ac:inkMkLst>
        </pc:inkChg>
        <pc:inkChg chg="add mod">
          <ac:chgData name="Aniket Chhabra" userId="598e0514-bef3-4e71-b6aa-f2edd6441cff" providerId="ADAL" clId="{FFB5BFD2-246A-034F-B635-DE62B5FCF3A6}" dt="2023-06-03T15:42:49.808" v="1365"/>
          <ac:inkMkLst>
            <pc:docMk/>
            <pc:sldMk cId="3979036142" sldId="296"/>
            <ac:inkMk id="35" creationId="{964EDBEB-71F9-DE53-E01B-D6379DA94E61}"/>
          </ac:inkMkLst>
        </pc:inkChg>
        <pc:inkChg chg="del">
          <ac:chgData name="Aniket Chhabra" userId="598e0514-bef3-4e71-b6aa-f2edd6441cff" providerId="ADAL" clId="{FFB5BFD2-246A-034F-B635-DE62B5FCF3A6}" dt="2023-05-27T07:30:49.840" v="2" actId="478"/>
          <ac:inkMkLst>
            <pc:docMk/>
            <pc:sldMk cId="3979036142" sldId="296"/>
            <ac:inkMk id="35" creationId="{B0A6545F-74E2-A803-8E02-E3CB09D6FB87}"/>
          </ac:inkMkLst>
        </pc:inkChg>
        <pc:inkChg chg="del">
          <ac:chgData name="Aniket Chhabra" userId="598e0514-bef3-4e71-b6aa-f2edd6441cff" providerId="ADAL" clId="{FFB5BFD2-246A-034F-B635-DE62B5FCF3A6}" dt="2023-05-27T07:30:49.840" v="2" actId="478"/>
          <ac:inkMkLst>
            <pc:docMk/>
            <pc:sldMk cId="3979036142" sldId="296"/>
            <ac:inkMk id="36" creationId="{2C62D1C1-B323-3E9C-3711-4ECEBBA0D96E}"/>
          </ac:inkMkLst>
        </pc:inkChg>
        <pc:inkChg chg="add mod">
          <ac:chgData name="Aniket Chhabra" userId="598e0514-bef3-4e71-b6aa-f2edd6441cff" providerId="ADAL" clId="{FFB5BFD2-246A-034F-B635-DE62B5FCF3A6}" dt="2023-06-03T15:42:49.808" v="1365"/>
          <ac:inkMkLst>
            <pc:docMk/>
            <pc:sldMk cId="3979036142" sldId="296"/>
            <ac:inkMk id="36" creationId="{6B7D3EB8-E0F5-1F97-F51A-36319756584C}"/>
          </ac:inkMkLst>
        </pc:inkChg>
        <pc:inkChg chg="del">
          <ac:chgData name="Aniket Chhabra" userId="598e0514-bef3-4e71-b6aa-f2edd6441cff" providerId="ADAL" clId="{FFB5BFD2-246A-034F-B635-DE62B5FCF3A6}" dt="2023-05-27T07:30:49.840" v="2" actId="478"/>
          <ac:inkMkLst>
            <pc:docMk/>
            <pc:sldMk cId="3979036142" sldId="296"/>
            <ac:inkMk id="37" creationId="{9D1E68B2-BCDB-715C-7147-ACF164EED1EC}"/>
          </ac:inkMkLst>
        </pc:inkChg>
        <pc:inkChg chg="add mod">
          <ac:chgData name="Aniket Chhabra" userId="598e0514-bef3-4e71-b6aa-f2edd6441cff" providerId="ADAL" clId="{FFB5BFD2-246A-034F-B635-DE62B5FCF3A6}" dt="2023-06-03T15:42:49.808" v="1365"/>
          <ac:inkMkLst>
            <pc:docMk/>
            <pc:sldMk cId="3979036142" sldId="296"/>
            <ac:inkMk id="37" creationId="{C239D223-486F-7FD6-7070-DC12025023D8}"/>
          </ac:inkMkLst>
        </pc:inkChg>
        <pc:inkChg chg="add mod">
          <ac:chgData name="Aniket Chhabra" userId="598e0514-bef3-4e71-b6aa-f2edd6441cff" providerId="ADAL" clId="{FFB5BFD2-246A-034F-B635-DE62B5FCF3A6}" dt="2023-06-03T15:42:49.808" v="1365"/>
          <ac:inkMkLst>
            <pc:docMk/>
            <pc:sldMk cId="3979036142" sldId="296"/>
            <ac:inkMk id="38" creationId="{38FAEBDF-B4D2-09C8-B7E0-E1BE3780CA11}"/>
          </ac:inkMkLst>
        </pc:inkChg>
        <pc:inkChg chg="del">
          <ac:chgData name="Aniket Chhabra" userId="598e0514-bef3-4e71-b6aa-f2edd6441cff" providerId="ADAL" clId="{FFB5BFD2-246A-034F-B635-DE62B5FCF3A6}" dt="2023-05-27T07:30:49.840" v="2" actId="478"/>
          <ac:inkMkLst>
            <pc:docMk/>
            <pc:sldMk cId="3979036142" sldId="296"/>
            <ac:inkMk id="39" creationId="{4A85E728-226D-E8C3-F8FC-ADC59FF2D415}"/>
          </ac:inkMkLst>
        </pc:inkChg>
        <pc:inkChg chg="add mod">
          <ac:chgData name="Aniket Chhabra" userId="598e0514-bef3-4e71-b6aa-f2edd6441cff" providerId="ADAL" clId="{FFB5BFD2-246A-034F-B635-DE62B5FCF3A6}" dt="2023-06-03T15:42:49.808" v="1365"/>
          <ac:inkMkLst>
            <pc:docMk/>
            <pc:sldMk cId="3979036142" sldId="296"/>
            <ac:inkMk id="39" creationId="{567DC75C-1F6E-B108-BD11-B616E84FE551}"/>
          </ac:inkMkLst>
        </pc:inkChg>
        <pc:inkChg chg="del">
          <ac:chgData name="Aniket Chhabra" userId="598e0514-bef3-4e71-b6aa-f2edd6441cff" providerId="ADAL" clId="{FFB5BFD2-246A-034F-B635-DE62B5FCF3A6}" dt="2023-05-27T07:30:49.840" v="2" actId="478"/>
          <ac:inkMkLst>
            <pc:docMk/>
            <pc:sldMk cId="3979036142" sldId="296"/>
            <ac:inkMk id="40" creationId="{56BAB4CE-553B-27EE-BE21-CE58A45E9B32}"/>
          </ac:inkMkLst>
        </pc:inkChg>
        <pc:inkChg chg="add mod">
          <ac:chgData name="Aniket Chhabra" userId="598e0514-bef3-4e71-b6aa-f2edd6441cff" providerId="ADAL" clId="{FFB5BFD2-246A-034F-B635-DE62B5FCF3A6}" dt="2023-06-03T15:42:49.808" v="1365"/>
          <ac:inkMkLst>
            <pc:docMk/>
            <pc:sldMk cId="3979036142" sldId="296"/>
            <ac:inkMk id="40" creationId="{AA8EA3B3-26C5-DFB6-B6C6-C117AA2846DE}"/>
          </ac:inkMkLst>
        </pc:inkChg>
        <pc:inkChg chg="del">
          <ac:chgData name="Aniket Chhabra" userId="598e0514-bef3-4e71-b6aa-f2edd6441cff" providerId="ADAL" clId="{FFB5BFD2-246A-034F-B635-DE62B5FCF3A6}" dt="2023-05-27T07:30:49.840" v="2" actId="478"/>
          <ac:inkMkLst>
            <pc:docMk/>
            <pc:sldMk cId="3979036142" sldId="296"/>
            <ac:inkMk id="41" creationId="{4B1FD35F-29EA-1656-A7B3-9E68A36341AE}"/>
          </ac:inkMkLst>
        </pc:inkChg>
        <pc:inkChg chg="del">
          <ac:chgData name="Aniket Chhabra" userId="598e0514-bef3-4e71-b6aa-f2edd6441cff" providerId="ADAL" clId="{FFB5BFD2-246A-034F-B635-DE62B5FCF3A6}" dt="2023-05-27T07:30:49.840" v="2" actId="478"/>
          <ac:inkMkLst>
            <pc:docMk/>
            <pc:sldMk cId="3979036142" sldId="296"/>
            <ac:inkMk id="42" creationId="{0B19DDA6-74B5-7D4C-AD26-3A41CA3B487F}"/>
          </ac:inkMkLst>
        </pc:inkChg>
        <pc:inkChg chg="add mod">
          <ac:chgData name="Aniket Chhabra" userId="598e0514-bef3-4e71-b6aa-f2edd6441cff" providerId="ADAL" clId="{FFB5BFD2-246A-034F-B635-DE62B5FCF3A6}" dt="2023-06-03T15:42:49.808" v="1365"/>
          <ac:inkMkLst>
            <pc:docMk/>
            <pc:sldMk cId="3979036142" sldId="296"/>
            <ac:inkMk id="42" creationId="{6229B314-1D88-DC05-979D-149EAC9D8E95}"/>
          </ac:inkMkLst>
        </pc:inkChg>
        <pc:inkChg chg="add mod">
          <ac:chgData name="Aniket Chhabra" userId="598e0514-bef3-4e71-b6aa-f2edd6441cff" providerId="ADAL" clId="{FFB5BFD2-246A-034F-B635-DE62B5FCF3A6}" dt="2023-06-03T15:42:49.808" v="1365"/>
          <ac:inkMkLst>
            <pc:docMk/>
            <pc:sldMk cId="3979036142" sldId="296"/>
            <ac:inkMk id="43" creationId="{D6007614-9689-9D4E-B4F5-52D0693BFD07}"/>
          </ac:inkMkLst>
        </pc:inkChg>
        <pc:inkChg chg="del">
          <ac:chgData name="Aniket Chhabra" userId="598e0514-bef3-4e71-b6aa-f2edd6441cff" providerId="ADAL" clId="{FFB5BFD2-246A-034F-B635-DE62B5FCF3A6}" dt="2023-05-27T07:30:49.840" v="2" actId="478"/>
          <ac:inkMkLst>
            <pc:docMk/>
            <pc:sldMk cId="3979036142" sldId="296"/>
            <ac:inkMk id="43" creationId="{F1A51706-EEEB-6767-292D-1D695A3DEF84}"/>
          </ac:inkMkLst>
        </pc:inkChg>
        <pc:inkChg chg="add mod">
          <ac:chgData name="Aniket Chhabra" userId="598e0514-bef3-4e71-b6aa-f2edd6441cff" providerId="ADAL" clId="{FFB5BFD2-246A-034F-B635-DE62B5FCF3A6}" dt="2023-06-03T15:42:49.808" v="1365"/>
          <ac:inkMkLst>
            <pc:docMk/>
            <pc:sldMk cId="3979036142" sldId="296"/>
            <ac:inkMk id="44" creationId="{348F49D7-1CD5-23C5-3911-685DC040D02C}"/>
          </ac:inkMkLst>
        </pc:inkChg>
        <pc:inkChg chg="del">
          <ac:chgData name="Aniket Chhabra" userId="598e0514-bef3-4e71-b6aa-f2edd6441cff" providerId="ADAL" clId="{FFB5BFD2-246A-034F-B635-DE62B5FCF3A6}" dt="2023-05-27T07:30:49.840" v="2" actId="478"/>
          <ac:inkMkLst>
            <pc:docMk/>
            <pc:sldMk cId="3979036142" sldId="296"/>
            <ac:inkMk id="44" creationId="{6EE5C348-7BEC-F09D-CDEE-21A383144A89}"/>
          </ac:inkMkLst>
        </pc:inkChg>
        <pc:inkChg chg="del">
          <ac:chgData name="Aniket Chhabra" userId="598e0514-bef3-4e71-b6aa-f2edd6441cff" providerId="ADAL" clId="{FFB5BFD2-246A-034F-B635-DE62B5FCF3A6}" dt="2023-05-27T07:30:49.840" v="2" actId="478"/>
          <ac:inkMkLst>
            <pc:docMk/>
            <pc:sldMk cId="3979036142" sldId="296"/>
            <ac:inkMk id="45" creationId="{07A4B057-D632-ADE7-EF9F-0848F0466BED}"/>
          </ac:inkMkLst>
        </pc:inkChg>
        <pc:inkChg chg="del">
          <ac:chgData name="Aniket Chhabra" userId="598e0514-bef3-4e71-b6aa-f2edd6441cff" providerId="ADAL" clId="{FFB5BFD2-246A-034F-B635-DE62B5FCF3A6}" dt="2023-05-27T07:30:49.840" v="2" actId="478"/>
          <ac:inkMkLst>
            <pc:docMk/>
            <pc:sldMk cId="3979036142" sldId="296"/>
            <ac:inkMk id="46" creationId="{2B17E6C3-9E26-2295-B496-3871B7E6919C}"/>
          </ac:inkMkLst>
        </pc:inkChg>
        <pc:inkChg chg="del">
          <ac:chgData name="Aniket Chhabra" userId="598e0514-bef3-4e71-b6aa-f2edd6441cff" providerId="ADAL" clId="{FFB5BFD2-246A-034F-B635-DE62B5FCF3A6}" dt="2023-05-27T07:30:49.840" v="2" actId="478"/>
          <ac:inkMkLst>
            <pc:docMk/>
            <pc:sldMk cId="3979036142" sldId="296"/>
            <ac:inkMk id="49" creationId="{74B5E1C9-6BE8-6927-2FBE-97B144234930}"/>
          </ac:inkMkLst>
        </pc:inkChg>
        <pc:inkChg chg="del">
          <ac:chgData name="Aniket Chhabra" userId="598e0514-bef3-4e71-b6aa-f2edd6441cff" providerId="ADAL" clId="{FFB5BFD2-246A-034F-B635-DE62B5FCF3A6}" dt="2023-05-27T07:30:49.840" v="2" actId="478"/>
          <ac:inkMkLst>
            <pc:docMk/>
            <pc:sldMk cId="3979036142" sldId="296"/>
            <ac:inkMk id="50" creationId="{25558204-1B4A-BD82-D1B0-676AA96E503E}"/>
          </ac:inkMkLst>
        </pc:inkChg>
        <pc:inkChg chg="del">
          <ac:chgData name="Aniket Chhabra" userId="598e0514-bef3-4e71-b6aa-f2edd6441cff" providerId="ADAL" clId="{FFB5BFD2-246A-034F-B635-DE62B5FCF3A6}" dt="2023-05-27T07:30:49.840" v="2" actId="478"/>
          <ac:inkMkLst>
            <pc:docMk/>
            <pc:sldMk cId="3979036142" sldId="296"/>
            <ac:inkMk id="51" creationId="{E5FA715D-8EAA-394E-43F5-48B882658639}"/>
          </ac:inkMkLst>
        </pc:inkChg>
        <pc:inkChg chg="del">
          <ac:chgData name="Aniket Chhabra" userId="598e0514-bef3-4e71-b6aa-f2edd6441cff" providerId="ADAL" clId="{FFB5BFD2-246A-034F-B635-DE62B5FCF3A6}" dt="2023-05-27T07:30:49.840" v="2" actId="478"/>
          <ac:inkMkLst>
            <pc:docMk/>
            <pc:sldMk cId="3979036142" sldId="296"/>
            <ac:inkMk id="52" creationId="{40C70AE5-83DD-E89A-78A8-A6696132EA3D}"/>
          </ac:inkMkLst>
        </pc:inkChg>
        <pc:inkChg chg="del">
          <ac:chgData name="Aniket Chhabra" userId="598e0514-bef3-4e71-b6aa-f2edd6441cff" providerId="ADAL" clId="{FFB5BFD2-246A-034F-B635-DE62B5FCF3A6}" dt="2023-05-27T07:30:49.840" v="2" actId="478"/>
          <ac:inkMkLst>
            <pc:docMk/>
            <pc:sldMk cId="3979036142" sldId="296"/>
            <ac:inkMk id="53" creationId="{E54F1BAC-2C70-0EC5-D15B-AFB8187CBF08}"/>
          </ac:inkMkLst>
        </pc:inkChg>
        <pc:inkChg chg="del">
          <ac:chgData name="Aniket Chhabra" userId="598e0514-bef3-4e71-b6aa-f2edd6441cff" providerId="ADAL" clId="{FFB5BFD2-246A-034F-B635-DE62B5FCF3A6}" dt="2023-05-27T07:30:49.840" v="2" actId="478"/>
          <ac:inkMkLst>
            <pc:docMk/>
            <pc:sldMk cId="3979036142" sldId="296"/>
            <ac:inkMk id="54" creationId="{C10CAA9F-87BC-38E7-C080-6B1419E4D44D}"/>
          </ac:inkMkLst>
        </pc:inkChg>
        <pc:inkChg chg="del">
          <ac:chgData name="Aniket Chhabra" userId="598e0514-bef3-4e71-b6aa-f2edd6441cff" providerId="ADAL" clId="{FFB5BFD2-246A-034F-B635-DE62B5FCF3A6}" dt="2023-05-27T07:30:49.840" v="2" actId="478"/>
          <ac:inkMkLst>
            <pc:docMk/>
            <pc:sldMk cId="3979036142" sldId="296"/>
            <ac:inkMk id="55" creationId="{2FA10A6C-FF2F-8518-047A-AB337E7101E0}"/>
          </ac:inkMkLst>
        </pc:inkChg>
        <pc:inkChg chg="del">
          <ac:chgData name="Aniket Chhabra" userId="598e0514-bef3-4e71-b6aa-f2edd6441cff" providerId="ADAL" clId="{FFB5BFD2-246A-034F-B635-DE62B5FCF3A6}" dt="2023-05-27T07:30:49.840" v="2" actId="478"/>
          <ac:inkMkLst>
            <pc:docMk/>
            <pc:sldMk cId="3979036142" sldId="296"/>
            <ac:inkMk id="56" creationId="{97E69C6C-0702-EC6F-FCD7-DD7EA31CCFE8}"/>
          </ac:inkMkLst>
        </pc:inkChg>
        <pc:inkChg chg="del">
          <ac:chgData name="Aniket Chhabra" userId="598e0514-bef3-4e71-b6aa-f2edd6441cff" providerId="ADAL" clId="{FFB5BFD2-246A-034F-B635-DE62B5FCF3A6}" dt="2023-05-27T07:30:49.840" v="2" actId="478"/>
          <ac:inkMkLst>
            <pc:docMk/>
            <pc:sldMk cId="3979036142" sldId="296"/>
            <ac:inkMk id="57" creationId="{BC0092B1-AF82-CDF7-B08E-5BBD4FB36ED7}"/>
          </ac:inkMkLst>
        </pc:inkChg>
        <pc:inkChg chg="del">
          <ac:chgData name="Aniket Chhabra" userId="598e0514-bef3-4e71-b6aa-f2edd6441cff" providerId="ADAL" clId="{FFB5BFD2-246A-034F-B635-DE62B5FCF3A6}" dt="2023-05-27T07:30:49.840" v="2" actId="478"/>
          <ac:inkMkLst>
            <pc:docMk/>
            <pc:sldMk cId="3979036142" sldId="296"/>
            <ac:inkMk id="59" creationId="{8B08C0D5-95A8-BD2E-5FD4-293872238B00}"/>
          </ac:inkMkLst>
        </pc:inkChg>
        <pc:inkChg chg="del">
          <ac:chgData name="Aniket Chhabra" userId="598e0514-bef3-4e71-b6aa-f2edd6441cff" providerId="ADAL" clId="{FFB5BFD2-246A-034F-B635-DE62B5FCF3A6}" dt="2023-05-27T07:30:49.840" v="2" actId="478"/>
          <ac:inkMkLst>
            <pc:docMk/>
            <pc:sldMk cId="3979036142" sldId="296"/>
            <ac:inkMk id="60" creationId="{9E7721D6-A733-0829-18C5-B9401887EC92}"/>
          </ac:inkMkLst>
        </pc:inkChg>
        <pc:inkChg chg="del">
          <ac:chgData name="Aniket Chhabra" userId="598e0514-bef3-4e71-b6aa-f2edd6441cff" providerId="ADAL" clId="{FFB5BFD2-246A-034F-B635-DE62B5FCF3A6}" dt="2023-05-27T07:30:49.840" v="2" actId="478"/>
          <ac:inkMkLst>
            <pc:docMk/>
            <pc:sldMk cId="3979036142" sldId="296"/>
            <ac:inkMk id="61" creationId="{66642D38-6AF7-BC57-689E-9EFB8D7BEDBA}"/>
          </ac:inkMkLst>
        </pc:inkChg>
        <pc:inkChg chg="del">
          <ac:chgData name="Aniket Chhabra" userId="598e0514-bef3-4e71-b6aa-f2edd6441cff" providerId="ADAL" clId="{FFB5BFD2-246A-034F-B635-DE62B5FCF3A6}" dt="2023-05-27T07:30:49.840" v="2" actId="478"/>
          <ac:inkMkLst>
            <pc:docMk/>
            <pc:sldMk cId="3979036142" sldId="296"/>
            <ac:inkMk id="63" creationId="{ED98CB38-6C2C-EF25-0607-093E8661167D}"/>
          </ac:inkMkLst>
        </pc:inkChg>
        <pc:inkChg chg="del">
          <ac:chgData name="Aniket Chhabra" userId="598e0514-bef3-4e71-b6aa-f2edd6441cff" providerId="ADAL" clId="{FFB5BFD2-246A-034F-B635-DE62B5FCF3A6}" dt="2023-05-27T07:30:49.840" v="2" actId="478"/>
          <ac:inkMkLst>
            <pc:docMk/>
            <pc:sldMk cId="3979036142" sldId="296"/>
            <ac:inkMk id="64" creationId="{BE360DD8-79CE-C17C-4FEA-8E4C124909DD}"/>
          </ac:inkMkLst>
        </pc:inkChg>
        <pc:inkChg chg="del">
          <ac:chgData name="Aniket Chhabra" userId="598e0514-bef3-4e71-b6aa-f2edd6441cff" providerId="ADAL" clId="{FFB5BFD2-246A-034F-B635-DE62B5FCF3A6}" dt="2023-05-27T07:30:49.840" v="2" actId="478"/>
          <ac:inkMkLst>
            <pc:docMk/>
            <pc:sldMk cId="3979036142" sldId="296"/>
            <ac:inkMk id="66" creationId="{A1084DDB-5634-BDB4-1D22-B9352F1BFDF8}"/>
          </ac:inkMkLst>
        </pc:inkChg>
        <pc:inkChg chg="del">
          <ac:chgData name="Aniket Chhabra" userId="598e0514-bef3-4e71-b6aa-f2edd6441cff" providerId="ADAL" clId="{FFB5BFD2-246A-034F-B635-DE62B5FCF3A6}" dt="2023-05-27T07:30:49.840" v="2" actId="478"/>
          <ac:inkMkLst>
            <pc:docMk/>
            <pc:sldMk cId="3979036142" sldId="296"/>
            <ac:inkMk id="67" creationId="{4EBEADF0-DE04-CA47-0675-BC8A67FB96D1}"/>
          </ac:inkMkLst>
        </pc:inkChg>
        <pc:inkChg chg="del">
          <ac:chgData name="Aniket Chhabra" userId="598e0514-bef3-4e71-b6aa-f2edd6441cff" providerId="ADAL" clId="{FFB5BFD2-246A-034F-B635-DE62B5FCF3A6}" dt="2023-05-27T07:30:49.840" v="2" actId="478"/>
          <ac:inkMkLst>
            <pc:docMk/>
            <pc:sldMk cId="3979036142" sldId="296"/>
            <ac:inkMk id="69" creationId="{B362FB94-F365-C9C3-2D3C-750C7788B5E0}"/>
          </ac:inkMkLst>
        </pc:inkChg>
        <pc:inkChg chg="del">
          <ac:chgData name="Aniket Chhabra" userId="598e0514-bef3-4e71-b6aa-f2edd6441cff" providerId="ADAL" clId="{FFB5BFD2-246A-034F-B635-DE62B5FCF3A6}" dt="2023-05-27T07:30:49.840" v="2" actId="478"/>
          <ac:inkMkLst>
            <pc:docMk/>
            <pc:sldMk cId="3979036142" sldId="296"/>
            <ac:inkMk id="70" creationId="{361D7069-7F84-E44B-0566-CE3BCB4A97CC}"/>
          </ac:inkMkLst>
        </pc:inkChg>
        <pc:inkChg chg="del">
          <ac:chgData name="Aniket Chhabra" userId="598e0514-bef3-4e71-b6aa-f2edd6441cff" providerId="ADAL" clId="{FFB5BFD2-246A-034F-B635-DE62B5FCF3A6}" dt="2023-05-27T07:30:49.840" v="2" actId="478"/>
          <ac:inkMkLst>
            <pc:docMk/>
            <pc:sldMk cId="3979036142" sldId="296"/>
            <ac:inkMk id="71" creationId="{995A6BF9-124E-7DFA-32E4-D496EEF68E6A}"/>
          </ac:inkMkLst>
        </pc:inkChg>
        <pc:inkChg chg="del">
          <ac:chgData name="Aniket Chhabra" userId="598e0514-bef3-4e71-b6aa-f2edd6441cff" providerId="ADAL" clId="{FFB5BFD2-246A-034F-B635-DE62B5FCF3A6}" dt="2023-05-27T07:30:49.840" v="2" actId="478"/>
          <ac:inkMkLst>
            <pc:docMk/>
            <pc:sldMk cId="3979036142" sldId="296"/>
            <ac:inkMk id="72" creationId="{7F22940B-F727-BDE0-F40F-7A4BF22F2479}"/>
          </ac:inkMkLst>
        </pc:inkChg>
        <pc:inkChg chg="del">
          <ac:chgData name="Aniket Chhabra" userId="598e0514-bef3-4e71-b6aa-f2edd6441cff" providerId="ADAL" clId="{FFB5BFD2-246A-034F-B635-DE62B5FCF3A6}" dt="2023-05-27T07:30:49.840" v="2" actId="478"/>
          <ac:inkMkLst>
            <pc:docMk/>
            <pc:sldMk cId="3979036142" sldId="296"/>
            <ac:inkMk id="73" creationId="{1E2769AC-44AA-8E9A-E60E-8AEDDC61C25F}"/>
          </ac:inkMkLst>
        </pc:inkChg>
        <pc:inkChg chg="del">
          <ac:chgData name="Aniket Chhabra" userId="598e0514-bef3-4e71-b6aa-f2edd6441cff" providerId="ADAL" clId="{FFB5BFD2-246A-034F-B635-DE62B5FCF3A6}" dt="2023-05-27T07:30:49.840" v="2" actId="478"/>
          <ac:inkMkLst>
            <pc:docMk/>
            <pc:sldMk cId="3979036142" sldId="296"/>
            <ac:inkMk id="74" creationId="{384BD750-4209-8409-7D8C-95DE4B29EB4A}"/>
          </ac:inkMkLst>
        </pc:inkChg>
        <pc:inkChg chg="del">
          <ac:chgData name="Aniket Chhabra" userId="598e0514-bef3-4e71-b6aa-f2edd6441cff" providerId="ADAL" clId="{FFB5BFD2-246A-034F-B635-DE62B5FCF3A6}" dt="2023-05-27T07:30:49.840" v="2" actId="478"/>
          <ac:inkMkLst>
            <pc:docMk/>
            <pc:sldMk cId="3979036142" sldId="296"/>
            <ac:inkMk id="75" creationId="{0E27EA64-07E7-C583-CFDC-9F55BDCA71A1}"/>
          </ac:inkMkLst>
        </pc:inkChg>
        <pc:inkChg chg="del">
          <ac:chgData name="Aniket Chhabra" userId="598e0514-bef3-4e71-b6aa-f2edd6441cff" providerId="ADAL" clId="{FFB5BFD2-246A-034F-B635-DE62B5FCF3A6}" dt="2023-05-27T07:30:49.840" v="2" actId="478"/>
          <ac:inkMkLst>
            <pc:docMk/>
            <pc:sldMk cId="3979036142" sldId="296"/>
            <ac:inkMk id="76" creationId="{27D9109B-3D25-1249-E42F-1B555D36C8BA}"/>
          </ac:inkMkLst>
        </pc:inkChg>
        <pc:inkChg chg="del">
          <ac:chgData name="Aniket Chhabra" userId="598e0514-bef3-4e71-b6aa-f2edd6441cff" providerId="ADAL" clId="{FFB5BFD2-246A-034F-B635-DE62B5FCF3A6}" dt="2023-05-27T07:30:49.840" v="2" actId="478"/>
          <ac:inkMkLst>
            <pc:docMk/>
            <pc:sldMk cId="3979036142" sldId="296"/>
            <ac:inkMk id="77" creationId="{9DCAE092-2C58-4E31-176D-5F9B312A035E}"/>
          </ac:inkMkLst>
        </pc:inkChg>
        <pc:inkChg chg="del">
          <ac:chgData name="Aniket Chhabra" userId="598e0514-bef3-4e71-b6aa-f2edd6441cff" providerId="ADAL" clId="{FFB5BFD2-246A-034F-B635-DE62B5FCF3A6}" dt="2023-05-27T07:30:49.840" v="2" actId="478"/>
          <ac:inkMkLst>
            <pc:docMk/>
            <pc:sldMk cId="3979036142" sldId="296"/>
            <ac:inkMk id="78" creationId="{4F9110D1-7929-87D6-9139-F766B8BB8F81}"/>
          </ac:inkMkLst>
        </pc:inkChg>
        <pc:inkChg chg="del">
          <ac:chgData name="Aniket Chhabra" userId="598e0514-bef3-4e71-b6aa-f2edd6441cff" providerId="ADAL" clId="{FFB5BFD2-246A-034F-B635-DE62B5FCF3A6}" dt="2023-05-27T07:30:49.840" v="2" actId="478"/>
          <ac:inkMkLst>
            <pc:docMk/>
            <pc:sldMk cId="3979036142" sldId="296"/>
            <ac:inkMk id="79" creationId="{C0B4D498-8536-524D-4162-C52F9B4B3BC3}"/>
          </ac:inkMkLst>
        </pc:inkChg>
        <pc:inkChg chg="del">
          <ac:chgData name="Aniket Chhabra" userId="598e0514-bef3-4e71-b6aa-f2edd6441cff" providerId="ADAL" clId="{FFB5BFD2-246A-034F-B635-DE62B5FCF3A6}" dt="2023-05-27T07:30:49.840" v="2" actId="478"/>
          <ac:inkMkLst>
            <pc:docMk/>
            <pc:sldMk cId="3979036142" sldId="296"/>
            <ac:inkMk id="80" creationId="{ECB4C4F9-9000-1125-AA15-0BFBC78E166D}"/>
          </ac:inkMkLst>
        </pc:inkChg>
        <pc:inkChg chg="del">
          <ac:chgData name="Aniket Chhabra" userId="598e0514-bef3-4e71-b6aa-f2edd6441cff" providerId="ADAL" clId="{FFB5BFD2-246A-034F-B635-DE62B5FCF3A6}" dt="2023-05-27T07:30:49.840" v="2" actId="478"/>
          <ac:inkMkLst>
            <pc:docMk/>
            <pc:sldMk cId="3979036142" sldId="296"/>
            <ac:inkMk id="83" creationId="{627324B4-BF68-6AF4-7212-1D04B724ECCC}"/>
          </ac:inkMkLst>
        </pc:inkChg>
        <pc:inkChg chg="del">
          <ac:chgData name="Aniket Chhabra" userId="598e0514-bef3-4e71-b6aa-f2edd6441cff" providerId="ADAL" clId="{FFB5BFD2-246A-034F-B635-DE62B5FCF3A6}" dt="2023-05-27T07:30:49.840" v="2" actId="478"/>
          <ac:inkMkLst>
            <pc:docMk/>
            <pc:sldMk cId="3979036142" sldId="296"/>
            <ac:inkMk id="84" creationId="{B624ECB0-8BE9-F1FC-7038-DF1D0F97D5BC}"/>
          </ac:inkMkLst>
        </pc:inkChg>
        <pc:inkChg chg="del">
          <ac:chgData name="Aniket Chhabra" userId="598e0514-bef3-4e71-b6aa-f2edd6441cff" providerId="ADAL" clId="{FFB5BFD2-246A-034F-B635-DE62B5FCF3A6}" dt="2023-05-27T07:30:49.840" v="2" actId="478"/>
          <ac:inkMkLst>
            <pc:docMk/>
            <pc:sldMk cId="3979036142" sldId="296"/>
            <ac:inkMk id="85" creationId="{398F285E-85F1-D969-2EBB-9EAA10076C9F}"/>
          </ac:inkMkLst>
        </pc:inkChg>
        <pc:inkChg chg="del">
          <ac:chgData name="Aniket Chhabra" userId="598e0514-bef3-4e71-b6aa-f2edd6441cff" providerId="ADAL" clId="{FFB5BFD2-246A-034F-B635-DE62B5FCF3A6}" dt="2023-05-27T07:30:49.840" v="2" actId="478"/>
          <ac:inkMkLst>
            <pc:docMk/>
            <pc:sldMk cId="3979036142" sldId="296"/>
            <ac:inkMk id="86" creationId="{72229D19-E0EF-B579-8585-2CA74B67D23F}"/>
          </ac:inkMkLst>
        </pc:inkChg>
        <pc:inkChg chg="del">
          <ac:chgData name="Aniket Chhabra" userId="598e0514-bef3-4e71-b6aa-f2edd6441cff" providerId="ADAL" clId="{FFB5BFD2-246A-034F-B635-DE62B5FCF3A6}" dt="2023-05-27T07:30:49.840" v="2" actId="478"/>
          <ac:inkMkLst>
            <pc:docMk/>
            <pc:sldMk cId="3979036142" sldId="296"/>
            <ac:inkMk id="87" creationId="{0C78978A-7E95-569E-39C3-7611C47C71E2}"/>
          </ac:inkMkLst>
        </pc:inkChg>
        <pc:inkChg chg="del">
          <ac:chgData name="Aniket Chhabra" userId="598e0514-bef3-4e71-b6aa-f2edd6441cff" providerId="ADAL" clId="{FFB5BFD2-246A-034F-B635-DE62B5FCF3A6}" dt="2023-05-27T07:30:49.840" v="2" actId="478"/>
          <ac:inkMkLst>
            <pc:docMk/>
            <pc:sldMk cId="3979036142" sldId="296"/>
            <ac:inkMk id="88" creationId="{A23C5ADF-ADA9-B230-B57E-544EA23EF036}"/>
          </ac:inkMkLst>
        </pc:inkChg>
        <pc:inkChg chg="del">
          <ac:chgData name="Aniket Chhabra" userId="598e0514-bef3-4e71-b6aa-f2edd6441cff" providerId="ADAL" clId="{FFB5BFD2-246A-034F-B635-DE62B5FCF3A6}" dt="2023-05-27T07:30:49.840" v="2" actId="478"/>
          <ac:inkMkLst>
            <pc:docMk/>
            <pc:sldMk cId="3979036142" sldId="296"/>
            <ac:inkMk id="89" creationId="{8F1C9229-EE51-5C20-B581-2A2782C1B407}"/>
          </ac:inkMkLst>
        </pc:inkChg>
        <pc:inkChg chg="del">
          <ac:chgData name="Aniket Chhabra" userId="598e0514-bef3-4e71-b6aa-f2edd6441cff" providerId="ADAL" clId="{FFB5BFD2-246A-034F-B635-DE62B5FCF3A6}" dt="2023-05-27T07:30:49.840" v="2" actId="478"/>
          <ac:inkMkLst>
            <pc:docMk/>
            <pc:sldMk cId="3979036142" sldId="296"/>
            <ac:inkMk id="90" creationId="{A7103EC1-29F8-AFBB-8CAD-EA7899F9815D}"/>
          </ac:inkMkLst>
        </pc:inkChg>
        <pc:inkChg chg="del">
          <ac:chgData name="Aniket Chhabra" userId="598e0514-bef3-4e71-b6aa-f2edd6441cff" providerId="ADAL" clId="{FFB5BFD2-246A-034F-B635-DE62B5FCF3A6}" dt="2023-05-27T07:30:49.840" v="2" actId="478"/>
          <ac:inkMkLst>
            <pc:docMk/>
            <pc:sldMk cId="3979036142" sldId="296"/>
            <ac:inkMk id="91" creationId="{7DC1B667-44FB-0A34-43F9-F0BC6027878B}"/>
          </ac:inkMkLst>
        </pc:inkChg>
        <pc:inkChg chg="del">
          <ac:chgData name="Aniket Chhabra" userId="598e0514-bef3-4e71-b6aa-f2edd6441cff" providerId="ADAL" clId="{FFB5BFD2-246A-034F-B635-DE62B5FCF3A6}" dt="2023-05-27T07:30:49.840" v="2" actId="478"/>
          <ac:inkMkLst>
            <pc:docMk/>
            <pc:sldMk cId="3979036142" sldId="296"/>
            <ac:inkMk id="92" creationId="{84CE8DF4-DDB6-8081-E349-1BE62EA10EED}"/>
          </ac:inkMkLst>
        </pc:inkChg>
        <pc:inkChg chg="del">
          <ac:chgData name="Aniket Chhabra" userId="598e0514-bef3-4e71-b6aa-f2edd6441cff" providerId="ADAL" clId="{FFB5BFD2-246A-034F-B635-DE62B5FCF3A6}" dt="2023-05-27T07:30:49.840" v="2" actId="478"/>
          <ac:inkMkLst>
            <pc:docMk/>
            <pc:sldMk cId="3979036142" sldId="296"/>
            <ac:inkMk id="93" creationId="{241060A5-6143-5323-67B2-51BDA648F0DA}"/>
          </ac:inkMkLst>
        </pc:inkChg>
        <pc:inkChg chg="del">
          <ac:chgData name="Aniket Chhabra" userId="598e0514-bef3-4e71-b6aa-f2edd6441cff" providerId="ADAL" clId="{FFB5BFD2-246A-034F-B635-DE62B5FCF3A6}" dt="2023-05-27T07:30:49.840" v="2" actId="478"/>
          <ac:inkMkLst>
            <pc:docMk/>
            <pc:sldMk cId="3979036142" sldId="296"/>
            <ac:inkMk id="94" creationId="{43082363-747C-26B3-154F-5EC4980F4422}"/>
          </ac:inkMkLst>
        </pc:inkChg>
        <pc:inkChg chg="del">
          <ac:chgData name="Aniket Chhabra" userId="598e0514-bef3-4e71-b6aa-f2edd6441cff" providerId="ADAL" clId="{FFB5BFD2-246A-034F-B635-DE62B5FCF3A6}" dt="2023-05-27T07:30:49.840" v="2" actId="478"/>
          <ac:inkMkLst>
            <pc:docMk/>
            <pc:sldMk cId="3979036142" sldId="296"/>
            <ac:inkMk id="95" creationId="{3872381C-2C53-F15E-B99F-960F0351CDA5}"/>
          </ac:inkMkLst>
        </pc:inkChg>
        <pc:inkChg chg="del">
          <ac:chgData name="Aniket Chhabra" userId="598e0514-bef3-4e71-b6aa-f2edd6441cff" providerId="ADAL" clId="{FFB5BFD2-246A-034F-B635-DE62B5FCF3A6}" dt="2023-05-27T07:30:49.840" v="2" actId="478"/>
          <ac:inkMkLst>
            <pc:docMk/>
            <pc:sldMk cId="3979036142" sldId="296"/>
            <ac:inkMk id="96" creationId="{3A990038-E8B2-E519-ED7F-AC62F712D43B}"/>
          </ac:inkMkLst>
        </pc:inkChg>
        <pc:inkChg chg="del">
          <ac:chgData name="Aniket Chhabra" userId="598e0514-bef3-4e71-b6aa-f2edd6441cff" providerId="ADAL" clId="{FFB5BFD2-246A-034F-B635-DE62B5FCF3A6}" dt="2023-05-27T07:30:49.840" v="2" actId="478"/>
          <ac:inkMkLst>
            <pc:docMk/>
            <pc:sldMk cId="3979036142" sldId="296"/>
            <ac:inkMk id="97" creationId="{EAE4D36A-CF24-773D-A4E3-CB743BB1B2A6}"/>
          </ac:inkMkLst>
        </pc:inkChg>
        <pc:inkChg chg="del">
          <ac:chgData name="Aniket Chhabra" userId="598e0514-bef3-4e71-b6aa-f2edd6441cff" providerId="ADAL" clId="{FFB5BFD2-246A-034F-B635-DE62B5FCF3A6}" dt="2023-05-27T07:30:49.840" v="2" actId="478"/>
          <ac:inkMkLst>
            <pc:docMk/>
            <pc:sldMk cId="3979036142" sldId="296"/>
            <ac:inkMk id="102" creationId="{C037533D-C836-7D86-ABBE-9E26AAE9FB79}"/>
          </ac:inkMkLst>
        </pc:inkChg>
        <pc:inkChg chg="del">
          <ac:chgData name="Aniket Chhabra" userId="598e0514-bef3-4e71-b6aa-f2edd6441cff" providerId="ADAL" clId="{FFB5BFD2-246A-034F-B635-DE62B5FCF3A6}" dt="2023-05-27T07:30:49.840" v="2" actId="478"/>
          <ac:inkMkLst>
            <pc:docMk/>
            <pc:sldMk cId="3979036142" sldId="296"/>
            <ac:inkMk id="103" creationId="{A975E556-1559-864E-8281-2F93C5C2F84A}"/>
          </ac:inkMkLst>
        </pc:inkChg>
      </pc:sldChg>
      <pc:sldChg chg="delSp modSp mod">
        <pc:chgData name="Aniket Chhabra" userId="598e0514-bef3-4e71-b6aa-f2edd6441cff" providerId="ADAL" clId="{FFB5BFD2-246A-034F-B635-DE62B5FCF3A6}" dt="2023-05-27T07:32:56.629" v="33" actId="1076"/>
        <pc:sldMkLst>
          <pc:docMk/>
          <pc:sldMk cId="2888229444" sldId="297"/>
        </pc:sldMkLst>
        <pc:spChg chg="del">
          <ac:chgData name="Aniket Chhabra" userId="598e0514-bef3-4e71-b6aa-f2edd6441cff" providerId="ADAL" clId="{FFB5BFD2-246A-034F-B635-DE62B5FCF3A6}" dt="2023-05-27T07:32:44.053" v="28" actId="478"/>
          <ac:spMkLst>
            <pc:docMk/>
            <pc:sldMk cId="2888229444" sldId="297"/>
            <ac:spMk id="2" creationId="{62D3867A-3DFC-4B09-A1D4-6478B82F60F2}"/>
          </ac:spMkLst>
        </pc:spChg>
        <pc:spChg chg="del">
          <ac:chgData name="Aniket Chhabra" userId="598e0514-bef3-4e71-b6aa-f2edd6441cff" providerId="ADAL" clId="{FFB5BFD2-246A-034F-B635-DE62B5FCF3A6}" dt="2023-05-27T07:32:47.296" v="29" actId="478"/>
          <ac:spMkLst>
            <pc:docMk/>
            <pc:sldMk cId="2888229444" sldId="297"/>
            <ac:spMk id="3" creationId="{1856E7CF-10B4-4B62-BA18-2969FE514716}"/>
          </ac:spMkLst>
        </pc:spChg>
        <pc:grpChg chg="del">
          <ac:chgData name="Aniket Chhabra" userId="598e0514-bef3-4e71-b6aa-f2edd6441cff" providerId="ADAL" clId="{FFB5BFD2-246A-034F-B635-DE62B5FCF3A6}" dt="2023-05-27T07:32:47.296" v="29" actId="478"/>
          <ac:grpSpMkLst>
            <pc:docMk/>
            <pc:sldMk cId="2888229444" sldId="297"/>
            <ac:grpSpMk id="11" creationId="{F0ABBC6C-3BAC-40C6-B831-76C260C68CDF}"/>
          </ac:grpSpMkLst>
        </pc:grpChg>
        <pc:grpChg chg="del">
          <ac:chgData name="Aniket Chhabra" userId="598e0514-bef3-4e71-b6aa-f2edd6441cff" providerId="ADAL" clId="{FFB5BFD2-246A-034F-B635-DE62B5FCF3A6}" dt="2023-05-27T07:32:47.296" v="29" actId="478"/>
          <ac:grpSpMkLst>
            <pc:docMk/>
            <pc:sldMk cId="2888229444" sldId="297"/>
            <ac:grpSpMk id="14" creationId="{2226B16F-2616-C542-5EE3-AF6CBEDE67EC}"/>
          </ac:grpSpMkLst>
        </pc:grpChg>
        <pc:grpChg chg="del">
          <ac:chgData name="Aniket Chhabra" userId="598e0514-bef3-4e71-b6aa-f2edd6441cff" providerId="ADAL" clId="{FFB5BFD2-246A-034F-B635-DE62B5FCF3A6}" dt="2023-05-27T07:32:47.296" v="29" actId="478"/>
          <ac:grpSpMkLst>
            <pc:docMk/>
            <pc:sldMk cId="2888229444" sldId="297"/>
            <ac:grpSpMk id="21" creationId="{B065BCAB-C294-D475-223B-E07AEE790EA6}"/>
          </ac:grpSpMkLst>
        </pc:grpChg>
        <pc:grpChg chg="del">
          <ac:chgData name="Aniket Chhabra" userId="598e0514-bef3-4e71-b6aa-f2edd6441cff" providerId="ADAL" clId="{FFB5BFD2-246A-034F-B635-DE62B5FCF3A6}" dt="2023-05-27T07:32:47.296" v="29" actId="478"/>
          <ac:grpSpMkLst>
            <pc:docMk/>
            <pc:sldMk cId="2888229444" sldId="297"/>
            <ac:grpSpMk id="40" creationId="{B59ABE42-87F5-F0AF-F594-3DE7777B66F2}"/>
          </ac:grpSpMkLst>
        </pc:grpChg>
        <pc:grpChg chg="del">
          <ac:chgData name="Aniket Chhabra" userId="598e0514-bef3-4e71-b6aa-f2edd6441cff" providerId="ADAL" clId="{FFB5BFD2-246A-034F-B635-DE62B5FCF3A6}" dt="2023-05-27T07:32:47.296" v="29" actId="478"/>
          <ac:grpSpMkLst>
            <pc:docMk/>
            <pc:sldMk cId="2888229444" sldId="297"/>
            <ac:grpSpMk id="47" creationId="{93011C61-8F27-7B07-D0CA-685F7001CCA9}"/>
          </ac:grpSpMkLst>
        </pc:grpChg>
        <pc:grpChg chg="del">
          <ac:chgData name="Aniket Chhabra" userId="598e0514-bef3-4e71-b6aa-f2edd6441cff" providerId="ADAL" clId="{FFB5BFD2-246A-034F-B635-DE62B5FCF3A6}" dt="2023-05-27T07:32:47.296" v="29" actId="478"/>
          <ac:grpSpMkLst>
            <pc:docMk/>
            <pc:sldMk cId="2888229444" sldId="297"/>
            <ac:grpSpMk id="58" creationId="{65919AA1-3EF2-1F25-A529-ED9F447AE339}"/>
          </ac:grpSpMkLst>
        </pc:grpChg>
        <pc:grpChg chg="del">
          <ac:chgData name="Aniket Chhabra" userId="598e0514-bef3-4e71-b6aa-f2edd6441cff" providerId="ADAL" clId="{FFB5BFD2-246A-034F-B635-DE62B5FCF3A6}" dt="2023-05-27T07:32:47.296" v="29" actId="478"/>
          <ac:grpSpMkLst>
            <pc:docMk/>
            <pc:sldMk cId="2888229444" sldId="297"/>
            <ac:grpSpMk id="71" creationId="{1E438C4C-EB44-9DDF-FCBB-4DB92F1481CE}"/>
          </ac:grpSpMkLst>
        </pc:grpChg>
        <pc:grpChg chg="del">
          <ac:chgData name="Aniket Chhabra" userId="598e0514-bef3-4e71-b6aa-f2edd6441cff" providerId="ADAL" clId="{FFB5BFD2-246A-034F-B635-DE62B5FCF3A6}" dt="2023-05-27T07:32:47.296" v="29" actId="478"/>
          <ac:grpSpMkLst>
            <pc:docMk/>
            <pc:sldMk cId="2888229444" sldId="297"/>
            <ac:grpSpMk id="76" creationId="{BC759320-4BEF-CAB0-20C7-512E87FD6A56}"/>
          </ac:grpSpMkLst>
        </pc:grpChg>
        <pc:grpChg chg="del">
          <ac:chgData name="Aniket Chhabra" userId="598e0514-bef3-4e71-b6aa-f2edd6441cff" providerId="ADAL" clId="{FFB5BFD2-246A-034F-B635-DE62B5FCF3A6}" dt="2023-05-27T07:32:49.917" v="30" actId="478"/>
          <ac:grpSpMkLst>
            <pc:docMk/>
            <pc:sldMk cId="2888229444" sldId="297"/>
            <ac:grpSpMk id="81" creationId="{A48B0335-F88E-C830-5757-98324034E49D}"/>
          </ac:grpSpMkLst>
        </pc:grpChg>
        <pc:grpChg chg="del">
          <ac:chgData name="Aniket Chhabra" userId="598e0514-bef3-4e71-b6aa-f2edd6441cff" providerId="ADAL" clId="{FFB5BFD2-246A-034F-B635-DE62B5FCF3A6}" dt="2023-05-27T07:32:47.296" v="29" actId="478"/>
          <ac:grpSpMkLst>
            <pc:docMk/>
            <pc:sldMk cId="2888229444" sldId="297"/>
            <ac:grpSpMk id="136" creationId="{BEFB2420-2C73-9820-1F07-1D269548C62C}"/>
          </ac:grpSpMkLst>
        </pc:grpChg>
        <pc:grpChg chg="del">
          <ac:chgData name="Aniket Chhabra" userId="598e0514-bef3-4e71-b6aa-f2edd6441cff" providerId="ADAL" clId="{FFB5BFD2-246A-034F-B635-DE62B5FCF3A6}" dt="2023-05-27T07:32:47.296" v="29" actId="478"/>
          <ac:grpSpMkLst>
            <pc:docMk/>
            <pc:sldMk cId="2888229444" sldId="297"/>
            <ac:grpSpMk id="158" creationId="{86748871-6EE3-9DE0-EFBF-BC5A1058540E}"/>
          </ac:grpSpMkLst>
        </pc:grpChg>
        <pc:grpChg chg="del">
          <ac:chgData name="Aniket Chhabra" userId="598e0514-bef3-4e71-b6aa-f2edd6441cff" providerId="ADAL" clId="{FFB5BFD2-246A-034F-B635-DE62B5FCF3A6}" dt="2023-05-27T07:32:47.296" v="29" actId="478"/>
          <ac:grpSpMkLst>
            <pc:docMk/>
            <pc:sldMk cId="2888229444" sldId="297"/>
            <ac:grpSpMk id="161" creationId="{EA444790-B3FA-98E7-F26D-E4C62EEC1FC3}"/>
          </ac:grpSpMkLst>
        </pc:grpChg>
        <pc:picChg chg="mod">
          <ac:chgData name="Aniket Chhabra" userId="598e0514-bef3-4e71-b6aa-f2edd6441cff" providerId="ADAL" clId="{FFB5BFD2-246A-034F-B635-DE62B5FCF3A6}" dt="2023-05-27T07:32:56.629" v="33" actId="1076"/>
          <ac:picMkLst>
            <pc:docMk/>
            <pc:sldMk cId="2888229444" sldId="297"/>
            <ac:picMk id="7" creationId="{BE67714F-36E8-4527-9106-62AA5ABF9D16}"/>
          </ac:picMkLst>
        </pc:picChg>
        <pc:inkChg chg="del">
          <ac:chgData name="Aniket Chhabra" userId="598e0514-bef3-4e71-b6aa-f2edd6441cff" providerId="ADAL" clId="{FFB5BFD2-246A-034F-B635-DE62B5FCF3A6}" dt="2023-05-27T07:32:47.296" v="29" actId="478"/>
          <ac:inkMkLst>
            <pc:docMk/>
            <pc:sldMk cId="2888229444" sldId="297"/>
            <ac:inkMk id="4" creationId="{A9B2A246-8798-42D8-95A0-B4EFB800EE64}"/>
          </ac:inkMkLst>
        </pc:inkChg>
        <pc:inkChg chg="del">
          <ac:chgData name="Aniket Chhabra" userId="598e0514-bef3-4e71-b6aa-f2edd6441cff" providerId="ADAL" clId="{FFB5BFD2-246A-034F-B635-DE62B5FCF3A6}" dt="2023-05-27T07:32:47.296" v="29" actId="478"/>
          <ac:inkMkLst>
            <pc:docMk/>
            <pc:sldMk cId="2888229444" sldId="297"/>
            <ac:inkMk id="5" creationId="{4138F492-0E3C-4093-A84F-07B56FE2379E}"/>
          </ac:inkMkLst>
        </pc:inkChg>
        <pc:inkChg chg="del">
          <ac:chgData name="Aniket Chhabra" userId="598e0514-bef3-4e71-b6aa-f2edd6441cff" providerId="ADAL" clId="{FFB5BFD2-246A-034F-B635-DE62B5FCF3A6}" dt="2023-05-27T07:32:47.296" v="29" actId="478"/>
          <ac:inkMkLst>
            <pc:docMk/>
            <pc:sldMk cId="2888229444" sldId="297"/>
            <ac:inkMk id="8" creationId="{D2AF157B-4EED-453A-A6C4-AC7C1D1D76FF}"/>
          </ac:inkMkLst>
        </pc:inkChg>
        <pc:inkChg chg="del">
          <ac:chgData name="Aniket Chhabra" userId="598e0514-bef3-4e71-b6aa-f2edd6441cff" providerId="ADAL" clId="{FFB5BFD2-246A-034F-B635-DE62B5FCF3A6}" dt="2023-05-27T07:32:47.296" v="29" actId="478"/>
          <ac:inkMkLst>
            <pc:docMk/>
            <pc:sldMk cId="2888229444" sldId="297"/>
            <ac:inkMk id="15" creationId="{54762A89-5FC3-33D0-870C-A08444A7EC9C}"/>
          </ac:inkMkLst>
        </pc:inkChg>
        <pc:inkChg chg="del">
          <ac:chgData name="Aniket Chhabra" userId="598e0514-bef3-4e71-b6aa-f2edd6441cff" providerId="ADAL" clId="{FFB5BFD2-246A-034F-B635-DE62B5FCF3A6}" dt="2023-05-27T07:32:47.296" v="29" actId="478"/>
          <ac:inkMkLst>
            <pc:docMk/>
            <pc:sldMk cId="2888229444" sldId="297"/>
            <ac:inkMk id="24" creationId="{106023FB-B61B-8ADA-7834-B98EFFB5FDAE}"/>
          </ac:inkMkLst>
        </pc:inkChg>
        <pc:inkChg chg="del">
          <ac:chgData name="Aniket Chhabra" userId="598e0514-bef3-4e71-b6aa-f2edd6441cff" providerId="ADAL" clId="{FFB5BFD2-246A-034F-B635-DE62B5FCF3A6}" dt="2023-05-27T07:32:47.296" v="29" actId="478"/>
          <ac:inkMkLst>
            <pc:docMk/>
            <pc:sldMk cId="2888229444" sldId="297"/>
            <ac:inkMk id="25" creationId="{6E87B664-BB49-0322-E0D3-46B8BC41A9B6}"/>
          </ac:inkMkLst>
        </pc:inkChg>
        <pc:inkChg chg="del">
          <ac:chgData name="Aniket Chhabra" userId="598e0514-bef3-4e71-b6aa-f2edd6441cff" providerId="ADAL" clId="{FFB5BFD2-246A-034F-B635-DE62B5FCF3A6}" dt="2023-05-27T07:32:47.296" v="29" actId="478"/>
          <ac:inkMkLst>
            <pc:docMk/>
            <pc:sldMk cId="2888229444" sldId="297"/>
            <ac:inkMk id="26" creationId="{795F9EF6-41B3-D0AA-C927-79D77DE2E826}"/>
          </ac:inkMkLst>
        </pc:inkChg>
        <pc:inkChg chg="del">
          <ac:chgData name="Aniket Chhabra" userId="598e0514-bef3-4e71-b6aa-f2edd6441cff" providerId="ADAL" clId="{FFB5BFD2-246A-034F-B635-DE62B5FCF3A6}" dt="2023-05-27T07:32:47.296" v="29" actId="478"/>
          <ac:inkMkLst>
            <pc:docMk/>
            <pc:sldMk cId="2888229444" sldId="297"/>
            <ac:inkMk id="28" creationId="{2E3DE250-3455-F5DD-272B-7F9FA326AEBD}"/>
          </ac:inkMkLst>
        </pc:inkChg>
        <pc:inkChg chg="del">
          <ac:chgData name="Aniket Chhabra" userId="598e0514-bef3-4e71-b6aa-f2edd6441cff" providerId="ADAL" clId="{FFB5BFD2-246A-034F-B635-DE62B5FCF3A6}" dt="2023-05-27T07:32:47.296" v="29" actId="478"/>
          <ac:inkMkLst>
            <pc:docMk/>
            <pc:sldMk cId="2888229444" sldId="297"/>
            <ac:inkMk id="30" creationId="{96CD3C1D-3BC1-90CD-307B-94EF7C2F2C79}"/>
          </ac:inkMkLst>
        </pc:inkChg>
        <pc:inkChg chg="del">
          <ac:chgData name="Aniket Chhabra" userId="598e0514-bef3-4e71-b6aa-f2edd6441cff" providerId="ADAL" clId="{FFB5BFD2-246A-034F-B635-DE62B5FCF3A6}" dt="2023-05-27T07:32:47.296" v="29" actId="478"/>
          <ac:inkMkLst>
            <pc:docMk/>
            <pc:sldMk cId="2888229444" sldId="297"/>
            <ac:inkMk id="34" creationId="{493A5045-B420-0232-2049-788308714317}"/>
          </ac:inkMkLst>
        </pc:inkChg>
        <pc:inkChg chg="del">
          <ac:chgData name="Aniket Chhabra" userId="598e0514-bef3-4e71-b6aa-f2edd6441cff" providerId="ADAL" clId="{FFB5BFD2-246A-034F-B635-DE62B5FCF3A6}" dt="2023-05-27T07:32:47.296" v="29" actId="478"/>
          <ac:inkMkLst>
            <pc:docMk/>
            <pc:sldMk cId="2888229444" sldId="297"/>
            <ac:inkMk id="135" creationId="{A4DE7E89-6E9E-DDA4-7D2F-8AAD50EC350E}"/>
          </ac:inkMkLst>
        </pc:inkChg>
        <pc:inkChg chg="del">
          <ac:chgData name="Aniket Chhabra" userId="598e0514-bef3-4e71-b6aa-f2edd6441cff" providerId="ADAL" clId="{FFB5BFD2-246A-034F-B635-DE62B5FCF3A6}" dt="2023-05-27T07:32:47.296" v="29" actId="478"/>
          <ac:inkMkLst>
            <pc:docMk/>
            <pc:sldMk cId="2888229444" sldId="297"/>
            <ac:inkMk id="159" creationId="{9BDC8013-022B-57C5-4508-9B09B0E68E40}"/>
          </ac:inkMkLst>
        </pc:inkChg>
      </pc:sldChg>
      <pc:sldChg chg="delSp modSp mod">
        <pc:chgData name="Aniket Chhabra" userId="598e0514-bef3-4e71-b6aa-f2edd6441cff" providerId="ADAL" clId="{FFB5BFD2-246A-034F-B635-DE62B5FCF3A6}" dt="2023-06-17T12:42:22.202" v="1609" actId="478"/>
        <pc:sldMkLst>
          <pc:docMk/>
          <pc:sldMk cId="3185156791" sldId="298"/>
        </pc:sldMkLst>
        <pc:grpChg chg="del">
          <ac:chgData name="Aniket Chhabra" userId="598e0514-bef3-4e71-b6aa-f2edd6441cff" providerId="ADAL" clId="{FFB5BFD2-246A-034F-B635-DE62B5FCF3A6}" dt="2023-06-17T12:42:20.553" v="1608" actId="478"/>
          <ac:grpSpMkLst>
            <pc:docMk/>
            <pc:sldMk cId="3185156791" sldId="298"/>
            <ac:grpSpMk id="9" creationId="{69408975-E8C0-EAA5-9217-E75005F35C9E}"/>
          </ac:grpSpMkLst>
        </pc:grpChg>
        <pc:grpChg chg="del">
          <ac:chgData name="Aniket Chhabra" userId="598e0514-bef3-4e71-b6aa-f2edd6441cff" providerId="ADAL" clId="{FFB5BFD2-246A-034F-B635-DE62B5FCF3A6}" dt="2023-06-17T12:42:22.202" v="1609" actId="478"/>
          <ac:grpSpMkLst>
            <pc:docMk/>
            <pc:sldMk cId="3185156791" sldId="298"/>
            <ac:grpSpMk id="16" creationId="{A5ADEE99-75F1-935F-1288-25A3760CD8DA}"/>
          </ac:grpSpMkLst>
        </pc:grpChg>
        <pc:grpChg chg="del">
          <ac:chgData name="Aniket Chhabra" userId="598e0514-bef3-4e71-b6aa-f2edd6441cff" providerId="ADAL" clId="{FFB5BFD2-246A-034F-B635-DE62B5FCF3A6}" dt="2023-06-17T12:42:17.688" v="1607" actId="478"/>
          <ac:grpSpMkLst>
            <pc:docMk/>
            <pc:sldMk cId="3185156791" sldId="298"/>
            <ac:grpSpMk id="48" creationId="{DBCB3469-9CA0-A356-16B4-5C389E4185BB}"/>
          </ac:grpSpMkLst>
        </pc:grpChg>
        <pc:grpChg chg="del">
          <ac:chgData name="Aniket Chhabra" userId="598e0514-bef3-4e71-b6aa-f2edd6441cff" providerId="ADAL" clId="{FFB5BFD2-246A-034F-B635-DE62B5FCF3A6}" dt="2023-06-17T12:42:17.688" v="1607" actId="478"/>
          <ac:grpSpMkLst>
            <pc:docMk/>
            <pc:sldMk cId="3185156791" sldId="298"/>
            <ac:grpSpMk id="49" creationId="{23B40724-9F48-AAB2-FC9F-39DB49DDE04A}"/>
          </ac:grpSpMkLst>
        </pc:grpChg>
        <pc:grpChg chg="del">
          <ac:chgData name="Aniket Chhabra" userId="598e0514-bef3-4e71-b6aa-f2edd6441cff" providerId="ADAL" clId="{FFB5BFD2-246A-034F-B635-DE62B5FCF3A6}" dt="2023-06-17T12:42:17.688" v="1607" actId="478"/>
          <ac:grpSpMkLst>
            <pc:docMk/>
            <pc:sldMk cId="3185156791" sldId="298"/>
            <ac:grpSpMk id="54" creationId="{D66E780C-D8E9-CB36-06A7-575E76998435}"/>
          </ac:grpSpMkLst>
        </pc:grpChg>
        <pc:grpChg chg="del">
          <ac:chgData name="Aniket Chhabra" userId="598e0514-bef3-4e71-b6aa-f2edd6441cff" providerId="ADAL" clId="{FFB5BFD2-246A-034F-B635-DE62B5FCF3A6}" dt="2023-06-17T12:42:17.688" v="1607" actId="478"/>
          <ac:grpSpMkLst>
            <pc:docMk/>
            <pc:sldMk cId="3185156791" sldId="298"/>
            <ac:grpSpMk id="56" creationId="{71F8989E-7728-B1BF-3022-F2F87E1F3CE3}"/>
          </ac:grpSpMkLst>
        </pc:grpChg>
        <pc:grpChg chg="del">
          <ac:chgData name="Aniket Chhabra" userId="598e0514-bef3-4e71-b6aa-f2edd6441cff" providerId="ADAL" clId="{FFB5BFD2-246A-034F-B635-DE62B5FCF3A6}" dt="2023-06-17T12:42:17.688" v="1607" actId="478"/>
          <ac:grpSpMkLst>
            <pc:docMk/>
            <pc:sldMk cId="3185156791" sldId="298"/>
            <ac:grpSpMk id="60" creationId="{9D47CE45-DB24-D9F9-11F5-55AB4C453154}"/>
          </ac:grpSpMkLst>
        </pc:grpChg>
        <pc:grpChg chg="del">
          <ac:chgData name="Aniket Chhabra" userId="598e0514-bef3-4e71-b6aa-f2edd6441cff" providerId="ADAL" clId="{FFB5BFD2-246A-034F-B635-DE62B5FCF3A6}" dt="2023-06-17T12:42:17.688" v="1607" actId="478"/>
          <ac:grpSpMkLst>
            <pc:docMk/>
            <pc:sldMk cId="3185156791" sldId="298"/>
            <ac:grpSpMk id="68" creationId="{9DF8EEB2-BE3B-6CB7-C51E-A4EB34662BD2}"/>
          </ac:grpSpMkLst>
        </pc:grpChg>
        <pc:grpChg chg="del">
          <ac:chgData name="Aniket Chhabra" userId="598e0514-bef3-4e71-b6aa-f2edd6441cff" providerId="ADAL" clId="{FFB5BFD2-246A-034F-B635-DE62B5FCF3A6}" dt="2023-06-17T12:42:17.688" v="1607" actId="478"/>
          <ac:grpSpMkLst>
            <pc:docMk/>
            <pc:sldMk cId="3185156791" sldId="298"/>
            <ac:grpSpMk id="76" creationId="{47CD77CD-EDA5-1ADB-1035-EA46A42A80EE}"/>
          </ac:grpSpMkLst>
        </pc:grpChg>
        <pc:grpChg chg="del">
          <ac:chgData name="Aniket Chhabra" userId="598e0514-bef3-4e71-b6aa-f2edd6441cff" providerId="ADAL" clId="{FFB5BFD2-246A-034F-B635-DE62B5FCF3A6}" dt="2023-06-17T12:42:17.688" v="1607" actId="478"/>
          <ac:grpSpMkLst>
            <pc:docMk/>
            <pc:sldMk cId="3185156791" sldId="298"/>
            <ac:grpSpMk id="89" creationId="{C99CAA38-2BC1-41EC-6F5F-B63AD688DB0D}"/>
          </ac:grpSpMkLst>
        </pc:grpChg>
        <pc:picChg chg="mod">
          <ac:chgData name="Aniket Chhabra" userId="598e0514-bef3-4e71-b6aa-f2edd6441cff" providerId="ADAL" clId="{FFB5BFD2-246A-034F-B635-DE62B5FCF3A6}" dt="2023-06-17T12:42:13.908" v="1606" actId="1076"/>
          <ac:picMkLst>
            <pc:docMk/>
            <pc:sldMk cId="3185156791" sldId="298"/>
            <ac:picMk id="5" creationId="{BF85E241-DDAC-4E18-A6AD-6A50CBA9E223}"/>
          </ac:picMkLst>
        </pc:picChg>
        <pc:inkChg chg="del">
          <ac:chgData name="Aniket Chhabra" userId="598e0514-bef3-4e71-b6aa-f2edd6441cff" providerId="ADAL" clId="{FFB5BFD2-246A-034F-B635-DE62B5FCF3A6}" dt="2023-06-17T12:42:17.688" v="1607" actId="478"/>
          <ac:inkMkLst>
            <pc:docMk/>
            <pc:sldMk cId="3185156791" sldId="298"/>
            <ac:inkMk id="4" creationId="{1C2C29C6-219E-875F-A348-175E7E433F2D}"/>
          </ac:inkMkLst>
        </pc:inkChg>
        <pc:inkChg chg="del">
          <ac:chgData name="Aniket Chhabra" userId="598e0514-bef3-4e71-b6aa-f2edd6441cff" providerId="ADAL" clId="{FFB5BFD2-246A-034F-B635-DE62B5FCF3A6}" dt="2023-06-17T12:42:17.688" v="1607" actId="478"/>
          <ac:inkMkLst>
            <pc:docMk/>
            <pc:sldMk cId="3185156791" sldId="298"/>
            <ac:inkMk id="6" creationId="{9FD55FFF-3F8F-4192-D0DB-3B7F15BA5A38}"/>
          </ac:inkMkLst>
        </pc:inkChg>
        <pc:inkChg chg="del">
          <ac:chgData name="Aniket Chhabra" userId="598e0514-bef3-4e71-b6aa-f2edd6441cff" providerId="ADAL" clId="{FFB5BFD2-246A-034F-B635-DE62B5FCF3A6}" dt="2023-06-17T12:42:17.688" v="1607" actId="478"/>
          <ac:inkMkLst>
            <pc:docMk/>
            <pc:sldMk cId="3185156791" sldId="298"/>
            <ac:inkMk id="20" creationId="{96BA6AD7-0BEA-2E14-F1D5-42D69B8D1CDE}"/>
          </ac:inkMkLst>
        </pc:inkChg>
        <pc:inkChg chg="del">
          <ac:chgData name="Aniket Chhabra" userId="598e0514-bef3-4e71-b6aa-f2edd6441cff" providerId="ADAL" clId="{FFB5BFD2-246A-034F-B635-DE62B5FCF3A6}" dt="2023-06-17T12:42:17.688" v="1607" actId="478"/>
          <ac:inkMkLst>
            <pc:docMk/>
            <pc:sldMk cId="3185156791" sldId="298"/>
            <ac:inkMk id="21" creationId="{1D408AE2-F96C-6AB2-1DE1-5BDB90C4A160}"/>
          </ac:inkMkLst>
        </pc:inkChg>
        <pc:inkChg chg="del">
          <ac:chgData name="Aniket Chhabra" userId="598e0514-bef3-4e71-b6aa-f2edd6441cff" providerId="ADAL" clId="{FFB5BFD2-246A-034F-B635-DE62B5FCF3A6}" dt="2023-06-17T12:42:17.688" v="1607" actId="478"/>
          <ac:inkMkLst>
            <pc:docMk/>
            <pc:sldMk cId="3185156791" sldId="298"/>
            <ac:inkMk id="22" creationId="{CB71BEED-8D01-CD8F-15D8-037B0194934A}"/>
          </ac:inkMkLst>
        </pc:inkChg>
        <pc:inkChg chg="del">
          <ac:chgData name="Aniket Chhabra" userId="598e0514-bef3-4e71-b6aa-f2edd6441cff" providerId="ADAL" clId="{FFB5BFD2-246A-034F-B635-DE62B5FCF3A6}" dt="2023-06-17T12:42:17.688" v="1607" actId="478"/>
          <ac:inkMkLst>
            <pc:docMk/>
            <pc:sldMk cId="3185156791" sldId="298"/>
            <ac:inkMk id="23" creationId="{EA026592-496A-3137-E42E-231BAC224EA0}"/>
          </ac:inkMkLst>
        </pc:inkChg>
        <pc:inkChg chg="del">
          <ac:chgData name="Aniket Chhabra" userId="598e0514-bef3-4e71-b6aa-f2edd6441cff" providerId="ADAL" clId="{FFB5BFD2-246A-034F-B635-DE62B5FCF3A6}" dt="2023-06-17T12:42:17.688" v="1607" actId="478"/>
          <ac:inkMkLst>
            <pc:docMk/>
            <pc:sldMk cId="3185156791" sldId="298"/>
            <ac:inkMk id="24" creationId="{3F0EAA1F-5DAC-439F-8188-42C313AAE93E}"/>
          </ac:inkMkLst>
        </pc:inkChg>
        <pc:inkChg chg="del">
          <ac:chgData name="Aniket Chhabra" userId="598e0514-bef3-4e71-b6aa-f2edd6441cff" providerId="ADAL" clId="{FFB5BFD2-246A-034F-B635-DE62B5FCF3A6}" dt="2023-06-17T12:42:17.688" v="1607" actId="478"/>
          <ac:inkMkLst>
            <pc:docMk/>
            <pc:sldMk cId="3185156791" sldId="298"/>
            <ac:inkMk id="25" creationId="{ABBD8ED1-B180-B613-E04C-334147BFBBD9}"/>
          </ac:inkMkLst>
        </pc:inkChg>
        <pc:inkChg chg="del">
          <ac:chgData name="Aniket Chhabra" userId="598e0514-bef3-4e71-b6aa-f2edd6441cff" providerId="ADAL" clId="{FFB5BFD2-246A-034F-B635-DE62B5FCF3A6}" dt="2023-06-17T12:42:17.688" v="1607" actId="478"/>
          <ac:inkMkLst>
            <pc:docMk/>
            <pc:sldMk cId="3185156791" sldId="298"/>
            <ac:inkMk id="26" creationId="{6B7EC9A4-937A-6898-0BA8-8B2D408110E5}"/>
          </ac:inkMkLst>
        </pc:inkChg>
        <pc:inkChg chg="del">
          <ac:chgData name="Aniket Chhabra" userId="598e0514-bef3-4e71-b6aa-f2edd6441cff" providerId="ADAL" clId="{FFB5BFD2-246A-034F-B635-DE62B5FCF3A6}" dt="2023-06-17T12:42:17.688" v="1607" actId="478"/>
          <ac:inkMkLst>
            <pc:docMk/>
            <pc:sldMk cId="3185156791" sldId="298"/>
            <ac:inkMk id="27" creationId="{031B8EF1-FD7F-9673-8575-28F39D603327}"/>
          </ac:inkMkLst>
        </pc:inkChg>
        <pc:inkChg chg="del">
          <ac:chgData name="Aniket Chhabra" userId="598e0514-bef3-4e71-b6aa-f2edd6441cff" providerId="ADAL" clId="{FFB5BFD2-246A-034F-B635-DE62B5FCF3A6}" dt="2023-06-17T12:42:17.688" v="1607" actId="478"/>
          <ac:inkMkLst>
            <pc:docMk/>
            <pc:sldMk cId="3185156791" sldId="298"/>
            <ac:inkMk id="28" creationId="{505A2C31-1871-CAF8-3E8A-F3042085858A}"/>
          </ac:inkMkLst>
        </pc:inkChg>
        <pc:inkChg chg="del">
          <ac:chgData name="Aniket Chhabra" userId="598e0514-bef3-4e71-b6aa-f2edd6441cff" providerId="ADAL" clId="{FFB5BFD2-246A-034F-B635-DE62B5FCF3A6}" dt="2023-06-17T12:42:17.688" v="1607" actId="478"/>
          <ac:inkMkLst>
            <pc:docMk/>
            <pc:sldMk cId="3185156791" sldId="298"/>
            <ac:inkMk id="29" creationId="{2E23005F-22F9-70C4-406F-60EEB4058A6C}"/>
          </ac:inkMkLst>
        </pc:inkChg>
        <pc:inkChg chg="del">
          <ac:chgData name="Aniket Chhabra" userId="598e0514-bef3-4e71-b6aa-f2edd6441cff" providerId="ADAL" clId="{FFB5BFD2-246A-034F-B635-DE62B5FCF3A6}" dt="2023-06-17T12:42:17.688" v="1607" actId="478"/>
          <ac:inkMkLst>
            <pc:docMk/>
            <pc:sldMk cId="3185156791" sldId="298"/>
            <ac:inkMk id="30" creationId="{0DFF3BF6-6305-D670-564F-247B4D4C0A41}"/>
          </ac:inkMkLst>
        </pc:inkChg>
        <pc:inkChg chg="del">
          <ac:chgData name="Aniket Chhabra" userId="598e0514-bef3-4e71-b6aa-f2edd6441cff" providerId="ADAL" clId="{FFB5BFD2-246A-034F-B635-DE62B5FCF3A6}" dt="2023-06-17T12:42:17.688" v="1607" actId="478"/>
          <ac:inkMkLst>
            <pc:docMk/>
            <pc:sldMk cId="3185156791" sldId="298"/>
            <ac:inkMk id="31" creationId="{EB1D72DD-F60A-BDD7-26B8-14AF213741E6}"/>
          </ac:inkMkLst>
        </pc:inkChg>
        <pc:inkChg chg="del">
          <ac:chgData name="Aniket Chhabra" userId="598e0514-bef3-4e71-b6aa-f2edd6441cff" providerId="ADAL" clId="{FFB5BFD2-246A-034F-B635-DE62B5FCF3A6}" dt="2023-06-17T12:42:17.688" v="1607" actId="478"/>
          <ac:inkMkLst>
            <pc:docMk/>
            <pc:sldMk cId="3185156791" sldId="298"/>
            <ac:inkMk id="32" creationId="{2D4FB2C3-1929-921F-B3D4-7757A4BDE958}"/>
          </ac:inkMkLst>
        </pc:inkChg>
        <pc:inkChg chg="del">
          <ac:chgData name="Aniket Chhabra" userId="598e0514-bef3-4e71-b6aa-f2edd6441cff" providerId="ADAL" clId="{FFB5BFD2-246A-034F-B635-DE62B5FCF3A6}" dt="2023-06-17T12:42:17.688" v="1607" actId="478"/>
          <ac:inkMkLst>
            <pc:docMk/>
            <pc:sldMk cId="3185156791" sldId="298"/>
            <ac:inkMk id="33" creationId="{D8F5249E-8081-E312-9244-F2DA848ABF5D}"/>
          </ac:inkMkLst>
        </pc:inkChg>
        <pc:inkChg chg="del">
          <ac:chgData name="Aniket Chhabra" userId="598e0514-bef3-4e71-b6aa-f2edd6441cff" providerId="ADAL" clId="{FFB5BFD2-246A-034F-B635-DE62B5FCF3A6}" dt="2023-06-17T12:42:17.688" v="1607" actId="478"/>
          <ac:inkMkLst>
            <pc:docMk/>
            <pc:sldMk cId="3185156791" sldId="298"/>
            <ac:inkMk id="34" creationId="{B325F803-6F0E-A263-3D26-7E8FE136F1CA}"/>
          </ac:inkMkLst>
        </pc:inkChg>
        <pc:inkChg chg="del">
          <ac:chgData name="Aniket Chhabra" userId="598e0514-bef3-4e71-b6aa-f2edd6441cff" providerId="ADAL" clId="{FFB5BFD2-246A-034F-B635-DE62B5FCF3A6}" dt="2023-06-17T12:42:17.688" v="1607" actId="478"/>
          <ac:inkMkLst>
            <pc:docMk/>
            <pc:sldMk cId="3185156791" sldId="298"/>
            <ac:inkMk id="66" creationId="{43B663A7-CF86-3E23-4238-9AD655C4AEB4}"/>
          </ac:inkMkLst>
        </pc:inkChg>
        <pc:inkChg chg="del">
          <ac:chgData name="Aniket Chhabra" userId="598e0514-bef3-4e71-b6aa-f2edd6441cff" providerId="ADAL" clId="{FFB5BFD2-246A-034F-B635-DE62B5FCF3A6}" dt="2023-06-17T12:42:17.688" v="1607" actId="478"/>
          <ac:inkMkLst>
            <pc:docMk/>
            <pc:sldMk cId="3185156791" sldId="298"/>
            <ac:inkMk id="67" creationId="{47DAB679-5C6B-F162-127F-F7619C5BB533}"/>
          </ac:inkMkLst>
        </pc:inkChg>
        <pc:inkChg chg="del">
          <ac:chgData name="Aniket Chhabra" userId="598e0514-bef3-4e71-b6aa-f2edd6441cff" providerId="ADAL" clId="{FFB5BFD2-246A-034F-B635-DE62B5FCF3A6}" dt="2023-06-17T12:42:17.688" v="1607" actId="478"/>
          <ac:inkMkLst>
            <pc:docMk/>
            <pc:sldMk cId="3185156791" sldId="298"/>
            <ac:inkMk id="69" creationId="{0DBF42D9-2813-A7FB-3BAF-53A40E7EE9C0}"/>
          </ac:inkMkLst>
        </pc:inkChg>
      </pc:sldChg>
      <pc:sldChg chg="addSp delSp mod">
        <pc:chgData name="Aniket Chhabra" userId="598e0514-bef3-4e71-b6aa-f2edd6441cff" providerId="ADAL" clId="{FFB5BFD2-246A-034F-B635-DE62B5FCF3A6}" dt="2023-05-27T13:00:42.786" v="1314" actId="9405"/>
        <pc:sldMkLst>
          <pc:docMk/>
          <pc:sldMk cId="3478359748" sldId="301"/>
        </pc:sldMkLst>
        <pc:inkChg chg="del">
          <ac:chgData name="Aniket Chhabra" userId="598e0514-bef3-4e71-b6aa-f2edd6441cff" providerId="ADAL" clId="{FFB5BFD2-246A-034F-B635-DE62B5FCF3A6}" dt="2023-05-27T08:20:30.639" v="380" actId="478"/>
          <ac:inkMkLst>
            <pc:docMk/>
            <pc:sldMk cId="3478359748" sldId="301"/>
            <ac:inkMk id="2" creationId="{DF21E9CB-F10A-4563-8DF0-6C1922E5312F}"/>
          </ac:inkMkLst>
        </pc:inkChg>
        <pc:inkChg chg="add">
          <ac:chgData name="Aniket Chhabra" userId="598e0514-bef3-4e71-b6aa-f2edd6441cff" providerId="ADAL" clId="{FFB5BFD2-246A-034F-B635-DE62B5FCF3A6}" dt="2023-05-27T12:59:34.241" v="1310" actId="9405"/>
          <ac:inkMkLst>
            <pc:docMk/>
            <pc:sldMk cId="3478359748" sldId="301"/>
            <ac:inkMk id="2" creationId="{F61546FD-9947-AD1C-B9FA-ED17156E184D}"/>
          </ac:inkMkLst>
        </pc:inkChg>
        <pc:inkChg chg="add">
          <ac:chgData name="Aniket Chhabra" userId="598e0514-bef3-4e71-b6aa-f2edd6441cff" providerId="ADAL" clId="{FFB5BFD2-246A-034F-B635-DE62B5FCF3A6}" dt="2023-05-27T12:59:36.366" v="1311" actId="9405"/>
          <ac:inkMkLst>
            <pc:docMk/>
            <pc:sldMk cId="3478359748" sldId="301"/>
            <ac:inkMk id="10" creationId="{9EB53EAA-C30D-5790-D165-9FAD923AE1C5}"/>
          </ac:inkMkLst>
        </pc:inkChg>
        <pc:inkChg chg="add">
          <ac:chgData name="Aniket Chhabra" userId="598e0514-bef3-4e71-b6aa-f2edd6441cff" providerId="ADAL" clId="{FFB5BFD2-246A-034F-B635-DE62B5FCF3A6}" dt="2023-05-27T13:00:38.527" v="1312" actId="9405"/>
          <ac:inkMkLst>
            <pc:docMk/>
            <pc:sldMk cId="3478359748" sldId="301"/>
            <ac:inkMk id="11" creationId="{BA78CC8B-E317-875A-6669-0FFBB6ADD5D7}"/>
          </ac:inkMkLst>
        </pc:inkChg>
        <pc:inkChg chg="add">
          <ac:chgData name="Aniket Chhabra" userId="598e0514-bef3-4e71-b6aa-f2edd6441cff" providerId="ADAL" clId="{FFB5BFD2-246A-034F-B635-DE62B5FCF3A6}" dt="2023-05-27T13:00:39.918" v="1313" actId="9405"/>
          <ac:inkMkLst>
            <pc:docMk/>
            <pc:sldMk cId="3478359748" sldId="301"/>
            <ac:inkMk id="12" creationId="{874406AB-43AB-73FD-8928-6C136AB2B59C}"/>
          </ac:inkMkLst>
        </pc:inkChg>
        <pc:inkChg chg="add">
          <ac:chgData name="Aniket Chhabra" userId="598e0514-bef3-4e71-b6aa-f2edd6441cff" providerId="ADAL" clId="{FFB5BFD2-246A-034F-B635-DE62B5FCF3A6}" dt="2023-05-27T13:00:42.786" v="1314" actId="9405"/>
          <ac:inkMkLst>
            <pc:docMk/>
            <pc:sldMk cId="3478359748" sldId="301"/>
            <ac:inkMk id="13" creationId="{98503D16-F05E-C6C2-B432-0A8811356580}"/>
          </ac:inkMkLst>
        </pc:inkChg>
        <pc:inkChg chg="del">
          <ac:chgData name="Aniket Chhabra" userId="598e0514-bef3-4e71-b6aa-f2edd6441cff" providerId="ADAL" clId="{FFB5BFD2-246A-034F-B635-DE62B5FCF3A6}" dt="2023-05-27T08:20:33.058" v="381" actId="478"/>
          <ac:inkMkLst>
            <pc:docMk/>
            <pc:sldMk cId="3478359748" sldId="301"/>
            <ac:inkMk id="200" creationId="{46961CC5-F2CA-4FCB-9070-4C04302D8607}"/>
          </ac:inkMkLst>
        </pc:inkChg>
      </pc:sldChg>
      <pc:sldChg chg="addSp modSp mod">
        <pc:chgData name="Aniket Chhabra" userId="598e0514-bef3-4e71-b6aa-f2edd6441cff" providerId="ADAL" clId="{FFB5BFD2-246A-034F-B635-DE62B5FCF3A6}" dt="2023-05-27T13:04:12.379" v="1327"/>
        <pc:sldMkLst>
          <pc:docMk/>
          <pc:sldMk cId="2717547441" sldId="304"/>
        </pc:sldMkLst>
        <pc:grpChg chg="mod">
          <ac:chgData name="Aniket Chhabra" userId="598e0514-bef3-4e71-b6aa-f2edd6441cff" providerId="ADAL" clId="{FFB5BFD2-246A-034F-B635-DE62B5FCF3A6}" dt="2023-05-27T13:04:12.379" v="1327"/>
          <ac:grpSpMkLst>
            <pc:docMk/>
            <pc:sldMk cId="2717547441" sldId="304"/>
            <ac:grpSpMk id="28" creationId="{AD2D61E2-5806-1545-C5EF-AFAA8C52D1DF}"/>
          </ac:grpSpMkLst>
        </pc:grpChg>
        <pc:inkChg chg="add">
          <ac:chgData name="Aniket Chhabra" userId="598e0514-bef3-4e71-b6aa-f2edd6441cff" providerId="ADAL" clId="{FFB5BFD2-246A-034F-B635-DE62B5FCF3A6}" dt="2023-05-27T13:02:38.045" v="1315" actId="9405"/>
          <ac:inkMkLst>
            <pc:docMk/>
            <pc:sldMk cId="2717547441" sldId="304"/>
            <ac:inkMk id="3" creationId="{5CC291EF-6F73-911E-EB15-0305AE1A3D51}"/>
          </ac:inkMkLst>
        </pc:inkChg>
        <pc:inkChg chg="add">
          <ac:chgData name="Aniket Chhabra" userId="598e0514-bef3-4e71-b6aa-f2edd6441cff" providerId="ADAL" clId="{FFB5BFD2-246A-034F-B635-DE62B5FCF3A6}" dt="2023-05-27T13:03:23.871" v="1316" actId="9405"/>
          <ac:inkMkLst>
            <pc:docMk/>
            <pc:sldMk cId="2717547441" sldId="304"/>
            <ac:inkMk id="5" creationId="{3E80310C-9CA8-CBD5-F35E-614D8862F764}"/>
          </ac:inkMkLst>
        </pc:inkChg>
        <pc:inkChg chg="add">
          <ac:chgData name="Aniket Chhabra" userId="598e0514-bef3-4e71-b6aa-f2edd6441cff" providerId="ADAL" clId="{FFB5BFD2-246A-034F-B635-DE62B5FCF3A6}" dt="2023-05-27T13:03:35.817" v="1317" actId="9405"/>
          <ac:inkMkLst>
            <pc:docMk/>
            <pc:sldMk cId="2717547441" sldId="304"/>
            <ac:inkMk id="7" creationId="{CB3E3410-9893-789C-17A8-60485587C5E0}"/>
          </ac:inkMkLst>
        </pc:inkChg>
        <pc:inkChg chg="add">
          <ac:chgData name="Aniket Chhabra" userId="598e0514-bef3-4e71-b6aa-f2edd6441cff" providerId="ADAL" clId="{FFB5BFD2-246A-034F-B635-DE62B5FCF3A6}" dt="2023-05-27T13:03:39.117" v="1318" actId="9405"/>
          <ac:inkMkLst>
            <pc:docMk/>
            <pc:sldMk cId="2717547441" sldId="304"/>
            <ac:inkMk id="8" creationId="{E00F5581-3322-1CDC-5F63-CA3FF7F0CD0F}"/>
          </ac:inkMkLst>
        </pc:inkChg>
        <pc:inkChg chg="add">
          <ac:chgData name="Aniket Chhabra" userId="598e0514-bef3-4e71-b6aa-f2edd6441cff" providerId="ADAL" clId="{FFB5BFD2-246A-034F-B635-DE62B5FCF3A6}" dt="2023-05-27T13:03:44.731" v="1319" actId="9405"/>
          <ac:inkMkLst>
            <pc:docMk/>
            <pc:sldMk cId="2717547441" sldId="304"/>
            <ac:inkMk id="9" creationId="{3E80DF59-F9E2-C252-15B4-F9AC17AF857A}"/>
          </ac:inkMkLst>
        </pc:inkChg>
        <pc:inkChg chg="add mod">
          <ac:chgData name="Aniket Chhabra" userId="598e0514-bef3-4e71-b6aa-f2edd6441cff" providerId="ADAL" clId="{FFB5BFD2-246A-034F-B635-DE62B5FCF3A6}" dt="2023-05-27T13:04:12.379" v="1327"/>
          <ac:inkMkLst>
            <pc:docMk/>
            <pc:sldMk cId="2717547441" sldId="304"/>
            <ac:inkMk id="11" creationId="{096C6CFE-F299-BD61-CF57-9C3C66D631C3}"/>
          </ac:inkMkLst>
        </pc:inkChg>
        <pc:inkChg chg="add mod">
          <ac:chgData name="Aniket Chhabra" userId="598e0514-bef3-4e71-b6aa-f2edd6441cff" providerId="ADAL" clId="{FFB5BFD2-246A-034F-B635-DE62B5FCF3A6}" dt="2023-05-27T13:04:12.379" v="1327"/>
          <ac:inkMkLst>
            <pc:docMk/>
            <pc:sldMk cId="2717547441" sldId="304"/>
            <ac:inkMk id="12" creationId="{3A69CE31-6C56-3D45-34EF-3F628F956D7B}"/>
          </ac:inkMkLst>
        </pc:inkChg>
        <pc:inkChg chg="add mod">
          <ac:chgData name="Aniket Chhabra" userId="598e0514-bef3-4e71-b6aa-f2edd6441cff" providerId="ADAL" clId="{FFB5BFD2-246A-034F-B635-DE62B5FCF3A6}" dt="2023-05-27T13:04:12.379" v="1327"/>
          <ac:inkMkLst>
            <pc:docMk/>
            <pc:sldMk cId="2717547441" sldId="304"/>
            <ac:inkMk id="13" creationId="{9E4B78ED-2E6F-DE82-7A10-0E8F66ED8A66}"/>
          </ac:inkMkLst>
        </pc:inkChg>
        <pc:inkChg chg="add mod">
          <ac:chgData name="Aniket Chhabra" userId="598e0514-bef3-4e71-b6aa-f2edd6441cff" providerId="ADAL" clId="{FFB5BFD2-246A-034F-B635-DE62B5FCF3A6}" dt="2023-05-27T13:04:12.379" v="1327"/>
          <ac:inkMkLst>
            <pc:docMk/>
            <pc:sldMk cId="2717547441" sldId="304"/>
            <ac:inkMk id="17" creationId="{FD1EC0B6-88F3-2411-B0E1-C0BBFF40AFF1}"/>
          </ac:inkMkLst>
        </pc:inkChg>
        <pc:inkChg chg="add mod">
          <ac:chgData name="Aniket Chhabra" userId="598e0514-bef3-4e71-b6aa-f2edd6441cff" providerId="ADAL" clId="{FFB5BFD2-246A-034F-B635-DE62B5FCF3A6}" dt="2023-05-27T13:04:12.379" v="1327"/>
          <ac:inkMkLst>
            <pc:docMk/>
            <pc:sldMk cId="2717547441" sldId="304"/>
            <ac:inkMk id="25" creationId="{C7031314-46E2-CBC9-F465-941F75F2E680}"/>
          </ac:inkMkLst>
        </pc:inkChg>
        <pc:inkChg chg="add mod">
          <ac:chgData name="Aniket Chhabra" userId="598e0514-bef3-4e71-b6aa-f2edd6441cff" providerId="ADAL" clId="{FFB5BFD2-246A-034F-B635-DE62B5FCF3A6}" dt="2023-05-27T13:04:12.379" v="1327"/>
          <ac:inkMkLst>
            <pc:docMk/>
            <pc:sldMk cId="2717547441" sldId="304"/>
            <ac:inkMk id="26" creationId="{F6D2850C-7C3F-8F45-1B2F-7D32E4FA6E39}"/>
          </ac:inkMkLst>
        </pc:inkChg>
        <pc:inkChg chg="add mod">
          <ac:chgData name="Aniket Chhabra" userId="598e0514-bef3-4e71-b6aa-f2edd6441cff" providerId="ADAL" clId="{FFB5BFD2-246A-034F-B635-DE62B5FCF3A6}" dt="2023-05-27T13:04:12.379" v="1327"/>
          <ac:inkMkLst>
            <pc:docMk/>
            <pc:sldMk cId="2717547441" sldId="304"/>
            <ac:inkMk id="27" creationId="{E2B5AA7F-D5F2-C2F6-6873-1DCFC8DB738E}"/>
          </ac:inkMkLst>
        </pc:inkChg>
      </pc:sldChg>
      <pc:sldChg chg="addSp delSp modSp new del mod">
        <pc:chgData name="Aniket Chhabra" userId="598e0514-bef3-4e71-b6aa-f2edd6441cff" providerId="ADAL" clId="{FFB5BFD2-246A-034F-B635-DE62B5FCF3A6}" dt="2023-06-17T12:41:51.264" v="1599" actId="2696"/>
        <pc:sldMkLst>
          <pc:docMk/>
          <pc:sldMk cId="1117605727" sldId="312"/>
        </pc:sldMkLst>
        <pc:grpChg chg="mod">
          <ac:chgData name="Aniket Chhabra" userId="598e0514-bef3-4e71-b6aa-f2edd6441cff" providerId="ADAL" clId="{FFB5BFD2-246A-034F-B635-DE62B5FCF3A6}" dt="2023-05-27T12:06:15.571" v="396"/>
          <ac:grpSpMkLst>
            <pc:docMk/>
            <pc:sldMk cId="1117605727" sldId="312"/>
            <ac:grpSpMk id="13" creationId="{AEA7220B-EB21-D6AF-71E0-F9EE16D4DCD2}"/>
          </ac:grpSpMkLst>
        </pc:grpChg>
        <pc:grpChg chg="mod">
          <ac:chgData name="Aniket Chhabra" userId="598e0514-bef3-4e71-b6aa-f2edd6441cff" providerId="ADAL" clId="{FFB5BFD2-246A-034F-B635-DE62B5FCF3A6}" dt="2023-05-27T12:06:15.571" v="396"/>
          <ac:grpSpMkLst>
            <pc:docMk/>
            <pc:sldMk cId="1117605727" sldId="312"/>
            <ac:grpSpMk id="14" creationId="{4179B8A8-90F0-410A-D59E-4AB660E90537}"/>
          </ac:grpSpMkLst>
        </pc:grpChg>
        <pc:grpChg chg="mod">
          <ac:chgData name="Aniket Chhabra" userId="598e0514-bef3-4e71-b6aa-f2edd6441cff" providerId="ADAL" clId="{FFB5BFD2-246A-034F-B635-DE62B5FCF3A6}" dt="2023-05-27T12:06:15.571" v="396"/>
          <ac:grpSpMkLst>
            <pc:docMk/>
            <pc:sldMk cId="1117605727" sldId="312"/>
            <ac:grpSpMk id="15" creationId="{86E749FD-21C6-F8F1-74C3-8C98EB8A801D}"/>
          </ac:grpSpMkLst>
        </pc:grpChg>
        <pc:grpChg chg="mod">
          <ac:chgData name="Aniket Chhabra" userId="598e0514-bef3-4e71-b6aa-f2edd6441cff" providerId="ADAL" clId="{FFB5BFD2-246A-034F-B635-DE62B5FCF3A6}" dt="2023-05-27T12:06:29.726" v="422"/>
          <ac:grpSpMkLst>
            <pc:docMk/>
            <pc:sldMk cId="1117605727" sldId="312"/>
            <ac:grpSpMk id="41" creationId="{6809F8D4-9B63-4008-D3BC-488E945A0378}"/>
          </ac:grpSpMkLst>
        </pc:grpChg>
        <pc:grpChg chg="mod">
          <ac:chgData name="Aniket Chhabra" userId="598e0514-bef3-4e71-b6aa-f2edd6441cff" providerId="ADAL" clId="{FFB5BFD2-246A-034F-B635-DE62B5FCF3A6}" dt="2023-05-27T12:06:29.726" v="422"/>
          <ac:grpSpMkLst>
            <pc:docMk/>
            <pc:sldMk cId="1117605727" sldId="312"/>
            <ac:grpSpMk id="42" creationId="{8051FCF9-2047-C698-056B-AD0980B6A189}"/>
          </ac:grpSpMkLst>
        </pc:grpChg>
        <pc:grpChg chg="mod">
          <ac:chgData name="Aniket Chhabra" userId="598e0514-bef3-4e71-b6aa-f2edd6441cff" providerId="ADAL" clId="{FFB5BFD2-246A-034F-B635-DE62B5FCF3A6}" dt="2023-05-27T12:06:29.726" v="422"/>
          <ac:grpSpMkLst>
            <pc:docMk/>
            <pc:sldMk cId="1117605727" sldId="312"/>
            <ac:grpSpMk id="43" creationId="{FAF43A46-F751-DDFF-F4C9-CAC9DCF7D421}"/>
          </ac:grpSpMkLst>
        </pc:grpChg>
        <pc:grpChg chg="del mod">
          <ac:chgData name="Aniket Chhabra" userId="598e0514-bef3-4e71-b6aa-f2edd6441cff" providerId="ADAL" clId="{FFB5BFD2-246A-034F-B635-DE62B5FCF3A6}" dt="2023-05-27T12:07:50.013" v="533"/>
          <ac:grpSpMkLst>
            <pc:docMk/>
            <pc:sldMk cId="1117605727" sldId="312"/>
            <ac:grpSpMk id="50" creationId="{EFD54302-0BAF-C579-0BCE-6CCABE09A892}"/>
          </ac:grpSpMkLst>
        </pc:grpChg>
        <pc:grpChg chg="del mod">
          <ac:chgData name="Aniket Chhabra" userId="598e0514-bef3-4e71-b6aa-f2edd6441cff" providerId="ADAL" clId="{FFB5BFD2-246A-034F-B635-DE62B5FCF3A6}" dt="2023-05-27T12:09:41.672" v="636"/>
          <ac:grpSpMkLst>
            <pc:docMk/>
            <pc:sldMk cId="1117605727" sldId="312"/>
            <ac:grpSpMk id="64" creationId="{BC4CA918-E9AA-DE6B-083D-79FD8FB3D67C}"/>
          </ac:grpSpMkLst>
        </pc:grpChg>
        <pc:grpChg chg="del mod">
          <ac:chgData name="Aniket Chhabra" userId="598e0514-bef3-4e71-b6aa-f2edd6441cff" providerId="ADAL" clId="{FFB5BFD2-246A-034F-B635-DE62B5FCF3A6}" dt="2023-05-27T12:06:59.655" v="464"/>
          <ac:grpSpMkLst>
            <pc:docMk/>
            <pc:sldMk cId="1117605727" sldId="312"/>
            <ac:grpSpMk id="72" creationId="{9ADFBE63-39B1-3D45-0B79-5A4307A65653}"/>
          </ac:grpSpMkLst>
        </pc:grpChg>
        <pc:grpChg chg="del mod">
          <ac:chgData name="Aniket Chhabra" userId="598e0514-bef3-4e71-b6aa-f2edd6441cff" providerId="ADAL" clId="{FFB5BFD2-246A-034F-B635-DE62B5FCF3A6}" dt="2023-05-27T12:06:59.655" v="464"/>
          <ac:grpSpMkLst>
            <pc:docMk/>
            <pc:sldMk cId="1117605727" sldId="312"/>
            <ac:grpSpMk id="85" creationId="{E6E2EA71-900A-2CDB-3F95-55F4A7BA8444}"/>
          </ac:grpSpMkLst>
        </pc:grpChg>
        <pc:grpChg chg="del mod">
          <ac:chgData name="Aniket Chhabra" userId="598e0514-bef3-4e71-b6aa-f2edd6441cff" providerId="ADAL" clId="{FFB5BFD2-246A-034F-B635-DE62B5FCF3A6}" dt="2023-05-27T12:06:59.655" v="464"/>
          <ac:grpSpMkLst>
            <pc:docMk/>
            <pc:sldMk cId="1117605727" sldId="312"/>
            <ac:grpSpMk id="86" creationId="{60D03A52-3DCD-4790-5D1D-9E06058AAD8A}"/>
          </ac:grpSpMkLst>
        </pc:grpChg>
        <pc:grpChg chg="del mod">
          <ac:chgData name="Aniket Chhabra" userId="598e0514-bef3-4e71-b6aa-f2edd6441cff" providerId="ADAL" clId="{FFB5BFD2-246A-034F-B635-DE62B5FCF3A6}" dt="2023-05-27T12:09:41.672" v="636"/>
          <ac:grpSpMkLst>
            <pc:docMk/>
            <pc:sldMk cId="1117605727" sldId="312"/>
            <ac:grpSpMk id="87" creationId="{AD929386-D7CA-2181-4086-026A39FC91E7}"/>
          </ac:grpSpMkLst>
        </pc:grpChg>
        <pc:grpChg chg="del mod">
          <ac:chgData name="Aniket Chhabra" userId="598e0514-bef3-4e71-b6aa-f2edd6441cff" providerId="ADAL" clId="{FFB5BFD2-246A-034F-B635-DE62B5FCF3A6}" dt="2023-05-27T12:09:41.672" v="636"/>
          <ac:grpSpMkLst>
            <pc:docMk/>
            <pc:sldMk cId="1117605727" sldId="312"/>
            <ac:grpSpMk id="98" creationId="{B5E178ED-6A0D-00D4-A670-CBC87BF46C18}"/>
          </ac:grpSpMkLst>
        </pc:grpChg>
        <pc:grpChg chg="del mod">
          <ac:chgData name="Aniket Chhabra" userId="598e0514-bef3-4e71-b6aa-f2edd6441cff" providerId="ADAL" clId="{FFB5BFD2-246A-034F-B635-DE62B5FCF3A6}" dt="2023-05-27T12:09:41.672" v="636"/>
          <ac:grpSpMkLst>
            <pc:docMk/>
            <pc:sldMk cId="1117605727" sldId="312"/>
            <ac:grpSpMk id="99" creationId="{5952FC2D-FC3D-9665-E79E-740BDB061F6B}"/>
          </ac:grpSpMkLst>
        </pc:grpChg>
        <pc:grpChg chg="del mod">
          <ac:chgData name="Aniket Chhabra" userId="598e0514-bef3-4e71-b6aa-f2edd6441cff" providerId="ADAL" clId="{FFB5BFD2-246A-034F-B635-DE62B5FCF3A6}" dt="2023-05-27T12:07:10.721" v="488"/>
          <ac:grpSpMkLst>
            <pc:docMk/>
            <pc:sldMk cId="1117605727" sldId="312"/>
            <ac:grpSpMk id="108" creationId="{D8D497C2-E14D-54FB-0F38-62566E590BFD}"/>
          </ac:grpSpMkLst>
        </pc:grpChg>
        <pc:grpChg chg="del mod">
          <ac:chgData name="Aniket Chhabra" userId="598e0514-bef3-4e71-b6aa-f2edd6441cff" providerId="ADAL" clId="{FFB5BFD2-246A-034F-B635-DE62B5FCF3A6}" dt="2023-05-27T12:09:41.672" v="636"/>
          <ac:grpSpMkLst>
            <pc:docMk/>
            <pc:sldMk cId="1117605727" sldId="312"/>
            <ac:grpSpMk id="112" creationId="{44FAC5C8-3E97-E23A-6321-2AF47838E90A}"/>
          </ac:grpSpMkLst>
        </pc:grpChg>
        <pc:grpChg chg="del mod">
          <ac:chgData name="Aniket Chhabra" userId="598e0514-bef3-4e71-b6aa-f2edd6441cff" providerId="ADAL" clId="{FFB5BFD2-246A-034F-B635-DE62B5FCF3A6}" dt="2023-05-27T12:09:41.672" v="636"/>
          <ac:grpSpMkLst>
            <pc:docMk/>
            <pc:sldMk cId="1117605727" sldId="312"/>
            <ac:grpSpMk id="126" creationId="{31655965-6671-23C8-508E-5D4540DFF0E1}"/>
          </ac:grpSpMkLst>
        </pc:grpChg>
        <pc:grpChg chg="del mod">
          <ac:chgData name="Aniket Chhabra" userId="598e0514-bef3-4e71-b6aa-f2edd6441cff" providerId="ADAL" clId="{FFB5BFD2-246A-034F-B635-DE62B5FCF3A6}" dt="2023-05-27T12:07:39.317" v="514"/>
          <ac:grpSpMkLst>
            <pc:docMk/>
            <pc:sldMk cId="1117605727" sldId="312"/>
            <ac:grpSpMk id="134" creationId="{40C9EDF1-1E43-9F22-D7A0-54D55DF5B36B}"/>
          </ac:grpSpMkLst>
        </pc:grpChg>
        <pc:grpChg chg="del mod">
          <ac:chgData name="Aniket Chhabra" userId="598e0514-bef3-4e71-b6aa-f2edd6441cff" providerId="ADAL" clId="{FFB5BFD2-246A-034F-B635-DE62B5FCF3A6}" dt="2023-05-27T12:07:50.013" v="533"/>
          <ac:grpSpMkLst>
            <pc:docMk/>
            <pc:sldMk cId="1117605727" sldId="312"/>
            <ac:grpSpMk id="138" creationId="{32B87AA4-C6B9-A4FB-BE5B-8F33B2B751DB}"/>
          </ac:grpSpMkLst>
        </pc:grpChg>
        <pc:grpChg chg="del mod">
          <ac:chgData name="Aniket Chhabra" userId="598e0514-bef3-4e71-b6aa-f2edd6441cff" providerId="ADAL" clId="{FFB5BFD2-246A-034F-B635-DE62B5FCF3A6}" dt="2023-05-27T12:07:50.013" v="533"/>
          <ac:grpSpMkLst>
            <pc:docMk/>
            <pc:sldMk cId="1117605727" sldId="312"/>
            <ac:grpSpMk id="146" creationId="{E90E54C7-66D5-B2B4-B5BE-6F3DD6089F54}"/>
          </ac:grpSpMkLst>
        </pc:grpChg>
        <pc:grpChg chg="del mod">
          <ac:chgData name="Aniket Chhabra" userId="598e0514-bef3-4e71-b6aa-f2edd6441cff" providerId="ADAL" clId="{FFB5BFD2-246A-034F-B635-DE62B5FCF3A6}" dt="2023-05-27T12:07:50.013" v="533"/>
          <ac:grpSpMkLst>
            <pc:docMk/>
            <pc:sldMk cId="1117605727" sldId="312"/>
            <ac:grpSpMk id="155" creationId="{E2F30113-1E6C-2FD3-9C1C-65A21F846706}"/>
          </ac:grpSpMkLst>
        </pc:grpChg>
        <pc:grpChg chg="del mod">
          <ac:chgData name="Aniket Chhabra" userId="598e0514-bef3-4e71-b6aa-f2edd6441cff" providerId="ADAL" clId="{FFB5BFD2-246A-034F-B635-DE62B5FCF3A6}" dt="2023-05-27T12:08:07.145" v="563"/>
          <ac:grpSpMkLst>
            <pc:docMk/>
            <pc:sldMk cId="1117605727" sldId="312"/>
            <ac:grpSpMk id="157" creationId="{0A7F1E81-2D51-7E28-4696-82E3A0E49D81}"/>
          </ac:grpSpMkLst>
        </pc:grpChg>
        <pc:grpChg chg="del mod">
          <ac:chgData name="Aniket Chhabra" userId="598e0514-bef3-4e71-b6aa-f2edd6441cff" providerId="ADAL" clId="{FFB5BFD2-246A-034F-B635-DE62B5FCF3A6}" dt="2023-05-27T12:08:07.145" v="563"/>
          <ac:grpSpMkLst>
            <pc:docMk/>
            <pc:sldMk cId="1117605727" sldId="312"/>
            <ac:grpSpMk id="160" creationId="{91691BD5-C54C-C34B-19F1-AF3A60F455F0}"/>
          </ac:grpSpMkLst>
        </pc:grpChg>
        <pc:grpChg chg="del mod">
          <ac:chgData name="Aniket Chhabra" userId="598e0514-bef3-4e71-b6aa-f2edd6441cff" providerId="ADAL" clId="{FFB5BFD2-246A-034F-B635-DE62B5FCF3A6}" dt="2023-05-27T12:08:03.424" v="555"/>
          <ac:grpSpMkLst>
            <pc:docMk/>
            <pc:sldMk cId="1117605727" sldId="312"/>
            <ac:grpSpMk id="175" creationId="{7360691F-9D9B-9F6F-8888-AD747DDA60C9}"/>
          </ac:grpSpMkLst>
        </pc:grpChg>
        <pc:grpChg chg="del mod">
          <ac:chgData name="Aniket Chhabra" userId="598e0514-bef3-4e71-b6aa-f2edd6441cff" providerId="ADAL" clId="{FFB5BFD2-246A-034F-B635-DE62B5FCF3A6}" dt="2023-05-27T12:08:04.291" v="557"/>
          <ac:grpSpMkLst>
            <pc:docMk/>
            <pc:sldMk cId="1117605727" sldId="312"/>
            <ac:grpSpMk id="179" creationId="{27DA6707-AF20-708F-CCF7-6034FA86F24E}"/>
          </ac:grpSpMkLst>
        </pc:grpChg>
        <pc:grpChg chg="del mod">
          <ac:chgData name="Aniket Chhabra" userId="598e0514-bef3-4e71-b6aa-f2edd6441cff" providerId="ADAL" clId="{FFB5BFD2-246A-034F-B635-DE62B5FCF3A6}" dt="2023-05-27T12:08:05.066" v="559"/>
          <ac:grpSpMkLst>
            <pc:docMk/>
            <pc:sldMk cId="1117605727" sldId="312"/>
            <ac:grpSpMk id="181" creationId="{0DE6E220-7114-090A-07EB-3121CB0A1B6A}"/>
          </ac:grpSpMkLst>
        </pc:grpChg>
        <pc:grpChg chg="del mod">
          <ac:chgData name="Aniket Chhabra" userId="598e0514-bef3-4e71-b6aa-f2edd6441cff" providerId="ADAL" clId="{FFB5BFD2-246A-034F-B635-DE62B5FCF3A6}" dt="2023-05-27T12:08:05.821" v="561"/>
          <ac:grpSpMkLst>
            <pc:docMk/>
            <pc:sldMk cId="1117605727" sldId="312"/>
            <ac:grpSpMk id="183" creationId="{A0B4BFD9-4C06-97F4-102F-941736FF5EA2}"/>
          </ac:grpSpMkLst>
        </pc:grpChg>
        <pc:grpChg chg="del mod">
          <ac:chgData name="Aniket Chhabra" userId="598e0514-bef3-4e71-b6aa-f2edd6441cff" providerId="ADAL" clId="{FFB5BFD2-246A-034F-B635-DE62B5FCF3A6}" dt="2023-05-27T12:08:07.145" v="563"/>
          <ac:grpSpMkLst>
            <pc:docMk/>
            <pc:sldMk cId="1117605727" sldId="312"/>
            <ac:grpSpMk id="185" creationId="{EB9F3D32-D1AC-D469-B231-6848E0C1B5C7}"/>
          </ac:grpSpMkLst>
        </pc:grpChg>
        <pc:grpChg chg="del mod">
          <ac:chgData name="Aniket Chhabra" userId="598e0514-bef3-4e71-b6aa-f2edd6441cff" providerId="ADAL" clId="{FFB5BFD2-246A-034F-B635-DE62B5FCF3A6}" dt="2023-05-27T12:08:08.571" v="565"/>
          <ac:grpSpMkLst>
            <pc:docMk/>
            <pc:sldMk cId="1117605727" sldId="312"/>
            <ac:grpSpMk id="187" creationId="{6234B4E8-4AF7-BE5A-C98F-C5EBDD8E2E03}"/>
          </ac:grpSpMkLst>
        </pc:grpChg>
        <pc:grpChg chg="del mod">
          <ac:chgData name="Aniket Chhabra" userId="598e0514-bef3-4e71-b6aa-f2edd6441cff" providerId="ADAL" clId="{FFB5BFD2-246A-034F-B635-DE62B5FCF3A6}" dt="2023-05-27T12:08:11.875" v="571"/>
          <ac:grpSpMkLst>
            <pc:docMk/>
            <pc:sldMk cId="1117605727" sldId="312"/>
            <ac:grpSpMk id="189" creationId="{1CCD1024-B2A2-8FDE-8586-F4E9D8562965}"/>
          </ac:grpSpMkLst>
        </pc:grpChg>
        <pc:grpChg chg="del mod">
          <ac:chgData name="Aniket Chhabra" userId="598e0514-bef3-4e71-b6aa-f2edd6441cff" providerId="ADAL" clId="{FFB5BFD2-246A-034F-B635-DE62B5FCF3A6}" dt="2023-05-27T12:08:21.337" v="574"/>
          <ac:grpSpMkLst>
            <pc:docMk/>
            <pc:sldMk cId="1117605727" sldId="312"/>
            <ac:grpSpMk id="195" creationId="{552954BA-AA70-2EFD-79E1-F535E729E0BB}"/>
          </ac:grpSpMkLst>
        </pc:grpChg>
        <pc:grpChg chg="mod">
          <ac:chgData name="Aniket Chhabra" userId="598e0514-bef3-4e71-b6aa-f2edd6441cff" providerId="ADAL" clId="{FFB5BFD2-246A-034F-B635-DE62B5FCF3A6}" dt="2023-05-27T12:08:21.337" v="574"/>
          <ac:grpSpMkLst>
            <pc:docMk/>
            <pc:sldMk cId="1117605727" sldId="312"/>
            <ac:grpSpMk id="198" creationId="{F791784C-654C-4B31-8875-90405C028A26}"/>
          </ac:grpSpMkLst>
        </pc:grpChg>
        <pc:grpChg chg="del mod">
          <ac:chgData name="Aniket Chhabra" userId="598e0514-bef3-4e71-b6aa-f2edd6441cff" providerId="ADAL" clId="{FFB5BFD2-246A-034F-B635-DE62B5FCF3A6}" dt="2023-05-27T12:08:30.080" v="588"/>
          <ac:grpSpMkLst>
            <pc:docMk/>
            <pc:sldMk cId="1117605727" sldId="312"/>
            <ac:grpSpMk id="206" creationId="{BE134070-3B61-33B2-2551-1431819504DB}"/>
          </ac:grpSpMkLst>
        </pc:grpChg>
        <pc:grpChg chg="del mod">
          <ac:chgData name="Aniket Chhabra" userId="598e0514-bef3-4e71-b6aa-f2edd6441cff" providerId="ADAL" clId="{FFB5BFD2-246A-034F-B635-DE62B5FCF3A6}" dt="2023-05-27T12:08:33.767" v="595"/>
          <ac:grpSpMkLst>
            <pc:docMk/>
            <pc:sldMk cId="1117605727" sldId="312"/>
            <ac:grpSpMk id="212" creationId="{212868E8-3E4B-EA0B-82A8-78F84C1FD6AD}"/>
          </ac:grpSpMkLst>
        </pc:grpChg>
        <pc:grpChg chg="del mod">
          <ac:chgData name="Aniket Chhabra" userId="598e0514-bef3-4e71-b6aa-f2edd6441cff" providerId="ADAL" clId="{FFB5BFD2-246A-034F-B635-DE62B5FCF3A6}" dt="2023-05-27T12:08:39.877" v="600"/>
          <ac:grpSpMkLst>
            <pc:docMk/>
            <pc:sldMk cId="1117605727" sldId="312"/>
            <ac:grpSpMk id="219" creationId="{D987A66A-D7F0-BE94-082F-87BFAB1098A5}"/>
          </ac:grpSpMkLst>
        </pc:grpChg>
        <pc:grpChg chg="del mod">
          <ac:chgData name="Aniket Chhabra" userId="598e0514-bef3-4e71-b6aa-f2edd6441cff" providerId="ADAL" clId="{FFB5BFD2-246A-034F-B635-DE62B5FCF3A6}" dt="2023-05-27T12:08:39.877" v="600"/>
          <ac:grpSpMkLst>
            <pc:docMk/>
            <pc:sldMk cId="1117605727" sldId="312"/>
            <ac:grpSpMk id="224" creationId="{4AA1CAA5-580F-1456-D6AB-3FD69E460849}"/>
          </ac:grpSpMkLst>
        </pc:grpChg>
        <pc:grpChg chg="del mod">
          <ac:chgData name="Aniket Chhabra" userId="598e0514-bef3-4e71-b6aa-f2edd6441cff" providerId="ADAL" clId="{FFB5BFD2-246A-034F-B635-DE62B5FCF3A6}" dt="2023-05-27T12:08:59.521" v="614"/>
          <ac:grpSpMkLst>
            <pc:docMk/>
            <pc:sldMk cId="1117605727" sldId="312"/>
            <ac:grpSpMk id="225" creationId="{7DF2AC8C-37D6-6D57-F694-643AE266FC6F}"/>
          </ac:grpSpMkLst>
        </pc:grpChg>
        <pc:grpChg chg="del mod">
          <ac:chgData name="Aniket Chhabra" userId="598e0514-bef3-4e71-b6aa-f2edd6441cff" providerId="ADAL" clId="{FFB5BFD2-246A-034F-B635-DE62B5FCF3A6}" dt="2023-05-27T12:09:10.553" v="617"/>
          <ac:grpSpMkLst>
            <pc:docMk/>
            <pc:sldMk cId="1117605727" sldId="312"/>
            <ac:grpSpMk id="239" creationId="{DD5AF639-51A9-B35D-6C66-5AE1815D8085}"/>
          </ac:grpSpMkLst>
        </pc:grpChg>
        <pc:grpChg chg="del mod">
          <ac:chgData name="Aniket Chhabra" userId="598e0514-bef3-4e71-b6aa-f2edd6441cff" providerId="ADAL" clId="{FFB5BFD2-246A-034F-B635-DE62B5FCF3A6}" dt="2023-05-27T12:09:11.863" v="620"/>
          <ac:grpSpMkLst>
            <pc:docMk/>
            <pc:sldMk cId="1117605727" sldId="312"/>
            <ac:grpSpMk id="242" creationId="{2896ED5B-D790-5A0F-78DE-A0ED79D74767}"/>
          </ac:grpSpMkLst>
        </pc:grpChg>
        <pc:grpChg chg="del mod">
          <ac:chgData name="Aniket Chhabra" userId="598e0514-bef3-4e71-b6aa-f2edd6441cff" providerId="ADAL" clId="{FFB5BFD2-246A-034F-B635-DE62B5FCF3A6}" dt="2023-05-27T12:09:41.672" v="636"/>
          <ac:grpSpMkLst>
            <pc:docMk/>
            <pc:sldMk cId="1117605727" sldId="312"/>
            <ac:grpSpMk id="245" creationId="{78C0DC15-4659-AB39-2A23-FE4C4065D950}"/>
          </ac:grpSpMkLst>
        </pc:grpChg>
        <pc:grpChg chg="mod">
          <ac:chgData name="Aniket Chhabra" userId="598e0514-bef3-4e71-b6aa-f2edd6441cff" providerId="ADAL" clId="{FFB5BFD2-246A-034F-B635-DE62B5FCF3A6}" dt="2023-05-27T12:09:41.672" v="636"/>
          <ac:grpSpMkLst>
            <pc:docMk/>
            <pc:sldMk cId="1117605727" sldId="312"/>
            <ac:grpSpMk id="261" creationId="{D24C4825-5D91-5316-5E88-8705ACE65835}"/>
          </ac:grpSpMkLst>
        </pc:grpChg>
        <pc:inkChg chg="add mod">
          <ac:chgData name="Aniket Chhabra" userId="598e0514-bef3-4e71-b6aa-f2edd6441cff" providerId="ADAL" clId="{FFB5BFD2-246A-034F-B635-DE62B5FCF3A6}" dt="2023-05-27T12:06:15.571" v="396"/>
          <ac:inkMkLst>
            <pc:docMk/>
            <pc:sldMk cId="1117605727" sldId="312"/>
            <ac:inkMk id="2" creationId="{2B6200D8-7A30-E5C4-3CA1-DF0ABADF5B96}"/>
          </ac:inkMkLst>
        </pc:inkChg>
        <pc:inkChg chg="add mod">
          <ac:chgData name="Aniket Chhabra" userId="598e0514-bef3-4e71-b6aa-f2edd6441cff" providerId="ADAL" clId="{FFB5BFD2-246A-034F-B635-DE62B5FCF3A6}" dt="2023-05-27T12:06:15.571" v="396"/>
          <ac:inkMkLst>
            <pc:docMk/>
            <pc:sldMk cId="1117605727" sldId="312"/>
            <ac:inkMk id="3" creationId="{9B34B0CB-2F6A-5297-1238-9EA440767FCD}"/>
          </ac:inkMkLst>
        </pc:inkChg>
        <pc:inkChg chg="add mod">
          <ac:chgData name="Aniket Chhabra" userId="598e0514-bef3-4e71-b6aa-f2edd6441cff" providerId="ADAL" clId="{FFB5BFD2-246A-034F-B635-DE62B5FCF3A6}" dt="2023-05-27T12:06:15.571" v="396"/>
          <ac:inkMkLst>
            <pc:docMk/>
            <pc:sldMk cId="1117605727" sldId="312"/>
            <ac:inkMk id="4" creationId="{558F9DCA-06EC-4D2A-843A-9DADB1143D0A}"/>
          </ac:inkMkLst>
        </pc:inkChg>
        <pc:inkChg chg="add mod">
          <ac:chgData name="Aniket Chhabra" userId="598e0514-bef3-4e71-b6aa-f2edd6441cff" providerId="ADAL" clId="{FFB5BFD2-246A-034F-B635-DE62B5FCF3A6}" dt="2023-05-27T12:06:15.571" v="396"/>
          <ac:inkMkLst>
            <pc:docMk/>
            <pc:sldMk cId="1117605727" sldId="312"/>
            <ac:inkMk id="5" creationId="{B271DE3D-D3C8-4736-9715-149BA1ADA342}"/>
          </ac:inkMkLst>
        </pc:inkChg>
        <pc:inkChg chg="add mod">
          <ac:chgData name="Aniket Chhabra" userId="598e0514-bef3-4e71-b6aa-f2edd6441cff" providerId="ADAL" clId="{FFB5BFD2-246A-034F-B635-DE62B5FCF3A6}" dt="2023-05-27T12:06:15.571" v="396"/>
          <ac:inkMkLst>
            <pc:docMk/>
            <pc:sldMk cId="1117605727" sldId="312"/>
            <ac:inkMk id="6" creationId="{3FF9EB2A-348A-530E-9875-0C0C468CF077}"/>
          </ac:inkMkLst>
        </pc:inkChg>
        <pc:inkChg chg="add mod">
          <ac:chgData name="Aniket Chhabra" userId="598e0514-bef3-4e71-b6aa-f2edd6441cff" providerId="ADAL" clId="{FFB5BFD2-246A-034F-B635-DE62B5FCF3A6}" dt="2023-05-27T12:06:15.571" v="396"/>
          <ac:inkMkLst>
            <pc:docMk/>
            <pc:sldMk cId="1117605727" sldId="312"/>
            <ac:inkMk id="7" creationId="{8DC9B329-AEB1-08C6-FF98-147552BFFA1B}"/>
          </ac:inkMkLst>
        </pc:inkChg>
        <pc:inkChg chg="add mod">
          <ac:chgData name="Aniket Chhabra" userId="598e0514-bef3-4e71-b6aa-f2edd6441cff" providerId="ADAL" clId="{FFB5BFD2-246A-034F-B635-DE62B5FCF3A6}" dt="2023-05-27T12:06:15.571" v="396"/>
          <ac:inkMkLst>
            <pc:docMk/>
            <pc:sldMk cId="1117605727" sldId="312"/>
            <ac:inkMk id="8" creationId="{61E9E397-B50A-8E45-ECAC-902ED62EF028}"/>
          </ac:inkMkLst>
        </pc:inkChg>
        <pc:inkChg chg="add mod">
          <ac:chgData name="Aniket Chhabra" userId="598e0514-bef3-4e71-b6aa-f2edd6441cff" providerId="ADAL" clId="{FFB5BFD2-246A-034F-B635-DE62B5FCF3A6}" dt="2023-05-27T12:06:15.571" v="396"/>
          <ac:inkMkLst>
            <pc:docMk/>
            <pc:sldMk cId="1117605727" sldId="312"/>
            <ac:inkMk id="9" creationId="{B7D7F997-7356-BF77-58E6-C22C6688715B}"/>
          </ac:inkMkLst>
        </pc:inkChg>
        <pc:inkChg chg="add mod">
          <ac:chgData name="Aniket Chhabra" userId="598e0514-bef3-4e71-b6aa-f2edd6441cff" providerId="ADAL" clId="{FFB5BFD2-246A-034F-B635-DE62B5FCF3A6}" dt="2023-05-27T12:06:15.571" v="396"/>
          <ac:inkMkLst>
            <pc:docMk/>
            <pc:sldMk cId="1117605727" sldId="312"/>
            <ac:inkMk id="10" creationId="{F8CC6B9C-4347-423D-3479-52C19F9F3B43}"/>
          </ac:inkMkLst>
        </pc:inkChg>
        <pc:inkChg chg="add mod">
          <ac:chgData name="Aniket Chhabra" userId="598e0514-bef3-4e71-b6aa-f2edd6441cff" providerId="ADAL" clId="{FFB5BFD2-246A-034F-B635-DE62B5FCF3A6}" dt="2023-05-27T12:06:15.571" v="396"/>
          <ac:inkMkLst>
            <pc:docMk/>
            <pc:sldMk cId="1117605727" sldId="312"/>
            <ac:inkMk id="11" creationId="{B9BBB99B-361A-C012-2F0F-F757E69A2305}"/>
          </ac:inkMkLst>
        </pc:inkChg>
        <pc:inkChg chg="add mod">
          <ac:chgData name="Aniket Chhabra" userId="598e0514-bef3-4e71-b6aa-f2edd6441cff" providerId="ADAL" clId="{FFB5BFD2-246A-034F-B635-DE62B5FCF3A6}" dt="2023-05-27T12:06:15.571" v="396"/>
          <ac:inkMkLst>
            <pc:docMk/>
            <pc:sldMk cId="1117605727" sldId="312"/>
            <ac:inkMk id="12" creationId="{31F09169-7ECE-AF0E-9352-59107C49A213}"/>
          </ac:inkMkLst>
        </pc:inkChg>
        <pc:inkChg chg="add mod">
          <ac:chgData name="Aniket Chhabra" userId="598e0514-bef3-4e71-b6aa-f2edd6441cff" providerId="ADAL" clId="{FFB5BFD2-246A-034F-B635-DE62B5FCF3A6}" dt="2023-05-27T12:06:29.726" v="422"/>
          <ac:inkMkLst>
            <pc:docMk/>
            <pc:sldMk cId="1117605727" sldId="312"/>
            <ac:inkMk id="16" creationId="{096C292D-98C6-2F7F-D1E5-B6A1FDAD0BDD}"/>
          </ac:inkMkLst>
        </pc:inkChg>
        <pc:inkChg chg="add mod">
          <ac:chgData name="Aniket Chhabra" userId="598e0514-bef3-4e71-b6aa-f2edd6441cff" providerId="ADAL" clId="{FFB5BFD2-246A-034F-B635-DE62B5FCF3A6}" dt="2023-05-27T12:06:29.726" v="422"/>
          <ac:inkMkLst>
            <pc:docMk/>
            <pc:sldMk cId="1117605727" sldId="312"/>
            <ac:inkMk id="17" creationId="{9052CEFB-C0FA-9D73-61EA-141A758F05C6}"/>
          </ac:inkMkLst>
        </pc:inkChg>
        <pc:inkChg chg="add mod">
          <ac:chgData name="Aniket Chhabra" userId="598e0514-bef3-4e71-b6aa-f2edd6441cff" providerId="ADAL" clId="{FFB5BFD2-246A-034F-B635-DE62B5FCF3A6}" dt="2023-05-27T12:06:29.726" v="422"/>
          <ac:inkMkLst>
            <pc:docMk/>
            <pc:sldMk cId="1117605727" sldId="312"/>
            <ac:inkMk id="18" creationId="{0E7411A4-54B2-BB33-64F8-C56718651D2E}"/>
          </ac:inkMkLst>
        </pc:inkChg>
        <pc:inkChg chg="add mod">
          <ac:chgData name="Aniket Chhabra" userId="598e0514-bef3-4e71-b6aa-f2edd6441cff" providerId="ADAL" clId="{FFB5BFD2-246A-034F-B635-DE62B5FCF3A6}" dt="2023-05-27T12:06:29.726" v="422"/>
          <ac:inkMkLst>
            <pc:docMk/>
            <pc:sldMk cId="1117605727" sldId="312"/>
            <ac:inkMk id="19" creationId="{933E0D11-3607-EC92-03A3-9DB2AF425F00}"/>
          </ac:inkMkLst>
        </pc:inkChg>
        <pc:inkChg chg="add mod">
          <ac:chgData name="Aniket Chhabra" userId="598e0514-bef3-4e71-b6aa-f2edd6441cff" providerId="ADAL" clId="{FFB5BFD2-246A-034F-B635-DE62B5FCF3A6}" dt="2023-05-27T12:06:29.726" v="422"/>
          <ac:inkMkLst>
            <pc:docMk/>
            <pc:sldMk cId="1117605727" sldId="312"/>
            <ac:inkMk id="20" creationId="{703EAA17-5B43-9559-C459-255CFBFBB32E}"/>
          </ac:inkMkLst>
        </pc:inkChg>
        <pc:inkChg chg="add mod">
          <ac:chgData name="Aniket Chhabra" userId="598e0514-bef3-4e71-b6aa-f2edd6441cff" providerId="ADAL" clId="{FFB5BFD2-246A-034F-B635-DE62B5FCF3A6}" dt="2023-05-27T12:06:29.726" v="422"/>
          <ac:inkMkLst>
            <pc:docMk/>
            <pc:sldMk cId="1117605727" sldId="312"/>
            <ac:inkMk id="21" creationId="{6263F458-F2C5-ADD6-0A5D-325D1BE4F0F8}"/>
          </ac:inkMkLst>
        </pc:inkChg>
        <pc:inkChg chg="add mod">
          <ac:chgData name="Aniket Chhabra" userId="598e0514-bef3-4e71-b6aa-f2edd6441cff" providerId="ADAL" clId="{FFB5BFD2-246A-034F-B635-DE62B5FCF3A6}" dt="2023-05-27T12:06:29.726" v="422"/>
          <ac:inkMkLst>
            <pc:docMk/>
            <pc:sldMk cId="1117605727" sldId="312"/>
            <ac:inkMk id="22" creationId="{89A5DB9F-0772-6658-3A0A-12FC7358082A}"/>
          </ac:inkMkLst>
        </pc:inkChg>
        <pc:inkChg chg="add mod">
          <ac:chgData name="Aniket Chhabra" userId="598e0514-bef3-4e71-b6aa-f2edd6441cff" providerId="ADAL" clId="{FFB5BFD2-246A-034F-B635-DE62B5FCF3A6}" dt="2023-05-27T12:06:29.726" v="422"/>
          <ac:inkMkLst>
            <pc:docMk/>
            <pc:sldMk cId="1117605727" sldId="312"/>
            <ac:inkMk id="23" creationId="{58168572-1560-FC12-E1BF-8D596B628903}"/>
          </ac:inkMkLst>
        </pc:inkChg>
        <pc:inkChg chg="add mod">
          <ac:chgData name="Aniket Chhabra" userId="598e0514-bef3-4e71-b6aa-f2edd6441cff" providerId="ADAL" clId="{FFB5BFD2-246A-034F-B635-DE62B5FCF3A6}" dt="2023-05-27T12:06:29.726" v="422"/>
          <ac:inkMkLst>
            <pc:docMk/>
            <pc:sldMk cId="1117605727" sldId="312"/>
            <ac:inkMk id="24" creationId="{4762D8F4-3FC7-515F-5E0B-148BAED278EE}"/>
          </ac:inkMkLst>
        </pc:inkChg>
        <pc:inkChg chg="add mod">
          <ac:chgData name="Aniket Chhabra" userId="598e0514-bef3-4e71-b6aa-f2edd6441cff" providerId="ADAL" clId="{FFB5BFD2-246A-034F-B635-DE62B5FCF3A6}" dt="2023-05-27T12:06:29.726" v="422"/>
          <ac:inkMkLst>
            <pc:docMk/>
            <pc:sldMk cId="1117605727" sldId="312"/>
            <ac:inkMk id="25" creationId="{163B6BC9-F1F9-44F0-C383-538B7DDA655E}"/>
          </ac:inkMkLst>
        </pc:inkChg>
        <pc:inkChg chg="add mod">
          <ac:chgData name="Aniket Chhabra" userId="598e0514-bef3-4e71-b6aa-f2edd6441cff" providerId="ADAL" clId="{FFB5BFD2-246A-034F-B635-DE62B5FCF3A6}" dt="2023-05-27T12:06:29.726" v="422"/>
          <ac:inkMkLst>
            <pc:docMk/>
            <pc:sldMk cId="1117605727" sldId="312"/>
            <ac:inkMk id="26" creationId="{7DAF8F2C-7780-976A-F3B4-C3E1AAA013C7}"/>
          </ac:inkMkLst>
        </pc:inkChg>
        <pc:inkChg chg="add mod">
          <ac:chgData name="Aniket Chhabra" userId="598e0514-bef3-4e71-b6aa-f2edd6441cff" providerId="ADAL" clId="{FFB5BFD2-246A-034F-B635-DE62B5FCF3A6}" dt="2023-05-27T12:06:29.726" v="422"/>
          <ac:inkMkLst>
            <pc:docMk/>
            <pc:sldMk cId="1117605727" sldId="312"/>
            <ac:inkMk id="27" creationId="{D467A9A0-0A71-39B1-AC71-224D65C3846F}"/>
          </ac:inkMkLst>
        </pc:inkChg>
        <pc:inkChg chg="add mod">
          <ac:chgData name="Aniket Chhabra" userId="598e0514-bef3-4e71-b6aa-f2edd6441cff" providerId="ADAL" clId="{FFB5BFD2-246A-034F-B635-DE62B5FCF3A6}" dt="2023-05-27T12:06:29.726" v="422"/>
          <ac:inkMkLst>
            <pc:docMk/>
            <pc:sldMk cId="1117605727" sldId="312"/>
            <ac:inkMk id="28" creationId="{10A7E6C4-C8D1-9D5A-0186-F243FFB9E18B}"/>
          </ac:inkMkLst>
        </pc:inkChg>
        <pc:inkChg chg="add mod">
          <ac:chgData name="Aniket Chhabra" userId="598e0514-bef3-4e71-b6aa-f2edd6441cff" providerId="ADAL" clId="{FFB5BFD2-246A-034F-B635-DE62B5FCF3A6}" dt="2023-05-27T12:06:29.726" v="422"/>
          <ac:inkMkLst>
            <pc:docMk/>
            <pc:sldMk cId="1117605727" sldId="312"/>
            <ac:inkMk id="29" creationId="{67025990-04C1-D460-6D86-073CE3483E00}"/>
          </ac:inkMkLst>
        </pc:inkChg>
        <pc:inkChg chg="add mod">
          <ac:chgData name="Aniket Chhabra" userId="598e0514-bef3-4e71-b6aa-f2edd6441cff" providerId="ADAL" clId="{FFB5BFD2-246A-034F-B635-DE62B5FCF3A6}" dt="2023-05-27T12:06:29.726" v="422"/>
          <ac:inkMkLst>
            <pc:docMk/>
            <pc:sldMk cId="1117605727" sldId="312"/>
            <ac:inkMk id="30" creationId="{227B3A4A-A39B-5EBC-6F5A-16D6BE60ABCD}"/>
          </ac:inkMkLst>
        </pc:inkChg>
        <pc:inkChg chg="add mod">
          <ac:chgData name="Aniket Chhabra" userId="598e0514-bef3-4e71-b6aa-f2edd6441cff" providerId="ADAL" clId="{FFB5BFD2-246A-034F-B635-DE62B5FCF3A6}" dt="2023-05-27T12:06:29.726" v="422"/>
          <ac:inkMkLst>
            <pc:docMk/>
            <pc:sldMk cId="1117605727" sldId="312"/>
            <ac:inkMk id="31" creationId="{EE2B7605-05BE-A814-D004-8B5031B5F3C1}"/>
          </ac:inkMkLst>
        </pc:inkChg>
        <pc:inkChg chg="add mod">
          <ac:chgData name="Aniket Chhabra" userId="598e0514-bef3-4e71-b6aa-f2edd6441cff" providerId="ADAL" clId="{FFB5BFD2-246A-034F-B635-DE62B5FCF3A6}" dt="2023-05-27T12:06:29.726" v="422"/>
          <ac:inkMkLst>
            <pc:docMk/>
            <pc:sldMk cId="1117605727" sldId="312"/>
            <ac:inkMk id="32" creationId="{1D12699A-B631-4D33-2B3B-A614A64F16BD}"/>
          </ac:inkMkLst>
        </pc:inkChg>
        <pc:inkChg chg="add mod">
          <ac:chgData name="Aniket Chhabra" userId="598e0514-bef3-4e71-b6aa-f2edd6441cff" providerId="ADAL" clId="{FFB5BFD2-246A-034F-B635-DE62B5FCF3A6}" dt="2023-05-27T12:06:29.726" v="422"/>
          <ac:inkMkLst>
            <pc:docMk/>
            <pc:sldMk cId="1117605727" sldId="312"/>
            <ac:inkMk id="33" creationId="{733F7831-4515-6664-62CA-A6E97B3E5010}"/>
          </ac:inkMkLst>
        </pc:inkChg>
        <pc:inkChg chg="add mod">
          <ac:chgData name="Aniket Chhabra" userId="598e0514-bef3-4e71-b6aa-f2edd6441cff" providerId="ADAL" clId="{FFB5BFD2-246A-034F-B635-DE62B5FCF3A6}" dt="2023-05-27T12:06:29.726" v="422"/>
          <ac:inkMkLst>
            <pc:docMk/>
            <pc:sldMk cId="1117605727" sldId="312"/>
            <ac:inkMk id="34" creationId="{F2D2481B-4FEC-E3BE-B5C4-FE6112EBA072}"/>
          </ac:inkMkLst>
        </pc:inkChg>
        <pc:inkChg chg="add mod">
          <ac:chgData name="Aniket Chhabra" userId="598e0514-bef3-4e71-b6aa-f2edd6441cff" providerId="ADAL" clId="{FFB5BFD2-246A-034F-B635-DE62B5FCF3A6}" dt="2023-05-27T12:06:29.726" v="422"/>
          <ac:inkMkLst>
            <pc:docMk/>
            <pc:sldMk cId="1117605727" sldId="312"/>
            <ac:inkMk id="35" creationId="{9C65C35B-D6E3-DB0B-BC6F-C60A7C966C45}"/>
          </ac:inkMkLst>
        </pc:inkChg>
        <pc:inkChg chg="add mod">
          <ac:chgData name="Aniket Chhabra" userId="598e0514-bef3-4e71-b6aa-f2edd6441cff" providerId="ADAL" clId="{FFB5BFD2-246A-034F-B635-DE62B5FCF3A6}" dt="2023-05-27T12:06:29.726" v="422"/>
          <ac:inkMkLst>
            <pc:docMk/>
            <pc:sldMk cId="1117605727" sldId="312"/>
            <ac:inkMk id="36" creationId="{C5A91FBB-8FD0-4532-372E-5E2790A11B47}"/>
          </ac:inkMkLst>
        </pc:inkChg>
        <pc:inkChg chg="add mod">
          <ac:chgData name="Aniket Chhabra" userId="598e0514-bef3-4e71-b6aa-f2edd6441cff" providerId="ADAL" clId="{FFB5BFD2-246A-034F-B635-DE62B5FCF3A6}" dt="2023-05-27T12:06:29.726" v="422"/>
          <ac:inkMkLst>
            <pc:docMk/>
            <pc:sldMk cId="1117605727" sldId="312"/>
            <ac:inkMk id="37" creationId="{BEA67D1A-F3C3-21A1-DB7D-09DA23C28FDB}"/>
          </ac:inkMkLst>
        </pc:inkChg>
        <pc:inkChg chg="add">
          <ac:chgData name="Aniket Chhabra" userId="598e0514-bef3-4e71-b6aa-f2edd6441cff" providerId="ADAL" clId="{FFB5BFD2-246A-034F-B635-DE62B5FCF3A6}" dt="2023-05-27T12:06:28.141" v="419" actId="9405"/>
          <ac:inkMkLst>
            <pc:docMk/>
            <pc:sldMk cId="1117605727" sldId="312"/>
            <ac:inkMk id="38" creationId="{8CE40915-3264-0DE4-FEFC-30ABBD7ACAC6}"/>
          </ac:inkMkLst>
        </pc:inkChg>
        <pc:inkChg chg="add mod">
          <ac:chgData name="Aniket Chhabra" userId="598e0514-bef3-4e71-b6aa-f2edd6441cff" providerId="ADAL" clId="{FFB5BFD2-246A-034F-B635-DE62B5FCF3A6}" dt="2023-05-27T12:06:29.726" v="422"/>
          <ac:inkMkLst>
            <pc:docMk/>
            <pc:sldMk cId="1117605727" sldId="312"/>
            <ac:inkMk id="39" creationId="{46A92333-37C3-D75E-1650-AED92CFF9F8F}"/>
          </ac:inkMkLst>
        </pc:inkChg>
        <pc:inkChg chg="add mod">
          <ac:chgData name="Aniket Chhabra" userId="598e0514-bef3-4e71-b6aa-f2edd6441cff" providerId="ADAL" clId="{FFB5BFD2-246A-034F-B635-DE62B5FCF3A6}" dt="2023-05-27T12:06:29.726" v="422"/>
          <ac:inkMkLst>
            <pc:docMk/>
            <pc:sldMk cId="1117605727" sldId="312"/>
            <ac:inkMk id="40" creationId="{45AEA2DD-AF73-C212-F274-385ABB15413B}"/>
          </ac:inkMkLst>
        </pc:inkChg>
        <pc:inkChg chg="add">
          <ac:chgData name="Aniket Chhabra" userId="598e0514-bef3-4e71-b6aa-f2edd6441cff" providerId="ADAL" clId="{FFB5BFD2-246A-034F-B635-DE62B5FCF3A6}" dt="2023-05-27T12:06:33.994" v="423" actId="9405"/>
          <ac:inkMkLst>
            <pc:docMk/>
            <pc:sldMk cId="1117605727" sldId="312"/>
            <ac:inkMk id="44" creationId="{40C9C2B5-C49E-0A67-9CCB-328676D97C08}"/>
          </ac:inkMkLst>
        </pc:inkChg>
        <pc:inkChg chg="add">
          <ac:chgData name="Aniket Chhabra" userId="598e0514-bef3-4e71-b6aa-f2edd6441cff" providerId="ADAL" clId="{FFB5BFD2-246A-034F-B635-DE62B5FCF3A6}" dt="2023-05-27T12:06:35.362" v="424" actId="9405"/>
          <ac:inkMkLst>
            <pc:docMk/>
            <pc:sldMk cId="1117605727" sldId="312"/>
            <ac:inkMk id="45" creationId="{52838074-0E75-20C0-B67E-61C78484C7AC}"/>
          </ac:inkMkLst>
        </pc:inkChg>
        <pc:inkChg chg="add">
          <ac:chgData name="Aniket Chhabra" userId="598e0514-bef3-4e71-b6aa-f2edd6441cff" providerId="ADAL" clId="{FFB5BFD2-246A-034F-B635-DE62B5FCF3A6}" dt="2023-05-27T12:06:37.818" v="425" actId="9405"/>
          <ac:inkMkLst>
            <pc:docMk/>
            <pc:sldMk cId="1117605727" sldId="312"/>
            <ac:inkMk id="46" creationId="{B15C4A94-CEB7-47C5-1FAA-8E883CA43093}"/>
          </ac:inkMkLst>
        </pc:inkChg>
        <pc:inkChg chg="add mod">
          <ac:chgData name="Aniket Chhabra" userId="598e0514-bef3-4e71-b6aa-f2edd6441cff" providerId="ADAL" clId="{FFB5BFD2-246A-034F-B635-DE62B5FCF3A6}" dt="2023-05-27T12:08:21.337" v="574"/>
          <ac:inkMkLst>
            <pc:docMk/>
            <pc:sldMk cId="1117605727" sldId="312"/>
            <ac:inkMk id="47" creationId="{7DAD611E-FECA-EBF2-09B4-2FAF6F771152}"/>
          </ac:inkMkLst>
        </pc:inkChg>
        <pc:inkChg chg="add mod">
          <ac:chgData name="Aniket Chhabra" userId="598e0514-bef3-4e71-b6aa-f2edd6441cff" providerId="ADAL" clId="{FFB5BFD2-246A-034F-B635-DE62B5FCF3A6}" dt="2023-05-27T12:08:21.337" v="574"/>
          <ac:inkMkLst>
            <pc:docMk/>
            <pc:sldMk cId="1117605727" sldId="312"/>
            <ac:inkMk id="48" creationId="{253856D0-BE98-C7A7-14E7-6C8939F6E49F}"/>
          </ac:inkMkLst>
        </pc:inkChg>
        <pc:inkChg chg="add mod">
          <ac:chgData name="Aniket Chhabra" userId="598e0514-bef3-4e71-b6aa-f2edd6441cff" providerId="ADAL" clId="{FFB5BFD2-246A-034F-B635-DE62B5FCF3A6}" dt="2023-05-27T12:08:21.337" v="574"/>
          <ac:inkMkLst>
            <pc:docMk/>
            <pc:sldMk cId="1117605727" sldId="312"/>
            <ac:inkMk id="49" creationId="{61893411-C796-9C65-74CF-4E2D01AF4E4A}"/>
          </ac:inkMkLst>
        </pc:inkChg>
        <pc:inkChg chg="add mod">
          <ac:chgData name="Aniket Chhabra" userId="598e0514-bef3-4e71-b6aa-f2edd6441cff" providerId="ADAL" clId="{FFB5BFD2-246A-034F-B635-DE62B5FCF3A6}" dt="2023-05-27T12:09:41.672" v="636"/>
          <ac:inkMkLst>
            <pc:docMk/>
            <pc:sldMk cId="1117605727" sldId="312"/>
            <ac:inkMk id="51" creationId="{452297FC-1A6A-ABBC-3DED-5E32AB67B860}"/>
          </ac:inkMkLst>
        </pc:inkChg>
        <pc:inkChg chg="add mod">
          <ac:chgData name="Aniket Chhabra" userId="598e0514-bef3-4e71-b6aa-f2edd6441cff" providerId="ADAL" clId="{FFB5BFD2-246A-034F-B635-DE62B5FCF3A6}" dt="2023-05-27T12:09:41.672" v="636"/>
          <ac:inkMkLst>
            <pc:docMk/>
            <pc:sldMk cId="1117605727" sldId="312"/>
            <ac:inkMk id="52" creationId="{2149BBCD-CE6B-F798-9E93-7F49FD8FDE3C}"/>
          </ac:inkMkLst>
        </pc:inkChg>
        <pc:inkChg chg="add mod">
          <ac:chgData name="Aniket Chhabra" userId="598e0514-bef3-4e71-b6aa-f2edd6441cff" providerId="ADAL" clId="{FFB5BFD2-246A-034F-B635-DE62B5FCF3A6}" dt="2023-05-27T12:09:41.672" v="636"/>
          <ac:inkMkLst>
            <pc:docMk/>
            <pc:sldMk cId="1117605727" sldId="312"/>
            <ac:inkMk id="53" creationId="{C3627779-DBC1-E4E8-6A42-FFFAC08700C4}"/>
          </ac:inkMkLst>
        </pc:inkChg>
        <pc:inkChg chg="add mod">
          <ac:chgData name="Aniket Chhabra" userId="598e0514-bef3-4e71-b6aa-f2edd6441cff" providerId="ADAL" clId="{FFB5BFD2-246A-034F-B635-DE62B5FCF3A6}" dt="2023-05-27T12:09:41.672" v="636"/>
          <ac:inkMkLst>
            <pc:docMk/>
            <pc:sldMk cId="1117605727" sldId="312"/>
            <ac:inkMk id="54" creationId="{C638B76E-8033-3E69-2E5B-77BAEFEB7368}"/>
          </ac:inkMkLst>
        </pc:inkChg>
        <pc:inkChg chg="add mod">
          <ac:chgData name="Aniket Chhabra" userId="598e0514-bef3-4e71-b6aa-f2edd6441cff" providerId="ADAL" clId="{FFB5BFD2-246A-034F-B635-DE62B5FCF3A6}" dt="2023-05-27T12:09:41.672" v="636"/>
          <ac:inkMkLst>
            <pc:docMk/>
            <pc:sldMk cId="1117605727" sldId="312"/>
            <ac:inkMk id="55" creationId="{9A35A7BC-4C0A-75EF-2683-CDC5ECB2191A}"/>
          </ac:inkMkLst>
        </pc:inkChg>
        <pc:inkChg chg="add mod">
          <ac:chgData name="Aniket Chhabra" userId="598e0514-bef3-4e71-b6aa-f2edd6441cff" providerId="ADAL" clId="{FFB5BFD2-246A-034F-B635-DE62B5FCF3A6}" dt="2023-05-27T12:09:41.672" v="636"/>
          <ac:inkMkLst>
            <pc:docMk/>
            <pc:sldMk cId="1117605727" sldId="312"/>
            <ac:inkMk id="56" creationId="{B3ABD960-B587-EBE5-E3B7-E421B06C244B}"/>
          </ac:inkMkLst>
        </pc:inkChg>
        <pc:inkChg chg="add mod">
          <ac:chgData name="Aniket Chhabra" userId="598e0514-bef3-4e71-b6aa-f2edd6441cff" providerId="ADAL" clId="{FFB5BFD2-246A-034F-B635-DE62B5FCF3A6}" dt="2023-05-27T12:09:41.672" v="636"/>
          <ac:inkMkLst>
            <pc:docMk/>
            <pc:sldMk cId="1117605727" sldId="312"/>
            <ac:inkMk id="57" creationId="{F2F3F3E2-F5C7-39EA-32F1-9FBEE69D6CDC}"/>
          </ac:inkMkLst>
        </pc:inkChg>
        <pc:inkChg chg="add mod">
          <ac:chgData name="Aniket Chhabra" userId="598e0514-bef3-4e71-b6aa-f2edd6441cff" providerId="ADAL" clId="{FFB5BFD2-246A-034F-B635-DE62B5FCF3A6}" dt="2023-05-27T12:09:41.672" v="636"/>
          <ac:inkMkLst>
            <pc:docMk/>
            <pc:sldMk cId="1117605727" sldId="312"/>
            <ac:inkMk id="58" creationId="{B98BC777-CFA7-A8ED-EDFC-4F68619178C8}"/>
          </ac:inkMkLst>
        </pc:inkChg>
        <pc:inkChg chg="add mod">
          <ac:chgData name="Aniket Chhabra" userId="598e0514-bef3-4e71-b6aa-f2edd6441cff" providerId="ADAL" clId="{FFB5BFD2-246A-034F-B635-DE62B5FCF3A6}" dt="2023-05-27T12:09:41.672" v="636"/>
          <ac:inkMkLst>
            <pc:docMk/>
            <pc:sldMk cId="1117605727" sldId="312"/>
            <ac:inkMk id="59" creationId="{85085358-3A4A-C891-29BC-496B7F8242C9}"/>
          </ac:inkMkLst>
        </pc:inkChg>
        <pc:inkChg chg="add mod">
          <ac:chgData name="Aniket Chhabra" userId="598e0514-bef3-4e71-b6aa-f2edd6441cff" providerId="ADAL" clId="{FFB5BFD2-246A-034F-B635-DE62B5FCF3A6}" dt="2023-05-27T12:09:41.672" v="636"/>
          <ac:inkMkLst>
            <pc:docMk/>
            <pc:sldMk cId="1117605727" sldId="312"/>
            <ac:inkMk id="60" creationId="{489FF193-C0A0-D7FA-3D78-52FABE81A703}"/>
          </ac:inkMkLst>
        </pc:inkChg>
        <pc:inkChg chg="add mod">
          <ac:chgData name="Aniket Chhabra" userId="598e0514-bef3-4e71-b6aa-f2edd6441cff" providerId="ADAL" clId="{FFB5BFD2-246A-034F-B635-DE62B5FCF3A6}" dt="2023-05-27T12:09:41.672" v="636"/>
          <ac:inkMkLst>
            <pc:docMk/>
            <pc:sldMk cId="1117605727" sldId="312"/>
            <ac:inkMk id="61" creationId="{8A54A695-5D3C-5679-56FE-4531C40E1315}"/>
          </ac:inkMkLst>
        </pc:inkChg>
        <pc:inkChg chg="add mod">
          <ac:chgData name="Aniket Chhabra" userId="598e0514-bef3-4e71-b6aa-f2edd6441cff" providerId="ADAL" clId="{FFB5BFD2-246A-034F-B635-DE62B5FCF3A6}" dt="2023-05-27T12:09:41.672" v="636"/>
          <ac:inkMkLst>
            <pc:docMk/>
            <pc:sldMk cId="1117605727" sldId="312"/>
            <ac:inkMk id="62" creationId="{09863AEC-C0D0-15DD-A7F5-6D40FAE34039}"/>
          </ac:inkMkLst>
        </pc:inkChg>
        <pc:inkChg chg="add mod">
          <ac:chgData name="Aniket Chhabra" userId="598e0514-bef3-4e71-b6aa-f2edd6441cff" providerId="ADAL" clId="{FFB5BFD2-246A-034F-B635-DE62B5FCF3A6}" dt="2023-05-27T12:09:41.672" v="636"/>
          <ac:inkMkLst>
            <pc:docMk/>
            <pc:sldMk cId="1117605727" sldId="312"/>
            <ac:inkMk id="63" creationId="{6E2F2C35-3F6D-C36E-8EBB-9E94507C0D61}"/>
          </ac:inkMkLst>
        </pc:inkChg>
        <pc:inkChg chg="add mod">
          <ac:chgData name="Aniket Chhabra" userId="598e0514-bef3-4e71-b6aa-f2edd6441cff" providerId="ADAL" clId="{FFB5BFD2-246A-034F-B635-DE62B5FCF3A6}" dt="2023-05-27T12:09:41.672" v="636"/>
          <ac:inkMkLst>
            <pc:docMk/>
            <pc:sldMk cId="1117605727" sldId="312"/>
            <ac:inkMk id="65" creationId="{28E09098-21E6-226A-49E9-E82FE68681A1}"/>
          </ac:inkMkLst>
        </pc:inkChg>
        <pc:inkChg chg="add mod">
          <ac:chgData name="Aniket Chhabra" userId="598e0514-bef3-4e71-b6aa-f2edd6441cff" providerId="ADAL" clId="{FFB5BFD2-246A-034F-B635-DE62B5FCF3A6}" dt="2023-05-27T12:09:41.672" v="636"/>
          <ac:inkMkLst>
            <pc:docMk/>
            <pc:sldMk cId="1117605727" sldId="312"/>
            <ac:inkMk id="66" creationId="{4E0A4E3E-BB98-87D0-79AD-4E796FAB7BDB}"/>
          </ac:inkMkLst>
        </pc:inkChg>
        <pc:inkChg chg="add mod">
          <ac:chgData name="Aniket Chhabra" userId="598e0514-bef3-4e71-b6aa-f2edd6441cff" providerId="ADAL" clId="{FFB5BFD2-246A-034F-B635-DE62B5FCF3A6}" dt="2023-05-27T12:09:41.672" v="636"/>
          <ac:inkMkLst>
            <pc:docMk/>
            <pc:sldMk cId="1117605727" sldId="312"/>
            <ac:inkMk id="67" creationId="{FDA72C0C-9D51-0C27-6E81-DD7EAB295894}"/>
          </ac:inkMkLst>
        </pc:inkChg>
        <pc:inkChg chg="add mod">
          <ac:chgData name="Aniket Chhabra" userId="598e0514-bef3-4e71-b6aa-f2edd6441cff" providerId="ADAL" clId="{FFB5BFD2-246A-034F-B635-DE62B5FCF3A6}" dt="2023-05-27T12:09:41.672" v="636"/>
          <ac:inkMkLst>
            <pc:docMk/>
            <pc:sldMk cId="1117605727" sldId="312"/>
            <ac:inkMk id="68" creationId="{F31D8313-E035-6AB6-29BF-FC90728267BE}"/>
          </ac:inkMkLst>
        </pc:inkChg>
        <pc:inkChg chg="add mod">
          <ac:chgData name="Aniket Chhabra" userId="598e0514-bef3-4e71-b6aa-f2edd6441cff" providerId="ADAL" clId="{FFB5BFD2-246A-034F-B635-DE62B5FCF3A6}" dt="2023-05-27T12:09:41.672" v="636"/>
          <ac:inkMkLst>
            <pc:docMk/>
            <pc:sldMk cId="1117605727" sldId="312"/>
            <ac:inkMk id="69" creationId="{8DA02ED2-4B90-96BE-C6C0-9BAF792A379A}"/>
          </ac:inkMkLst>
        </pc:inkChg>
        <pc:inkChg chg="add mod">
          <ac:chgData name="Aniket Chhabra" userId="598e0514-bef3-4e71-b6aa-f2edd6441cff" providerId="ADAL" clId="{FFB5BFD2-246A-034F-B635-DE62B5FCF3A6}" dt="2023-05-27T12:09:41.672" v="636"/>
          <ac:inkMkLst>
            <pc:docMk/>
            <pc:sldMk cId="1117605727" sldId="312"/>
            <ac:inkMk id="70" creationId="{A67A2454-E245-50AC-67B2-83716B7B032B}"/>
          </ac:inkMkLst>
        </pc:inkChg>
        <pc:inkChg chg="add mod">
          <ac:chgData name="Aniket Chhabra" userId="598e0514-bef3-4e71-b6aa-f2edd6441cff" providerId="ADAL" clId="{FFB5BFD2-246A-034F-B635-DE62B5FCF3A6}" dt="2023-05-27T12:09:41.672" v="636"/>
          <ac:inkMkLst>
            <pc:docMk/>
            <pc:sldMk cId="1117605727" sldId="312"/>
            <ac:inkMk id="71" creationId="{BBECE471-778A-B0A4-48FE-443AE2FD7EE2}"/>
          </ac:inkMkLst>
        </pc:inkChg>
        <pc:inkChg chg="add mod">
          <ac:chgData name="Aniket Chhabra" userId="598e0514-bef3-4e71-b6aa-f2edd6441cff" providerId="ADAL" clId="{FFB5BFD2-246A-034F-B635-DE62B5FCF3A6}" dt="2023-05-27T12:09:41.672" v="636"/>
          <ac:inkMkLst>
            <pc:docMk/>
            <pc:sldMk cId="1117605727" sldId="312"/>
            <ac:inkMk id="73" creationId="{9ADF5D59-DF00-8B1B-507F-452FDCBCFCBB}"/>
          </ac:inkMkLst>
        </pc:inkChg>
        <pc:inkChg chg="add mod">
          <ac:chgData name="Aniket Chhabra" userId="598e0514-bef3-4e71-b6aa-f2edd6441cff" providerId="ADAL" clId="{FFB5BFD2-246A-034F-B635-DE62B5FCF3A6}" dt="2023-05-27T12:09:41.672" v="636"/>
          <ac:inkMkLst>
            <pc:docMk/>
            <pc:sldMk cId="1117605727" sldId="312"/>
            <ac:inkMk id="74" creationId="{2FBE0EBD-A548-0E70-9038-A0468DE7F595}"/>
          </ac:inkMkLst>
        </pc:inkChg>
        <pc:inkChg chg="add mod">
          <ac:chgData name="Aniket Chhabra" userId="598e0514-bef3-4e71-b6aa-f2edd6441cff" providerId="ADAL" clId="{FFB5BFD2-246A-034F-B635-DE62B5FCF3A6}" dt="2023-05-27T12:09:41.672" v="636"/>
          <ac:inkMkLst>
            <pc:docMk/>
            <pc:sldMk cId="1117605727" sldId="312"/>
            <ac:inkMk id="75" creationId="{F259376A-FC0F-D4CB-52D6-D48CB39E9F48}"/>
          </ac:inkMkLst>
        </pc:inkChg>
        <pc:inkChg chg="add mod">
          <ac:chgData name="Aniket Chhabra" userId="598e0514-bef3-4e71-b6aa-f2edd6441cff" providerId="ADAL" clId="{FFB5BFD2-246A-034F-B635-DE62B5FCF3A6}" dt="2023-05-27T12:09:41.672" v="636"/>
          <ac:inkMkLst>
            <pc:docMk/>
            <pc:sldMk cId="1117605727" sldId="312"/>
            <ac:inkMk id="76" creationId="{5ABBC8B5-3544-65C5-C79C-326C23A35DE8}"/>
          </ac:inkMkLst>
        </pc:inkChg>
        <pc:inkChg chg="add mod">
          <ac:chgData name="Aniket Chhabra" userId="598e0514-bef3-4e71-b6aa-f2edd6441cff" providerId="ADAL" clId="{FFB5BFD2-246A-034F-B635-DE62B5FCF3A6}" dt="2023-05-27T12:09:41.672" v="636"/>
          <ac:inkMkLst>
            <pc:docMk/>
            <pc:sldMk cId="1117605727" sldId="312"/>
            <ac:inkMk id="77" creationId="{03FFC5A8-395D-98E2-248F-DD2FE3E30B50}"/>
          </ac:inkMkLst>
        </pc:inkChg>
        <pc:inkChg chg="add mod">
          <ac:chgData name="Aniket Chhabra" userId="598e0514-bef3-4e71-b6aa-f2edd6441cff" providerId="ADAL" clId="{FFB5BFD2-246A-034F-B635-DE62B5FCF3A6}" dt="2023-05-27T12:09:41.672" v="636"/>
          <ac:inkMkLst>
            <pc:docMk/>
            <pc:sldMk cId="1117605727" sldId="312"/>
            <ac:inkMk id="78" creationId="{30205646-B8DE-62BD-50C8-E883BD854CC7}"/>
          </ac:inkMkLst>
        </pc:inkChg>
        <pc:inkChg chg="add mod">
          <ac:chgData name="Aniket Chhabra" userId="598e0514-bef3-4e71-b6aa-f2edd6441cff" providerId="ADAL" clId="{FFB5BFD2-246A-034F-B635-DE62B5FCF3A6}" dt="2023-05-27T12:09:41.672" v="636"/>
          <ac:inkMkLst>
            <pc:docMk/>
            <pc:sldMk cId="1117605727" sldId="312"/>
            <ac:inkMk id="79" creationId="{833F342A-E4E2-72E1-CAD0-EB6D97B86A5B}"/>
          </ac:inkMkLst>
        </pc:inkChg>
        <pc:inkChg chg="add mod">
          <ac:chgData name="Aniket Chhabra" userId="598e0514-bef3-4e71-b6aa-f2edd6441cff" providerId="ADAL" clId="{FFB5BFD2-246A-034F-B635-DE62B5FCF3A6}" dt="2023-05-27T12:09:41.672" v="636"/>
          <ac:inkMkLst>
            <pc:docMk/>
            <pc:sldMk cId="1117605727" sldId="312"/>
            <ac:inkMk id="80" creationId="{CD01AF30-0093-4307-F296-876DB8975156}"/>
          </ac:inkMkLst>
        </pc:inkChg>
        <pc:inkChg chg="add mod">
          <ac:chgData name="Aniket Chhabra" userId="598e0514-bef3-4e71-b6aa-f2edd6441cff" providerId="ADAL" clId="{FFB5BFD2-246A-034F-B635-DE62B5FCF3A6}" dt="2023-05-27T12:09:41.672" v="636"/>
          <ac:inkMkLst>
            <pc:docMk/>
            <pc:sldMk cId="1117605727" sldId="312"/>
            <ac:inkMk id="81" creationId="{6F5AF41E-2128-2E17-BB12-42ECD6126508}"/>
          </ac:inkMkLst>
        </pc:inkChg>
        <pc:inkChg chg="add mod">
          <ac:chgData name="Aniket Chhabra" userId="598e0514-bef3-4e71-b6aa-f2edd6441cff" providerId="ADAL" clId="{FFB5BFD2-246A-034F-B635-DE62B5FCF3A6}" dt="2023-05-27T12:09:41.672" v="636"/>
          <ac:inkMkLst>
            <pc:docMk/>
            <pc:sldMk cId="1117605727" sldId="312"/>
            <ac:inkMk id="82" creationId="{39127E7D-9451-63BD-C3B1-F80DFDF0598E}"/>
          </ac:inkMkLst>
        </pc:inkChg>
        <pc:inkChg chg="add mod">
          <ac:chgData name="Aniket Chhabra" userId="598e0514-bef3-4e71-b6aa-f2edd6441cff" providerId="ADAL" clId="{FFB5BFD2-246A-034F-B635-DE62B5FCF3A6}" dt="2023-05-27T12:09:41.672" v="636"/>
          <ac:inkMkLst>
            <pc:docMk/>
            <pc:sldMk cId="1117605727" sldId="312"/>
            <ac:inkMk id="83" creationId="{34020A27-E4D2-2188-C82D-43E57EAC7755}"/>
          </ac:inkMkLst>
        </pc:inkChg>
        <pc:inkChg chg="add mod">
          <ac:chgData name="Aniket Chhabra" userId="598e0514-bef3-4e71-b6aa-f2edd6441cff" providerId="ADAL" clId="{FFB5BFD2-246A-034F-B635-DE62B5FCF3A6}" dt="2023-05-27T12:09:41.672" v="636"/>
          <ac:inkMkLst>
            <pc:docMk/>
            <pc:sldMk cId="1117605727" sldId="312"/>
            <ac:inkMk id="84" creationId="{5D925B47-ABAE-82B6-0079-7F12CA59EEB5}"/>
          </ac:inkMkLst>
        </pc:inkChg>
        <pc:inkChg chg="add mod">
          <ac:chgData name="Aniket Chhabra" userId="598e0514-bef3-4e71-b6aa-f2edd6441cff" providerId="ADAL" clId="{FFB5BFD2-246A-034F-B635-DE62B5FCF3A6}" dt="2023-05-27T12:09:41.672" v="636"/>
          <ac:inkMkLst>
            <pc:docMk/>
            <pc:sldMk cId="1117605727" sldId="312"/>
            <ac:inkMk id="88" creationId="{DBD244D4-EB40-505A-B62A-43B0838788FB}"/>
          </ac:inkMkLst>
        </pc:inkChg>
        <pc:inkChg chg="add mod">
          <ac:chgData name="Aniket Chhabra" userId="598e0514-bef3-4e71-b6aa-f2edd6441cff" providerId="ADAL" clId="{FFB5BFD2-246A-034F-B635-DE62B5FCF3A6}" dt="2023-05-27T12:09:41.672" v="636"/>
          <ac:inkMkLst>
            <pc:docMk/>
            <pc:sldMk cId="1117605727" sldId="312"/>
            <ac:inkMk id="89" creationId="{CB8E76A6-B26F-33E3-D156-467E6D4BEA6A}"/>
          </ac:inkMkLst>
        </pc:inkChg>
        <pc:inkChg chg="add mod">
          <ac:chgData name="Aniket Chhabra" userId="598e0514-bef3-4e71-b6aa-f2edd6441cff" providerId="ADAL" clId="{FFB5BFD2-246A-034F-B635-DE62B5FCF3A6}" dt="2023-05-27T12:09:41.672" v="636"/>
          <ac:inkMkLst>
            <pc:docMk/>
            <pc:sldMk cId="1117605727" sldId="312"/>
            <ac:inkMk id="90" creationId="{3C5157EA-F419-9BE4-39EB-ED36767367AA}"/>
          </ac:inkMkLst>
        </pc:inkChg>
        <pc:inkChg chg="add mod">
          <ac:chgData name="Aniket Chhabra" userId="598e0514-bef3-4e71-b6aa-f2edd6441cff" providerId="ADAL" clId="{FFB5BFD2-246A-034F-B635-DE62B5FCF3A6}" dt="2023-05-27T12:09:41.672" v="636"/>
          <ac:inkMkLst>
            <pc:docMk/>
            <pc:sldMk cId="1117605727" sldId="312"/>
            <ac:inkMk id="91" creationId="{563E0C00-C061-0F83-2640-98D56657EBCC}"/>
          </ac:inkMkLst>
        </pc:inkChg>
        <pc:inkChg chg="add mod">
          <ac:chgData name="Aniket Chhabra" userId="598e0514-bef3-4e71-b6aa-f2edd6441cff" providerId="ADAL" clId="{FFB5BFD2-246A-034F-B635-DE62B5FCF3A6}" dt="2023-05-27T12:09:41.672" v="636"/>
          <ac:inkMkLst>
            <pc:docMk/>
            <pc:sldMk cId="1117605727" sldId="312"/>
            <ac:inkMk id="92" creationId="{A9CD8911-C4D8-B73E-027F-A2CFC8204DF5}"/>
          </ac:inkMkLst>
        </pc:inkChg>
        <pc:inkChg chg="add mod">
          <ac:chgData name="Aniket Chhabra" userId="598e0514-bef3-4e71-b6aa-f2edd6441cff" providerId="ADAL" clId="{FFB5BFD2-246A-034F-B635-DE62B5FCF3A6}" dt="2023-05-27T12:09:41.672" v="636"/>
          <ac:inkMkLst>
            <pc:docMk/>
            <pc:sldMk cId="1117605727" sldId="312"/>
            <ac:inkMk id="93" creationId="{EA28A37E-36B1-ADAE-E6AB-6F70FD6C2062}"/>
          </ac:inkMkLst>
        </pc:inkChg>
        <pc:inkChg chg="add mod">
          <ac:chgData name="Aniket Chhabra" userId="598e0514-bef3-4e71-b6aa-f2edd6441cff" providerId="ADAL" clId="{FFB5BFD2-246A-034F-B635-DE62B5FCF3A6}" dt="2023-05-27T12:09:41.672" v="636"/>
          <ac:inkMkLst>
            <pc:docMk/>
            <pc:sldMk cId="1117605727" sldId="312"/>
            <ac:inkMk id="94" creationId="{25364CC1-42B5-3F43-9AB9-E7EFAD28A535}"/>
          </ac:inkMkLst>
        </pc:inkChg>
        <pc:inkChg chg="add mod">
          <ac:chgData name="Aniket Chhabra" userId="598e0514-bef3-4e71-b6aa-f2edd6441cff" providerId="ADAL" clId="{FFB5BFD2-246A-034F-B635-DE62B5FCF3A6}" dt="2023-05-27T12:09:41.672" v="636"/>
          <ac:inkMkLst>
            <pc:docMk/>
            <pc:sldMk cId="1117605727" sldId="312"/>
            <ac:inkMk id="95" creationId="{A1BB0266-FC26-D265-0D85-7B9C6BA61D1F}"/>
          </ac:inkMkLst>
        </pc:inkChg>
        <pc:inkChg chg="add mod">
          <ac:chgData name="Aniket Chhabra" userId="598e0514-bef3-4e71-b6aa-f2edd6441cff" providerId="ADAL" clId="{FFB5BFD2-246A-034F-B635-DE62B5FCF3A6}" dt="2023-05-27T12:09:41.672" v="636"/>
          <ac:inkMkLst>
            <pc:docMk/>
            <pc:sldMk cId="1117605727" sldId="312"/>
            <ac:inkMk id="96" creationId="{4CA3282B-9D79-B04E-A706-1E4B803A31CC}"/>
          </ac:inkMkLst>
        </pc:inkChg>
        <pc:inkChg chg="add mod">
          <ac:chgData name="Aniket Chhabra" userId="598e0514-bef3-4e71-b6aa-f2edd6441cff" providerId="ADAL" clId="{FFB5BFD2-246A-034F-B635-DE62B5FCF3A6}" dt="2023-05-27T12:09:41.672" v="636"/>
          <ac:inkMkLst>
            <pc:docMk/>
            <pc:sldMk cId="1117605727" sldId="312"/>
            <ac:inkMk id="97" creationId="{327D903F-CD8F-AC61-6C2C-781893F68945}"/>
          </ac:inkMkLst>
        </pc:inkChg>
        <pc:inkChg chg="add mod">
          <ac:chgData name="Aniket Chhabra" userId="598e0514-bef3-4e71-b6aa-f2edd6441cff" providerId="ADAL" clId="{FFB5BFD2-246A-034F-B635-DE62B5FCF3A6}" dt="2023-05-27T12:09:41.672" v="636"/>
          <ac:inkMkLst>
            <pc:docMk/>
            <pc:sldMk cId="1117605727" sldId="312"/>
            <ac:inkMk id="100" creationId="{3A2AF009-E1C8-6CB6-36CF-E15CD4917D31}"/>
          </ac:inkMkLst>
        </pc:inkChg>
        <pc:inkChg chg="add mod">
          <ac:chgData name="Aniket Chhabra" userId="598e0514-bef3-4e71-b6aa-f2edd6441cff" providerId="ADAL" clId="{FFB5BFD2-246A-034F-B635-DE62B5FCF3A6}" dt="2023-05-27T12:09:41.672" v="636"/>
          <ac:inkMkLst>
            <pc:docMk/>
            <pc:sldMk cId="1117605727" sldId="312"/>
            <ac:inkMk id="101" creationId="{533B37AB-76D3-E390-1BDE-4C81C3DA9A5D}"/>
          </ac:inkMkLst>
        </pc:inkChg>
        <pc:inkChg chg="add mod">
          <ac:chgData name="Aniket Chhabra" userId="598e0514-bef3-4e71-b6aa-f2edd6441cff" providerId="ADAL" clId="{FFB5BFD2-246A-034F-B635-DE62B5FCF3A6}" dt="2023-05-27T12:09:41.672" v="636"/>
          <ac:inkMkLst>
            <pc:docMk/>
            <pc:sldMk cId="1117605727" sldId="312"/>
            <ac:inkMk id="102" creationId="{CC38AC01-29A8-E04E-A871-C7225F2BD381}"/>
          </ac:inkMkLst>
        </pc:inkChg>
        <pc:inkChg chg="add mod">
          <ac:chgData name="Aniket Chhabra" userId="598e0514-bef3-4e71-b6aa-f2edd6441cff" providerId="ADAL" clId="{FFB5BFD2-246A-034F-B635-DE62B5FCF3A6}" dt="2023-05-27T12:09:41.672" v="636"/>
          <ac:inkMkLst>
            <pc:docMk/>
            <pc:sldMk cId="1117605727" sldId="312"/>
            <ac:inkMk id="103" creationId="{8F50FDB8-2EBF-BCAC-9CFA-BBCDBFC18CCC}"/>
          </ac:inkMkLst>
        </pc:inkChg>
        <pc:inkChg chg="add mod">
          <ac:chgData name="Aniket Chhabra" userId="598e0514-bef3-4e71-b6aa-f2edd6441cff" providerId="ADAL" clId="{FFB5BFD2-246A-034F-B635-DE62B5FCF3A6}" dt="2023-05-27T12:09:41.672" v="636"/>
          <ac:inkMkLst>
            <pc:docMk/>
            <pc:sldMk cId="1117605727" sldId="312"/>
            <ac:inkMk id="104" creationId="{DCE5325B-2B65-100B-28E0-E29072DF1274}"/>
          </ac:inkMkLst>
        </pc:inkChg>
        <pc:inkChg chg="add mod">
          <ac:chgData name="Aniket Chhabra" userId="598e0514-bef3-4e71-b6aa-f2edd6441cff" providerId="ADAL" clId="{FFB5BFD2-246A-034F-B635-DE62B5FCF3A6}" dt="2023-05-27T12:09:41.672" v="636"/>
          <ac:inkMkLst>
            <pc:docMk/>
            <pc:sldMk cId="1117605727" sldId="312"/>
            <ac:inkMk id="105" creationId="{497F9526-CAC3-58D0-6CB8-E75864D3883E}"/>
          </ac:inkMkLst>
        </pc:inkChg>
        <pc:inkChg chg="add mod">
          <ac:chgData name="Aniket Chhabra" userId="598e0514-bef3-4e71-b6aa-f2edd6441cff" providerId="ADAL" clId="{FFB5BFD2-246A-034F-B635-DE62B5FCF3A6}" dt="2023-05-27T12:09:41.672" v="636"/>
          <ac:inkMkLst>
            <pc:docMk/>
            <pc:sldMk cId="1117605727" sldId="312"/>
            <ac:inkMk id="106" creationId="{BD112031-325B-7C74-CF9C-4EFA6FDEC0A9}"/>
          </ac:inkMkLst>
        </pc:inkChg>
        <pc:inkChg chg="add mod">
          <ac:chgData name="Aniket Chhabra" userId="598e0514-bef3-4e71-b6aa-f2edd6441cff" providerId="ADAL" clId="{FFB5BFD2-246A-034F-B635-DE62B5FCF3A6}" dt="2023-05-27T12:09:41.672" v="636"/>
          <ac:inkMkLst>
            <pc:docMk/>
            <pc:sldMk cId="1117605727" sldId="312"/>
            <ac:inkMk id="107" creationId="{9F1EE2FE-AAC8-3F6F-03C2-3A91C58DDB58}"/>
          </ac:inkMkLst>
        </pc:inkChg>
        <pc:inkChg chg="add mod">
          <ac:chgData name="Aniket Chhabra" userId="598e0514-bef3-4e71-b6aa-f2edd6441cff" providerId="ADAL" clId="{FFB5BFD2-246A-034F-B635-DE62B5FCF3A6}" dt="2023-05-27T12:09:41.672" v="636"/>
          <ac:inkMkLst>
            <pc:docMk/>
            <pc:sldMk cId="1117605727" sldId="312"/>
            <ac:inkMk id="109" creationId="{FA2B3AE7-6867-CB56-37F7-26E24DFD4017}"/>
          </ac:inkMkLst>
        </pc:inkChg>
        <pc:inkChg chg="add mod">
          <ac:chgData name="Aniket Chhabra" userId="598e0514-bef3-4e71-b6aa-f2edd6441cff" providerId="ADAL" clId="{FFB5BFD2-246A-034F-B635-DE62B5FCF3A6}" dt="2023-05-27T12:09:41.672" v="636"/>
          <ac:inkMkLst>
            <pc:docMk/>
            <pc:sldMk cId="1117605727" sldId="312"/>
            <ac:inkMk id="110" creationId="{95170517-B87F-5A50-1133-185A6FBF5D70}"/>
          </ac:inkMkLst>
        </pc:inkChg>
        <pc:inkChg chg="add mod">
          <ac:chgData name="Aniket Chhabra" userId="598e0514-bef3-4e71-b6aa-f2edd6441cff" providerId="ADAL" clId="{FFB5BFD2-246A-034F-B635-DE62B5FCF3A6}" dt="2023-05-27T12:09:41.672" v="636"/>
          <ac:inkMkLst>
            <pc:docMk/>
            <pc:sldMk cId="1117605727" sldId="312"/>
            <ac:inkMk id="111" creationId="{6BE9B324-EB51-BB81-657E-DFAC370AC50F}"/>
          </ac:inkMkLst>
        </pc:inkChg>
        <pc:inkChg chg="add mod">
          <ac:chgData name="Aniket Chhabra" userId="598e0514-bef3-4e71-b6aa-f2edd6441cff" providerId="ADAL" clId="{FFB5BFD2-246A-034F-B635-DE62B5FCF3A6}" dt="2023-05-27T12:09:41.672" v="636"/>
          <ac:inkMkLst>
            <pc:docMk/>
            <pc:sldMk cId="1117605727" sldId="312"/>
            <ac:inkMk id="113" creationId="{1153DE8F-5BBB-FDF6-3A8F-1EF067F9BB27}"/>
          </ac:inkMkLst>
        </pc:inkChg>
        <pc:inkChg chg="add mod">
          <ac:chgData name="Aniket Chhabra" userId="598e0514-bef3-4e71-b6aa-f2edd6441cff" providerId="ADAL" clId="{FFB5BFD2-246A-034F-B635-DE62B5FCF3A6}" dt="2023-05-27T12:09:41.672" v="636"/>
          <ac:inkMkLst>
            <pc:docMk/>
            <pc:sldMk cId="1117605727" sldId="312"/>
            <ac:inkMk id="114" creationId="{B0D20A87-B825-EC96-8A6F-AC906BAD52E3}"/>
          </ac:inkMkLst>
        </pc:inkChg>
        <pc:inkChg chg="add mod">
          <ac:chgData name="Aniket Chhabra" userId="598e0514-bef3-4e71-b6aa-f2edd6441cff" providerId="ADAL" clId="{FFB5BFD2-246A-034F-B635-DE62B5FCF3A6}" dt="2023-05-27T12:09:41.672" v="636"/>
          <ac:inkMkLst>
            <pc:docMk/>
            <pc:sldMk cId="1117605727" sldId="312"/>
            <ac:inkMk id="115" creationId="{93A7C869-7A7A-CC0C-7C55-607C548C128A}"/>
          </ac:inkMkLst>
        </pc:inkChg>
        <pc:inkChg chg="add mod">
          <ac:chgData name="Aniket Chhabra" userId="598e0514-bef3-4e71-b6aa-f2edd6441cff" providerId="ADAL" clId="{FFB5BFD2-246A-034F-B635-DE62B5FCF3A6}" dt="2023-05-27T12:09:41.672" v="636"/>
          <ac:inkMkLst>
            <pc:docMk/>
            <pc:sldMk cId="1117605727" sldId="312"/>
            <ac:inkMk id="116" creationId="{C35ED828-4DA3-B44D-332F-47AA283F3988}"/>
          </ac:inkMkLst>
        </pc:inkChg>
        <pc:inkChg chg="add mod">
          <ac:chgData name="Aniket Chhabra" userId="598e0514-bef3-4e71-b6aa-f2edd6441cff" providerId="ADAL" clId="{FFB5BFD2-246A-034F-B635-DE62B5FCF3A6}" dt="2023-05-27T12:09:41.672" v="636"/>
          <ac:inkMkLst>
            <pc:docMk/>
            <pc:sldMk cId="1117605727" sldId="312"/>
            <ac:inkMk id="117" creationId="{AA8A0CCB-F05B-465B-69CA-54B3CD160983}"/>
          </ac:inkMkLst>
        </pc:inkChg>
        <pc:inkChg chg="add mod">
          <ac:chgData name="Aniket Chhabra" userId="598e0514-bef3-4e71-b6aa-f2edd6441cff" providerId="ADAL" clId="{FFB5BFD2-246A-034F-B635-DE62B5FCF3A6}" dt="2023-05-27T12:09:41.672" v="636"/>
          <ac:inkMkLst>
            <pc:docMk/>
            <pc:sldMk cId="1117605727" sldId="312"/>
            <ac:inkMk id="118" creationId="{675AB403-70E5-391A-DA3F-F43C5753D69D}"/>
          </ac:inkMkLst>
        </pc:inkChg>
        <pc:inkChg chg="add mod">
          <ac:chgData name="Aniket Chhabra" userId="598e0514-bef3-4e71-b6aa-f2edd6441cff" providerId="ADAL" clId="{FFB5BFD2-246A-034F-B635-DE62B5FCF3A6}" dt="2023-05-27T12:09:41.672" v="636"/>
          <ac:inkMkLst>
            <pc:docMk/>
            <pc:sldMk cId="1117605727" sldId="312"/>
            <ac:inkMk id="119" creationId="{2E920907-B540-1C51-9BB2-334EF49B3837}"/>
          </ac:inkMkLst>
        </pc:inkChg>
        <pc:inkChg chg="add mod">
          <ac:chgData name="Aniket Chhabra" userId="598e0514-bef3-4e71-b6aa-f2edd6441cff" providerId="ADAL" clId="{FFB5BFD2-246A-034F-B635-DE62B5FCF3A6}" dt="2023-05-27T12:09:41.672" v="636"/>
          <ac:inkMkLst>
            <pc:docMk/>
            <pc:sldMk cId="1117605727" sldId="312"/>
            <ac:inkMk id="120" creationId="{F1C1D469-BCAB-12E2-CBB7-3C065D7E4635}"/>
          </ac:inkMkLst>
        </pc:inkChg>
        <pc:inkChg chg="add mod">
          <ac:chgData name="Aniket Chhabra" userId="598e0514-bef3-4e71-b6aa-f2edd6441cff" providerId="ADAL" clId="{FFB5BFD2-246A-034F-B635-DE62B5FCF3A6}" dt="2023-05-27T12:09:41.672" v="636"/>
          <ac:inkMkLst>
            <pc:docMk/>
            <pc:sldMk cId="1117605727" sldId="312"/>
            <ac:inkMk id="121" creationId="{4E62D57B-2553-1BAA-D8B9-66240BA996DA}"/>
          </ac:inkMkLst>
        </pc:inkChg>
        <pc:inkChg chg="add mod">
          <ac:chgData name="Aniket Chhabra" userId="598e0514-bef3-4e71-b6aa-f2edd6441cff" providerId="ADAL" clId="{FFB5BFD2-246A-034F-B635-DE62B5FCF3A6}" dt="2023-05-27T12:09:41.672" v="636"/>
          <ac:inkMkLst>
            <pc:docMk/>
            <pc:sldMk cId="1117605727" sldId="312"/>
            <ac:inkMk id="122" creationId="{790076FE-4CF2-B973-989D-B439A4FAA5B4}"/>
          </ac:inkMkLst>
        </pc:inkChg>
        <pc:inkChg chg="add mod">
          <ac:chgData name="Aniket Chhabra" userId="598e0514-bef3-4e71-b6aa-f2edd6441cff" providerId="ADAL" clId="{FFB5BFD2-246A-034F-B635-DE62B5FCF3A6}" dt="2023-05-27T12:09:41.672" v="636"/>
          <ac:inkMkLst>
            <pc:docMk/>
            <pc:sldMk cId="1117605727" sldId="312"/>
            <ac:inkMk id="123" creationId="{488E7C12-3BCF-1FDB-97D1-F8F0B7FC4298}"/>
          </ac:inkMkLst>
        </pc:inkChg>
        <pc:inkChg chg="add mod">
          <ac:chgData name="Aniket Chhabra" userId="598e0514-bef3-4e71-b6aa-f2edd6441cff" providerId="ADAL" clId="{FFB5BFD2-246A-034F-B635-DE62B5FCF3A6}" dt="2023-05-27T12:09:41.672" v="636"/>
          <ac:inkMkLst>
            <pc:docMk/>
            <pc:sldMk cId="1117605727" sldId="312"/>
            <ac:inkMk id="124" creationId="{172F176C-5631-A26B-E63D-F91FE3ABDD08}"/>
          </ac:inkMkLst>
        </pc:inkChg>
        <pc:inkChg chg="add mod">
          <ac:chgData name="Aniket Chhabra" userId="598e0514-bef3-4e71-b6aa-f2edd6441cff" providerId="ADAL" clId="{FFB5BFD2-246A-034F-B635-DE62B5FCF3A6}" dt="2023-05-27T12:09:41.672" v="636"/>
          <ac:inkMkLst>
            <pc:docMk/>
            <pc:sldMk cId="1117605727" sldId="312"/>
            <ac:inkMk id="125" creationId="{91186064-D5D6-4029-2FF0-995C8C08F5ED}"/>
          </ac:inkMkLst>
        </pc:inkChg>
        <pc:inkChg chg="add mod">
          <ac:chgData name="Aniket Chhabra" userId="598e0514-bef3-4e71-b6aa-f2edd6441cff" providerId="ADAL" clId="{FFB5BFD2-246A-034F-B635-DE62B5FCF3A6}" dt="2023-05-27T12:09:41.672" v="636"/>
          <ac:inkMkLst>
            <pc:docMk/>
            <pc:sldMk cId="1117605727" sldId="312"/>
            <ac:inkMk id="127" creationId="{649E504E-EC6F-BFFF-B276-681FFD743910}"/>
          </ac:inkMkLst>
        </pc:inkChg>
        <pc:inkChg chg="add mod">
          <ac:chgData name="Aniket Chhabra" userId="598e0514-bef3-4e71-b6aa-f2edd6441cff" providerId="ADAL" clId="{FFB5BFD2-246A-034F-B635-DE62B5FCF3A6}" dt="2023-05-27T12:08:21.337" v="574"/>
          <ac:inkMkLst>
            <pc:docMk/>
            <pc:sldMk cId="1117605727" sldId="312"/>
            <ac:inkMk id="128" creationId="{25275693-2118-529A-74F6-BCC9A217BD69}"/>
          </ac:inkMkLst>
        </pc:inkChg>
        <pc:inkChg chg="add mod">
          <ac:chgData name="Aniket Chhabra" userId="598e0514-bef3-4e71-b6aa-f2edd6441cff" providerId="ADAL" clId="{FFB5BFD2-246A-034F-B635-DE62B5FCF3A6}" dt="2023-05-27T12:08:21.337" v="574"/>
          <ac:inkMkLst>
            <pc:docMk/>
            <pc:sldMk cId="1117605727" sldId="312"/>
            <ac:inkMk id="129" creationId="{EA573CE9-2491-C12B-A204-CEF325B6DB6A}"/>
          </ac:inkMkLst>
        </pc:inkChg>
        <pc:inkChg chg="add mod">
          <ac:chgData name="Aniket Chhabra" userId="598e0514-bef3-4e71-b6aa-f2edd6441cff" providerId="ADAL" clId="{FFB5BFD2-246A-034F-B635-DE62B5FCF3A6}" dt="2023-05-27T12:08:21.337" v="574"/>
          <ac:inkMkLst>
            <pc:docMk/>
            <pc:sldMk cId="1117605727" sldId="312"/>
            <ac:inkMk id="130" creationId="{F036379F-AF1B-836E-7002-6F5326BCD1D3}"/>
          </ac:inkMkLst>
        </pc:inkChg>
        <pc:inkChg chg="add mod">
          <ac:chgData name="Aniket Chhabra" userId="598e0514-bef3-4e71-b6aa-f2edd6441cff" providerId="ADAL" clId="{FFB5BFD2-246A-034F-B635-DE62B5FCF3A6}" dt="2023-05-27T12:08:21.337" v="574"/>
          <ac:inkMkLst>
            <pc:docMk/>
            <pc:sldMk cId="1117605727" sldId="312"/>
            <ac:inkMk id="131" creationId="{91CE45DA-1BF3-D2F0-B8D7-A04C8211A5FA}"/>
          </ac:inkMkLst>
        </pc:inkChg>
        <pc:inkChg chg="add mod">
          <ac:chgData name="Aniket Chhabra" userId="598e0514-bef3-4e71-b6aa-f2edd6441cff" providerId="ADAL" clId="{FFB5BFD2-246A-034F-B635-DE62B5FCF3A6}" dt="2023-05-27T12:08:21.337" v="574"/>
          <ac:inkMkLst>
            <pc:docMk/>
            <pc:sldMk cId="1117605727" sldId="312"/>
            <ac:inkMk id="132" creationId="{ED264AF2-BCD6-BF3D-08A2-ACBC85383D45}"/>
          </ac:inkMkLst>
        </pc:inkChg>
        <pc:inkChg chg="add mod">
          <ac:chgData name="Aniket Chhabra" userId="598e0514-bef3-4e71-b6aa-f2edd6441cff" providerId="ADAL" clId="{FFB5BFD2-246A-034F-B635-DE62B5FCF3A6}" dt="2023-05-27T12:08:21.337" v="574"/>
          <ac:inkMkLst>
            <pc:docMk/>
            <pc:sldMk cId="1117605727" sldId="312"/>
            <ac:inkMk id="133" creationId="{52B4676C-F8B6-713E-5252-76F090A5B300}"/>
          </ac:inkMkLst>
        </pc:inkChg>
        <pc:inkChg chg="add mod">
          <ac:chgData name="Aniket Chhabra" userId="598e0514-bef3-4e71-b6aa-f2edd6441cff" providerId="ADAL" clId="{FFB5BFD2-246A-034F-B635-DE62B5FCF3A6}" dt="2023-05-27T12:08:21.337" v="574"/>
          <ac:inkMkLst>
            <pc:docMk/>
            <pc:sldMk cId="1117605727" sldId="312"/>
            <ac:inkMk id="135" creationId="{F4E10924-9850-31AB-06C7-2A2289B8A3A0}"/>
          </ac:inkMkLst>
        </pc:inkChg>
        <pc:inkChg chg="add mod">
          <ac:chgData name="Aniket Chhabra" userId="598e0514-bef3-4e71-b6aa-f2edd6441cff" providerId="ADAL" clId="{FFB5BFD2-246A-034F-B635-DE62B5FCF3A6}" dt="2023-05-27T12:08:21.337" v="574"/>
          <ac:inkMkLst>
            <pc:docMk/>
            <pc:sldMk cId="1117605727" sldId="312"/>
            <ac:inkMk id="136" creationId="{7C7A1991-AE1F-3F73-19A1-375AAAE987F5}"/>
          </ac:inkMkLst>
        </pc:inkChg>
        <pc:inkChg chg="add mod">
          <ac:chgData name="Aniket Chhabra" userId="598e0514-bef3-4e71-b6aa-f2edd6441cff" providerId="ADAL" clId="{FFB5BFD2-246A-034F-B635-DE62B5FCF3A6}" dt="2023-05-27T12:08:21.337" v="574"/>
          <ac:inkMkLst>
            <pc:docMk/>
            <pc:sldMk cId="1117605727" sldId="312"/>
            <ac:inkMk id="137" creationId="{48F877AE-E7B8-7B22-4942-6CD9EFDFE145}"/>
          </ac:inkMkLst>
        </pc:inkChg>
        <pc:inkChg chg="add mod">
          <ac:chgData name="Aniket Chhabra" userId="598e0514-bef3-4e71-b6aa-f2edd6441cff" providerId="ADAL" clId="{FFB5BFD2-246A-034F-B635-DE62B5FCF3A6}" dt="2023-05-27T12:08:21.337" v="574"/>
          <ac:inkMkLst>
            <pc:docMk/>
            <pc:sldMk cId="1117605727" sldId="312"/>
            <ac:inkMk id="139" creationId="{680D92D9-52E7-B8BF-03C6-82C8C0D84F6A}"/>
          </ac:inkMkLst>
        </pc:inkChg>
        <pc:inkChg chg="add mod">
          <ac:chgData name="Aniket Chhabra" userId="598e0514-bef3-4e71-b6aa-f2edd6441cff" providerId="ADAL" clId="{FFB5BFD2-246A-034F-B635-DE62B5FCF3A6}" dt="2023-05-27T12:08:21.337" v="574"/>
          <ac:inkMkLst>
            <pc:docMk/>
            <pc:sldMk cId="1117605727" sldId="312"/>
            <ac:inkMk id="140" creationId="{F5FA20B6-4827-3C8B-07A6-F7EDF6EB131B}"/>
          </ac:inkMkLst>
        </pc:inkChg>
        <pc:inkChg chg="add mod">
          <ac:chgData name="Aniket Chhabra" userId="598e0514-bef3-4e71-b6aa-f2edd6441cff" providerId="ADAL" clId="{FFB5BFD2-246A-034F-B635-DE62B5FCF3A6}" dt="2023-05-27T12:08:21.337" v="574"/>
          <ac:inkMkLst>
            <pc:docMk/>
            <pc:sldMk cId="1117605727" sldId="312"/>
            <ac:inkMk id="141" creationId="{D2518798-2301-56BD-E925-6814EC6D529B}"/>
          </ac:inkMkLst>
        </pc:inkChg>
        <pc:inkChg chg="add mod">
          <ac:chgData name="Aniket Chhabra" userId="598e0514-bef3-4e71-b6aa-f2edd6441cff" providerId="ADAL" clId="{FFB5BFD2-246A-034F-B635-DE62B5FCF3A6}" dt="2023-05-27T12:08:21.337" v="574"/>
          <ac:inkMkLst>
            <pc:docMk/>
            <pc:sldMk cId="1117605727" sldId="312"/>
            <ac:inkMk id="142" creationId="{EFEA37F4-70BA-38DC-F7C9-CEAC0F640C71}"/>
          </ac:inkMkLst>
        </pc:inkChg>
        <pc:inkChg chg="add mod">
          <ac:chgData name="Aniket Chhabra" userId="598e0514-bef3-4e71-b6aa-f2edd6441cff" providerId="ADAL" clId="{FFB5BFD2-246A-034F-B635-DE62B5FCF3A6}" dt="2023-05-27T12:08:21.337" v="574"/>
          <ac:inkMkLst>
            <pc:docMk/>
            <pc:sldMk cId="1117605727" sldId="312"/>
            <ac:inkMk id="143" creationId="{2E77A0EB-9F8B-4C3D-F5B2-2C13C2835E63}"/>
          </ac:inkMkLst>
        </pc:inkChg>
        <pc:inkChg chg="add mod">
          <ac:chgData name="Aniket Chhabra" userId="598e0514-bef3-4e71-b6aa-f2edd6441cff" providerId="ADAL" clId="{FFB5BFD2-246A-034F-B635-DE62B5FCF3A6}" dt="2023-05-27T12:08:21.337" v="574"/>
          <ac:inkMkLst>
            <pc:docMk/>
            <pc:sldMk cId="1117605727" sldId="312"/>
            <ac:inkMk id="144" creationId="{FA2F2AC6-8E9B-315A-581C-3A5FA9484D2E}"/>
          </ac:inkMkLst>
        </pc:inkChg>
        <pc:inkChg chg="add mod">
          <ac:chgData name="Aniket Chhabra" userId="598e0514-bef3-4e71-b6aa-f2edd6441cff" providerId="ADAL" clId="{FFB5BFD2-246A-034F-B635-DE62B5FCF3A6}" dt="2023-05-27T12:08:21.337" v="574"/>
          <ac:inkMkLst>
            <pc:docMk/>
            <pc:sldMk cId="1117605727" sldId="312"/>
            <ac:inkMk id="145" creationId="{99980835-FAA6-1720-9705-76B8ADDDAFD1}"/>
          </ac:inkMkLst>
        </pc:inkChg>
        <pc:inkChg chg="add mod">
          <ac:chgData name="Aniket Chhabra" userId="598e0514-bef3-4e71-b6aa-f2edd6441cff" providerId="ADAL" clId="{FFB5BFD2-246A-034F-B635-DE62B5FCF3A6}" dt="2023-05-27T12:08:21.337" v="574"/>
          <ac:inkMkLst>
            <pc:docMk/>
            <pc:sldMk cId="1117605727" sldId="312"/>
            <ac:inkMk id="147" creationId="{541AAB61-9F35-81B0-FB07-98809BE9F87B}"/>
          </ac:inkMkLst>
        </pc:inkChg>
        <pc:inkChg chg="add mod">
          <ac:chgData name="Aniket Chhabra" userId="598e0514-bef3-4e71-b6aa-f2edd6441cff" providerId="ADAL" clId="{FFB5BFD2-246A-034F-B635-DE62B5FCF3A6}" dt="2023-05-27T12:08:21.337" v="574"/>
          <ac:inkMkLst>
            <pc:docMk/>
            <pc:sldMk cId="1117605727" sldId="312"/>
            <ac:inkMk id="148" creationId="{6345C4F4-5163-7C1A-C2BE-D81B7442459A}"/>
          </ac:inkMkLst>
        </pc:inkChg>
        <pc:inkChg chg="add mod">
          <ac:chgData name="Aniket Chhabra" userId="598e0514-bef3-4e71-b6aa-f2edd6441cff" providerId="ADAL" clId="{FFB5BFD2-246A-034F-B635-DE62B5FCF3A6}" dt="2023-05-27T12:08:21.337" v="574"/>
          <ac:inkMkLst>
            <pc:docMk/>
            <pc:sldMk cId="1117605727" sldId="312"/>
            <ac:inkMk id="149" creationId="{E2118178-B47D-34A6-153C-44586663279C}"/>
          </ac:inkMkLst>
        </pc:inkChg>
        <pc:inkChg chg="add mod">
          <ac:chgData name="Aniket Chhabra" userId="598e0514-bef3-4e71-b6aa-f2edd6441cff" providerId="ADAL" clId="{FFB5BFD2-246A-034F-B635-DE62B5FCF3A6}" dt="2023-05-27T12:08:21.337" v="574"/>
          <ac:inkMkLst>
            <pc:docMk/>
            <pc:sldMk cId="1117605727" sldId="312"/>
            <ac:inkMk id="150" creationId="{92291A08-2023-2155-E837-278612A6AC31}"/>
          </ac:inkMkLst>
        </pc:inkChg>
        <pc:inkChg chg="add mod">
          <ac:chgData name="Aniket Chhabra" userId="598e0514-bef3-4e71-b6aa-f2edd6441cff" providerId="ADAL" clId="{FFB5BFD2-246A-034F-B635-DE62B5FCF3A6}" dt="2023-05-27T12:08:21.337" v="574"/>
          <ac:inkMkLst>
            <pc:docMk/>
            <pc:sldMk cId="1117605727" sldId="312"/>
            <ac:inkMk id="151" creationId="{0BBC9C8B-82FC-3A3A-BC6E-2509BDE75941}"/>
          </ac:inkMkLst>
        </pc:inkChg>
        <pc:inkChg chg="add mod">
          <ac:chgData name="Aniket Chhabra" userId="598e0514-bef3-4e71-b6aa-f2edd6441cff" providerId="ADAL" clId="{FFB5BFD2-246A-034F-B635-DE62B5FCF3A6}" dt="2023-05-27T12:08:21.337" v="574"/>
          <ac:inkMkLst>
            <pc:docMk/>
            <pc:sldMk cId="1117605727" sldId="312"/>
            <ac:inkMk id="152" creationId="{79449FEC-271D-60FA-1E53-13AD3BECBB77}"/>
          </ac:inkMkLst>
        </pc:inkChg>
        <pc:inkChg chg="add mod">
          <ac:chgData name="Aniket Chhabra" userId="598e0514-bef3-4e71-b6aa-f2edd6441cff" providerId="ADAL" clId="{FFB5BFD2-246A-034F-B635-DE62B5FCF3A6}" dt="2023-05-27T12:08:21.337" v="574"/>
          <ac:inkMkLst>
            <pc:docMk/>
            <pc:sldMk cId="1117605727" sldId="312"/>
            <ac:inkMk id="153" creationId="{9FF2E411-DA99-31EA-42E8-31285C24C521}"/>
          </ac:inkMkLst>
        </pc:inkChg>
        <pc:inkChg chg="add mod">
          <ac:chgData name="Aniket Chhabra" userId="598e0514-bef3-4e71-b6aa-f2edd6441cff" providerId="ADAL" clId="{FFB5BFD2-246A-034F-B635-DE62B5FCF3A6}" dt="2023-05-27T12:08:21.337" v="574"/>
          <ac:inkMkLst>
            <pc:docMk/>
            <pc:sldMk cId="1117605727" sldId="312"/>
            <ac:inkMk id="154" creationId="{AC58758D-9F7D-B9FD-4CD8-B168FF6E0175}"/>
          </ac:inkMkLst>
        </pc:inkChg>
        <pc:inkChg chg="add mod">
          <ac:chgData name="Aniket Chhabra" userId="598e0514-bef3-4e71-b6aa-f2edd6441cff" providerId="ADAL" clId="{FFB5BFD2-246A-034F-B635-DE62B5FCF3A6}" dt="2023-05-27T12:08:21.337" v="574"/>
          <ac:inkMkLst>
            <pc:docMk/>
            <pc:sldMk cId="1117605727" sldId="312"/>
            <ac:inkMk id="156" creationId="{CDA8B71F-F2FF-C040-9BDE-1522603F7E59}"/>
          </ac:inkMkLst>
        </pc:inkChg>
        <pc:inkChg chg="add mod">
          <ac:chgData name="Aniket Chhabra" userId="598e0514-bef3-4e71-b6aa-f2edd6441cff" providerId="ADAL" clId="{FFB5BFD2-246A-034F-B635-DE62B5FCF3A6}" dt="2023-05-27T12:08:21.337" v="574"/>
          <ac:inkMkLst>
            <pc:docMk/>
            <pc:sldMk cId="1117605727" sldId="312"/>
            <ac:inkMk id="158" creationId="{62481F78-3BBF-5396-76BD-A8784020F755}"/>
          </ac:inkMkLst>
        </pc:inkChg>
        <pc:inkChg chg="add mod">
          <ac:chgData name="Aniket Chhabra" userId="598e0514-bef3-4e71-b6aa-f2edd6441cff" providerId="ADAL" clId="{FFB5BFD2-246A-034F-B635-DE62B5FCF3A6}" dt="2023-05-27T12:08:21.337" v="574"/>
          <ac:inkMkLst>
            <pc:docMk/>
            <pc:sldMk cId="1117605727" sldId="312"/>
            <ac:inkMk id="159" creationId="{F6A6286D-422D-432F-968E-3BC78E24B83A}"/>
          </ac:inkMkLst>
        </pc:inkChg>
        <pc:inkChg chg="add mod">
          <ac:chgData name="Aniket Chhabra" userId="598e0514-bef3-4e71-b6aa-f2edd6441cff" providerId="ADAL" clId="{FFB5BFD2-246A-034F-B635-DE62B5FCF3A6}" dt="2023-05-27T12:08:21.337" v="574"/>
          <ac:inkMkLst>
            <pc:docMk/>
            <pc:sldMk cId="1117605727" sldId="312"/>
            <ac:inkMk id="161" creationId="{2AD44A8A-D5AC-F84F-B2DC-E0B06AC5C10A}"/>
          </ac:inkMkLst>
        </pc:inkChg>
        <pc:inkChg chg="add mod">
          <ac:chgData name="Aniket Chhabra" userId="598e0514-bef3-4e71-b6aa-f2edd6441cff" providerId="ADAL" clId="{FFB5BFD2-246A-034F-B635-DE62B5FCF3A6}" dt="2023-05-27T12:08:21.337" v="574"/>
          <ac:inkMkLst>
            <pc:docMk/>
            <pc:sldMk cId="1117605727" sldId="312"/>
            <ac:inkMk id="162" creationId="{FDA2ADE9-CB97-5F20-2630-478986566242}"/>
          </ac:inkMkLst>
        </pc:inkChg>
        <pc:inkChg chg="add mod">
          <ac:chgData name="Aniket Chhabra" userId="598e0514-bef3-4e71-b6aa-f2edd6441cff" providerId="ADAL" clId="{FFB5BFD2-246A-034F-B635-DE62B5FCF3A6}" dt="2023-05-27T12:08:21.337" v="574"/>
          <ac:inkMkLst>
            <pc:docMk/>
            <pc:sldMk cId="1117605727" sldId="312"/>
            <ac:inkMk id="163" creationId="{9CE18AB1-7097-6649-54EF-6075D733DAE2}"/>
          </ac:inkMkLst>
        </pc:inkChg>
        <pc:inkChg chg="add mod">
          <ac:chgData name="Aniket Chhabra" userId="598e0514-bef3-4e71-b6aa-f2edd6441cff" providerId="ADAL" clId="{FFB5BFD2-246A-034F-B635-DE62B5FCF3A6}" dt="2023-05-27T12:08:21.337" v="574"/>
          <ac:inkMkLst>
            <pc:docMk/>
            <pc:sldMk cId="1117605727" sldId="312"/>
            <ac:inkMk id="164" creationId="{3ACB2892-044B-9776-DC09-52162ED0FEEF}"/>
          </ac:inkMkLst>
        </pc:inkChg>
        <pc:inkChg chg="add mod">
          <ac:chgData name="Aniket Chhabra" userId="598e0514-bef3-4e71-b6aa-f2edd6441cff" providerId="ADAL" clId="{FFB5BFD2-246A-034F-B635-DE62B5FCF3A6}" dt="2023-05-27T12:08:21.337" v="574"/>
          <ac:inkMkLst>
            <pc:docMk/>
            <pc:sldMk cId="1117605727" sldId="312"/>
            <ac:inkMk id="165" creationId="{73378EBB-E3AA-F104-7920-6B19E0BF49CC}"/>
          </ac:inkMkLst>
        </pc:inkChg>
        <pc:inkChg chg="add mod">
          <ac:chgData name="Aniket Chhabra" userId="598e0514-bef3-4e71-b6aa-f2edd6441cff" providerId="ADAL" clId="{FFB5BFD2-246A-034F-B635-DE62B5FCF3A6}" dt="2023-05-27T12:08:21.337" v="574"/>
          <ac:inkMkLst>
            <pc:docMk/>
            <pc:sldMk cId="1117605727" sldId="312"/>
            <ac:inkMk id="166" creationId="{DD3402D6-172B-BF6F-951B-DC7884CA25F7}"/>
          </ac:inkMkLst>
        </pc:inkChg>
        <pc:inkChg chg="add mod">
          <ac:chgData name="Aniket Chhabra" userId="598e0514-bef3-4e71-b6aa-f2edd6441cff" providerId="ADAL" clId="{FFB5BFD2-246A-034F-B635-DE62B5FCF3A6}" dt="2023-05-27T12:08:21.337" v="574"/>
          <ac:inkMkLst>
            <pc:docMk/>
            <pc:sldMk cId="1117605727" sldId="312"/>
            <ac:inkMk id="167" creationId="{2BD1C01A-7475-3C3B-3485-F4747C8CFFAC}"/>
          </ac:inkMkLst>
        </pc:inkChg>
        <pc:inkChg chg="add mod">
          <ac:chgData name="Aniket Chhabra" userId="598e0514-bef3-4e71-b6aa-f2edd6441cff" providerId="ADAL" clId="{FFB5BFD2-246A-034F-B635-DE62B5FCF3A6}" dt="2023-05-27T12:08:21.337" v="574"/>
          <ac:inkMkLst>
            <pc:docMk/>
            <pc:sldMk cId="1117605727" sldId="312"/>
            <ac:inkMk id="168" creationId="{7F0E180C-D828-B0E9-19AC-BF53DF66D175}"/>
          </ac:inkMkLst>
        </pc:inkChg>
        <pc:inkChg chg="add mod">
          <ac:chgData name="Aniket Chhabra" userId="598e0514-bef3-4e71-b6aa-f2edd6441cff" providerId="ADAL" clId="{FFB5BFD2-246A-034F-B635-DE62B5FCF3A6}" dt="2023-05-27T12:08:21.337" v="574"/>
          <ac:inkMkLst>
            <pc:docMk/>
            <pc:sldMk cId="1117605727" sldId="312"/>
            <ac:inkMk id="169" creationId="{A0032467-9BFC-939A-6651-6C02AC32A9CB}"/>
          </ac:inkMkLst>
        </pc:inkChg>
        <pc:inkChg chg="add mod">
          <ac:chgData name="Aniket Chhabra" userId="598e0514-bef3-4e71-b6aa-f2edd6441cff" providerId="ADAL" clId="{FFB5BFD2-246A-034F-B635-DE62B5FCF3A6}" dt="2023-05-27T12:08:21.337" v="574"/>
          <ac:inkMkLst>
            <pc:docMk/>
            <pc:sldMk cId="1117605727" sldId="312"/>
            <ac:inkMk id="170" creationId="{370AD31D-EF83-17E8-2CA4-C69C7B9A65F4}"/>
          </ac:inkMkLst>
        </pc:inkChg>
        <pc:inkChg chg="add mod">
          <ac:chgData name="Aniket Chhabra" userId="598e0514-bef3-4e71-b6aa-f2edd6441cff" providerId="ADAL" clId="{FFB5BFD2-246A-034F-B635-DE62B5FCF3A6}" dt="2023-05-27T12:08:21.337" v="574"/>
          <ac:inkMkLst>
            <pc:docMk/>
            <pc:sldMk cId="1117605727" sldId="312"/>
            <ac:inkMk id="171" creationId="{EBDA725D-CAF3-14A9-4DA6-B8D5E0B931E3}"/>
          </ac:inkMkLst>
        </pc:inkChg>
        <pc:inkChg chg="add mod">
          <ac:chgData name="Aniket Chhabra" userId="598e0514-bef3-4e71-b6aa-f2edd6441cff" providerId="ADAL" clId="{FFB5BFD2-246A-034F-B635-DE62B5FCF3A6}" dt="2023-05-27T12:08:21.337" v="574"/>
          <ac:inkMkLst>
            <pc:docMk/>
            <pc:sldMk cId="1117605727" sldId="312"/>
            <ac:inkMk id="172" creationId="{19A96AE6-56BB-ED42-09AF-3FB2F3CB28FC}"/>
          </ac:inkMkLst>
        </pc:inkChg>
        <pc:inkChg chg="add mod">
          <ac:chgData name="Aniket Chhabra" userId="598e0514-bef3-4e71-b6aa-f2edd6441cff" providerId="ADAL" clId="{FFB5BFD2-246A-034F-B635-DE62B5FCF3A6}" dt="2023-05-27T12:08:21.337" v="574"/>
          <ac:inkMkLst>
            <pc:docMk/>
            <pc:sldMk cId="1117605727" sldId="312"/>
            <ac:inkMk id="173" creationId="{203AEE4A-4020-3957-00A6-8068AF7CD7F5}"/>
          </ac:inkMkLst>
        </pc:inkChg>
        <pc:inkChg chg="add mod">
          <ac:chgData name="Aniket Chhabra" userId="598e0514-bef3-4e71-b6aa-f2edd6441cff" providerId="ADAL" clId="{FFB5BFD2-246A-034F-B635-DE62B5FCF3A6}" dt="2023-05-27T12:08:21.337" v="574"/>
          <ac:inkMkLst>
            <pc:docMk/>
            <pc:sldMk cId="1117605727" sldId="312"/>
            <ac:inkMk id="174" creationId="{83DFA371-13CB-4FBB-2C02-F5079E530E29}"/>
          </ac:inkMkLst>
        </pc:inkChg>
        <pc:inkChg chg="add mod">
          <ac:chgData name="Aniket Chhabra" userId="598e0514-bef3-4e71-b6aa-f2edd6441cff" providerId="ADAL" clId="{FFB5BFD2-246A-034F-B635-DE62B5FCF3A6}" dt="2023-05-27T12:08:21.337" v="574"/>
          <ac:inkMkLst>
            <pc:docMk/>
            <pc:sldMk cId="1117605727" sldId="312"/>
            <ac:inkMk id="176" creationId="{5FA470FD-D3F2-CC5C-4B49-5326E77B3FFB}"/>
          </ac:inkMkLst>
        </pc:inkChg>
        <pc:inkChg chg="add mod">
          <ac:chgData name="Aniket Chhabra" userId="598e0514-bef3-4e71-b6aa-f2edd6441cff" providerId="ADAL" clId="{FFB5BFD2-246A-034F-B635-DE62B5FCF3A6}" dt="2023-05-27T12:08:21.337" v="574"/>
          <ac:inkMkLst>
            <pc:docMk/>
            <pc:sldMk cId="1117605727" sldId="312"/>
            <ac:inkMk id="177" creationId="{7CAB90F7-15BA-BE11-CB86-5CB31639ABEC}"/>
          </ac:inkMkLst>
        </pc:inkChg>
        <pc:inkChg chg="add mod">
          <ac:chgData name="Aniket Chhabra" userId="598e0514-bef3-4e71-b6aa-f2edd6441cff" providerId="ADAL" clId="{FFB5BFD2-246A-034F-B635-DE62B5FCF3A6}" dt="2023-05-27T12:08:21.337" v="574"/>
          <ac:inkMkLst>
            <pc:docMk/>
            <pc:sldMk cId="1117605727" sldId="312"/>
            <ac:inkMk id="178" creationId="{CCE99DF5-468A-3C8E-502A-1EE601FD138A}"/>
          </ac:inkMkLst>
        </pc:inkChg>
        <pc:inkChg chg="add mod">
          <ac:chgData name="Aniket Chhabra" userId="598e0514-bef3-4e71-b6aa-f2edd6441cff" providerId="ADAL" clId="{FFB5BFD2-246A-034F-B635-DE62B5FCF3A6}" dt="2023-05-27T12:08:21.337" v="574"/>
          <ac:inkMkLst>
            <pc:docMk/>
            <pc:sldMk cId="1117605727" sldId="312"/>
            <ac:inkMk id="180" creationId="{19C9EB65-8588-1F4C-284B-91DC6C27090C}"/>
          </ac:inkMkLst>
        </pc:inkChg>
        <pc:inkChg chg="add mod">
          <ac:chgData name="Aniket Chhabra" userId="598e0514-bef3-4e71-b6aa-f2edd6441cff" providerId="ADAL" clId="{FFB5BFD2-246A-034F-B635-DE62B5FCF3A6}" dt="2023-05-27T12:08:21.337" v="574"/>
          <ac:inkMkLst>
            <pc:docMk/>
            <pc:sldMk cId="1117605727" sldId="312"/>
            <ac:inkMk id="182" creationId="{A3C61F9C-1D6F-6D57-C3FB-67DCD7BD41D6}"/>
          </ac:inkMkLst>
        </pc:inkChg>
        <pc:inkChg chg="add mod">
          <ac:chgData name="Aniket Chhabra" userId="598e0514-bef3-4e71-b6aa-f2edd6441cff" providerId="ADAL" clId="{FFB5BFD2-246A-034F-B635-DE62B5FCF3A6}" dt="2023-05-27T12:08:21.337" v="574"/>
          <ac:inkMkLst>
            <pc:docMk/>
            <pc:sldMk cId="1117605727" sldId="312"/>
            <ac:inkMk id="184" creationId="{C1F5B370-9365-2169-1E35-1C2606B0178A}"/>
          </ac:inkMkLst>
        </pc:inkChg>
        <pc:inkChg chg="add mod">
          <ac:chgData name="Aniket Chhabra" userId="598e0514-bef3-4e71-b6aa-f2edd6441cff" providerId="ADAL" clId="{FFB5BFD2-246A-034F-B635-DE62B5FCF3A6}" dt="2023-05-27T12:08:21.337" v="574"/>
          <ac:inkMkLst>
            <pc:docMk/>
            <pc:sldMk cId="1117605727" sldId="312"/>
            <ac:inkMk id="186" creationId="{BB70FCF4-9CCB-628A-1200-13FD9B06C08A}"/>
          </ac:inkMkLst>
        </pc:inkChg>
        <pc:inkChg chg="add mod">
          <ac:chgData name="Aniket Chhabra" userId="598e0514-bef3-4e71-b6aa-f2edd6441cff" providerId="ADAL" clId="{FFB5BFD2-246A-034F-B635-DE62B5FCF3A6}" dt="2023-05-27T12:08:21.337" v="574"/>
          <ac:inkMkLst>
            <pc:docMk/>
            <pc:sldMk cId="1117605727" sldId="312"/>
            <ac:inkMk id="188" creationId="{63138719-6194-2134-A526-504716337FA9}"/>
          </ac:inkMkLst>
        </pc:inkChg>
        <pc:inkChg chg="add mod">
          <ac:chgData name="Aniket Chhabra" userId="598e0514-bef3-4e71-b6aa-f2edd6441cff" providerId="ADAL" clId="{FFB5BFD2-246A-034F-B635-DE62B5FCF3A6}" dt="2023-05-27T12:08:21.337" v="574"/>
          <ac:inkMkLst>
            <pc:docMk/>
            <pc:sldMk cId="1117605727" sldId="312"/>
            <ac:inkMk id="190" creationId="{71FD9CFD-6505-E3FE-6BB0-80D9267BE76E}"/>
          </ac:inkMkLst>
        </pc:inkChg>
        <pc:inkChg chg="add mod">
          <ac:chgData name="Aniket Chhabra" userId="598e0514-bef3-4e71-b6aa-f2edd6441cff" providerId="ADAL" clId="{FFB5BFD2-246A-034F-B635-DE62B5FCF3A6}" dt="2023-05-27T12:08:21.337" v="574"/>
          <ac:inkMkLst>
            <pc:docMk/>
            <pc:sldMk cId="1117605727" sldId="312"/>
            <ac:inkMk id="191" creationId="{C0CEB9E5-6964-C54C-DE22-7645D99C158E}"/>
          </ac:inkMkLst>
        </pc:inkChg>
        <pc:inkChg chg="add mod">
          <ac:chgData name="Aniket Chhabra" userId="598e0514-bef3-4e71-b6aa-f2edd6441cff" providerId="ADAL" clId="{FFB5BFD2-246A-034F-B635-DE62B5FCF3A6}" dt="2023-05-27T12:08:21.337" v="574"/>
          <ac:inkMkLst>
            <pc:docMk/>
            <pc:sldMk cId="1117605727" sldId="312"/>
            <ac:inkMk id="192" creationId="{4D6BE58F-6375-66F8-F14C-B500830F934A}"/>
          </ac:inkMkLst>
        </pc:inkChg>
        <pc:inkChg chg="add mod">
          <ac:chgData name="Aniket Chhabra" userId="598e0514-bef3-4e71-b6aa-f2edd6441cff" providerId="ADAL" clId="{FFB5BFD2-246A-034F-B635-DE62B5FCF3A6}" dt="2023-05-27T12:08:21.337" v="574"/>
          <ac:inkMkLst>
            <pc:docMk/>
            <pc:sldMk cId="1117605727" sldId="312"/>
            <ac:inkMk id="193" creationId="{F17277C1-02A0-E386-2F76-38C2949F943A}"/>
          </ac:inkMkLst>
        </pc:inkChg>
        <pc:inkChg chg="add mod">
          <ac:chgData name="Aniket Chhabra" userId="598e0514-bef3-4e71-b6aa-f2edd6441cff" providerId="ADAL" clId="{FFB5BFD2-246A-034F-B635-DE62B5FCF3A6}" dt="2023-05-27T12:08:21.337" v="574"/>
          <ac:inkMkLst>
            <pc:docMk/>
            <pc:sldMk cId="1117605727" sldId="312"/>
            <ac:inkMk id="194" creationId="{F28386BA-548C-30A9-8EDC-69DBA2B80152}"/>
          </ac:inkMkLst>
        </pc:inkChg>
        <pc:inkChg chg="add mod">
          <ac:chgData name="Aniket Chhabra" userId="598e0514-bef3-4e71-b6aa-f2edd6441cff" providerId="ADAL" clId="{FFB5BFD2-246A-034F-B635-DE62B5FCF3A6}" dt="2023-05-27T12:08:21.337" v="574"/>
          <ac:inkMkLst>
            <pc:docMk/>
            <pc:sldMk cId="1117605727" sldId="312"/>
            <ac:inkMk id="196" creationId="{C6B3AD38-1E65-6690-0735-1BC1EEFB727D}"/>
          </ac:inkMkLst>
        </pc:inkChg>
        <pc:inkChg chg="add mod">
          <ac:chgData name="Aniket Chhabra" userId="598e0514-bef3-4e71-b6aa-f2edd6441cff" providerId="ADAL" clId="{FFB5BFD2-246A-034F-B635-DE62B5FCF3A6}" dt="2023-05-27T12:08:21.337" v="574"/>
          <ac:inkMkLst>
            <pc:docMk/>
            <pc:sldMk cId="1117605727" sldId="312"/>
            <ac:inkMk id="197" creationId="{2751EF99-35B3-C225-28DC-0DA3DE3CB927}"/>
          </ac:inkMkLst>
        </pc:inkChg>
        <pc:inkChg chg="add mod">
          <ac:chgData name="Aniket Chhabra" userId="598e0514-bef3-4e71-b6aa-f2edd6441cff" providerId="ADAL" clId="{FFB5BFD2-246A-034F-B635-DE62B5FCF3A6}" dt="2023-05-27T12:09:41.672" v="636"/>
          <ac:inkMkLst>
            <pc:docMk/>
            <pc:sldMk cId="1117605727" sldId="312"/>
            <ac:inkMk id="199" creationId="{135E6C98-430B-4FB8-54A8-4FC9E4A371D6}"/>
          </ac:inkMkLst>
        </pc:inkChg>
        <pc:inkChg chg="add mod">
          <ac:chgData name="Aniket Chhabra" userId="598e0514-bef3-4e71-b6aa-f2edd6441cff" providerId="ADAL" clId="{FFB5BFD2-246A-034F-B635-DE62B5FCF3A6}" dt="2023-05-27T12:09:41.672" v="636"/>
          <ac:inkMkLst>
            <pc:docMk/>
            <pc:sldMk cId="1117605727" sldId="312"/>
            <ac:inkMk id="200" creationId="{98507ABD-86B6-501B-1A1B-4EC41471905B}"/>
          </ac:inkMkLst>
        </pc:inkChg>
        <pc:inkChg chg="add mod">
          <ac:chgData name="Aniket Chhabra" userId="598e0514-bef3-4e71-b6aa-f2edd6441cff" providerId="ADAL" clId="{FFB5BFD2-246A-034F-B635-DE62B5FCF3A6}" dt="2023-05-27T12:09:41.672" v="636"/>
          <ac:inkMkLst>
            <pc:docMk/>
            <pc:sldMk cId="1117605727" sldId="312"/>
            <ac:inkMk id="201" creationId="{E36640DC-0A62-4AC5-8EF8-752658835BCE}"/>
          </ac:inkMkLst>
        </pc:inkChg>
        <pc:inkChg chg="add mod">
          <ac:chgData name="Aniket Chhabra" userId="598e0514-bef3-4e71-b6aa-f2edd6441cff" providerId="ADAL" clId="{FFB5BFD2-246A-034F-B635-DE62B5FCF3A6}" dt="2023-05-27T12:09:41.672" v="636"/>
          <ac:inkMkLst>
            <pc:docMk/>
            <pc:sldMk cId="1117605727" sldId="312"/>
            <ac:inkMk id="202" creationId="{EE994E46-1E4E-1E96-1D18-A47C8CAD4239}"/>
          </ac:inkMkLst>
        </pc:inkChg>
        <pc:inkChg chg="add mod">
          <ac:chgData name="Aniket Chhabra" userId="598e0514-bef3-4e71-b6aa-f2edd6441cff" providerId="ADAL" clId="{FFB5BFD2-246A-034F-B635-DE62B5FCF3A6}" dt="2023-05-27T12:09:41.672" v="636"/>
          <ac:inkMkLst>
            <pc:docMk/>
            <pc:sldMk cId="1117605727" sldId="312"/>
            <ac:inkMk id="203" creationId="{74D192C6-D494-3ED8-2B61-FEAD97218DD9}"/>
          </ac:inkMkLst>
        </pc:inkChg>
        <pc:inkChg chg="add mod">
          <ac:chgData name="Aniket Chhabra" userId="598e0514-bef3-4e71-b6aa-f2edd6441cff" providerId="ADAL" clId="{FFB5BFD2-246A-034F-B635-DE62B5FCF3A6}" dt="2023-05-27T12:09:41.672" v="636"/>
          <ac:inkMkLst>
            <pc:docMk/>
            <pc:sldMk cId="1117605727" sldId="312"/>
            <ac:inkMk id="204" creationId="{66295D99-C5F9-B1C3-E7B1-63BF804BEC8E}"/>
          </ac:inkMkLst>
        </pc:inkChg>
        <pc:inkChg chg="add mod">
          <ac:chgData name="Aniket Chhabra" userId="598e0514-bef3-4e71-b6aa-f2edd6441cff" providerId="ADAL" clId="{FFB5BFD2-246A-034F-B635-DE62B5FCF3A6}" dt="2023-05-27T12:09:41.672" v="636"/>
          <ac:inkMkLst>
            <pc:docMk/>
            <pc:sldMk cId="1117605727" sldId="312"/>
            <ac:inkMk id="205" creationId="{49D9148B-61A1-9E4D-33B6-118C7E9541BF}"/>
          </ac:inkMkLst>
        </pc:inkChg>
        <pc:inkChg chg="add mod">
          <ac:chgData name="Aniket Chhabra" userId="598e0514-bef3-4e71-b6aa-f2edd6441cff" providerId="ADAL" clId="{FFB5BFD2-246A-034F-B635-DE62B5FCF3A6}" dt="2023-05-27T12:09:41.672" v="636"/>
          <ac:inkMkLst>
            <pc:docMk/>
            <pc:sldMk cId="1117605727" sldId="312"/>
            <ac:inkMk id="207" creationId="{EC9A5448-9359-DD43-D070-0C742BFDAF91}"/>
          </ac:inkMkLst>
        </pc:inkChg>
        <pc:inkChg chg="add mod">
          <ac:chgData name="Aniket Chhabra" userId="598e0514-bef3-4e71-b6aa-f2edd6441cff" providerId="ADAL" clId="{FFB5BFD2-246A-034F-B635-DE62B5FCF3A6}" dt="2023-05-27T12:09:41.672" v="636"/>
          <ac:inkMkLst>
            <pc:docMk/>
            <pc:sldMk cId="1117605727" sldId="312"/>
            <ac:inkMk id="208" creationId="{FC347870-1116-C50D-DC0E-57896638A513}"/>
          </ac:inkMkLst>
        </pc:inkChg>
        <pc:inkChg chg="add mod">
          <ac:chgData name="Aniket Chhabra" userId="598e0514-bef3-4e71-b6aa-f2edd6441cff" providerId="ADAL" clId="{FFB5BFD2-246A-034F-B635-DE62B5FCF3A6}" dt="2023-05-27T12:09:41.672" v="636"/>
          <ac:inkMkLst>
            <pc:docMk/>
            <pc:sldMk cId="1117605727" sldId="312"/>
            <ac:inkMk id="209" creationId="{EB7ED419-28C0-A349-FCEF-6B4A16F7F5A4}"/>
          </ac:inkMkLst>
        </pc:inkChg>
        <pc:inkChg chg="add mod">
          <ac:chgData name="Aniket Chhabra" userId="598e0514-bef3-4e71-b6aa-f2edd6441cff" providerId="ADAL" clId="{FFB5BFD2-246A-034F-B635-DE62B5FCF3A6}" dt="2023-05-27T12:09:41.672" v="636"/>
          <ac:inkMkLst>
            <pc:docMk/>
            <pc:sldMk cId="1117605727" sldId="312"/>
            <ac:inkMk id="210" creationId="{BEA98890-A00D-7072-EB23-82E554C62B70}"/>
          </ac:inkMkLst>
        </pc:inkChg>
        <pc:inkChg chg="add mod">
          <ac:chgData name="Aniket Chhabra" userId="598e0514-bef3-4e71-b6aa-f2edd6441cff" providerId="ADAL" clId="{FFB5BFD2-246A-034F-B635-DE62B5FCF3A6}" dt="2023-05-27T12:09:41.672" v="636"/>
          <ac:inkMkLst>
            <pc:docMk/>
            <pc:sldMk cId="1117605727" sldId="312"/>
            <ac:inkMk id="211" creationId="{CD77310D-B154-7491-EB36-2533DA6D8A48}"/>
          </ac:inkMkLst>
        </pc:inkChg>
        <pc:inkChg chg="add mod">
          <ac:chgData name="Aniket Chhabra" userId="598e0514-bef3-4e71-b6aa-f2edd6441cff" providerId="ADAL" clId="{FFB5BFD2-246A-034F-B635-DE62B5FCF3A6}" dt="2023-05-27T12:09:41.672" v="636"/>
          <ac:inkMkLst>
            <pc:docMk/>
            <pc:sldMk cId="1117605727" sldId="312"/>
            <ac:inkMk id="213" creationId="{A6038485-C8F5-71E2-2098-164614933627}"/>
          </ac:inkMkLst>
        </pc:inkChg>
        <pc:inkChg chg="add mod">
          <ac:chgData name="Aniket Chhabra" userId="598e0514-bef3-4e71-b6aa-f2edd6441cff" providerId="ADAL" clId="{FFB5BFD2-246A-034F-B635-DE62B5FCF3A6}" dt="2023-05-27T12:09:41.672" v="636"/>
          <ac:inkMkLst>
            <pc:docMk/>
            <pc:sldMk cId="1117605727" sldId="312"/>
            <ac:inkMk id="214" creationId="{DDD3E4CC-C2FE-22F0-22A0-80DF85E710E4}"/>
          </ac:inkMkLst>
        </pc:inkChg>
        <pc:inkChg chg="add mod">
          <ac:chgData name="Aniket Chhabra" userId="598e0514-bef3-4e71-b6aa-f2edd6441cff" providerId="ADAL" clId="{FFB5BFD2-246A-034F-B635-DE62B5FCF3A6}" dt="2023-05-27T12:09:41.672" v="636"/>
          <ac:inkMkLst>
            <pc:docMk/>
            <pc:sldMk cId="1117605727" sldId="312"/>
            <ac:inkMk id="215" creationId="{E80E1EF8-854B-8C4A-74B0-EDC76DEED855}"/>
          </ac:inkMkLst>
        </pc:inkChg>
        <pc:inkChg chg="add mod">
          <ac:chgData name="Aniket Chhabra" userId="598e0514-bef3-4e71-b6aa-f2edd6441cff" providerId="ADAL" clId="{FFB5BFD2-246A-034F-B635-DE62B5FCF3A6}" dt="2023-05-27T12:09:41.672" v="636"/>
          <ac:inkMkLst>
            <pc:docMk/>
            <pc:sldMk cId="1117605727" sldId="312"/>
            <ac:inkMk id="216" creationId="{959E6510-62FE-EECB-B376-BC88BCD53454}"/>
          </ac:inkMkLst>
        </pc:inkChg>
        <pc:inkChg chg="add mod">
          <ac:chgData name="Aniket Chhabra" userId="598e0514-bef3-4e71-b6aa-f2edd6441cff" providerId="ADAL" clId="{FFB5BFD2-246A-034F-B635-DE62B5FCF3A6}" dt="2023-05-27T12:09:41.672" v="636"/>
          <ac:inkMkLst>
            <pc:docMk/>
            <pc:sldMk cId="1117605727" sldId="312"/>
            <ac:inkMk id="217" creationId="{0A314A0E-018F-FA4A-03EE-C337A6114486}"/>
          </ac:inkMkLst>
        </pc:inkChg>
        <pc:inkChg chg="add mod">
          <ac:chgData name="Aniket Chhabra" userId="598e0514-bef3-4e71-b6aa-f2edd6441cff" providerId="ADAL" clId="{FFB5BFD2-246A-034F-B635-DE62B5FCF3A6}" dt="2023-05-27T12:09:41.672" v="636"/>
          <ac:inkMkLst>
            <pc:docMk/>
            <pc:sldMk cId="1117605727" sldId="312"/>
            <ac:inkMk id="218" creationId="{579CE07F-FC8A-7334-0788-2A8648D16648}"/>
          </ac:inkMkLst>
        </pc:inkChg>
        <pc:inkChg chg="add mod">
          <ac:chgData name="Aniket Chhabra" userId="598e0514-bef3-4e71-b6aa-f2edd6441cff" providerId="ADAL" clId="{FFB5BFD2-246A-034F-B635-DE62B5FCF3A6}" dt="2023-05-27T12:09:41.672" v="636"/>
          <ac:inkMkLst>
            <pc:docMk/>
            <pc:sldMk cId="1117605727" sldId="312"/>
            <ac:inkMk id="220" creationId="{DB090664-C4B9-01F2-9E0B-ADFB38DD4D21}"/>
          </ac:inkMkLst>
        </pc:inkChg>
        <pc:inkChg chg="add mod">
          <ac:chgData name="Aniket Chhabra" userId="598e0514-bef3-4e71-b6aa-f2edd6441cff" providerId="ADAL" clId="{FFB5BFD2-246A-034F-B635-DE62B5FCF3A6}" dt="2023-05-27T12:09:41.672" v="636"/>
          <ac:inkMkLst>
            <pc:docMk/>
            <pc:sldMk cId="1117605727" sldId="312"/>
            <ac:inkMk id="221" creationId="{C2DA6E26-8E4B-FE25-5183-157EF2F1DC3D}"/>
          </ac:inkMkLst>
        </pc:inkChg>
        <pc:inkChg chg="add mod">
          <ac:chgData name="Aniket Chhabra" userId="598e0514-bef3-4e71-b6aa-f2edd6441cff" providerId="ADAL" clId="{FFB5BFD2-246A-034F-B635-DE62B5FCF3A6}" dt="2023-05-27T12:09:41.672" v="636"/>
          <ac:inkMkLst>
            <pc:docMk/>
            <pc:sldMk cId="1117605727" sldId="312"/>
            <ac:inkMk id="222" creationId="{8FE7ECA5-F708-22DC-8C40-E4889B8130BC}"/>
          </ac:inkMkLst>
        </pc:inkChg>
        <pc:inkChg chg="add mod">
          <ac:chgData name="Aniket Chhabra" userId="598e0514-bef3-4e71-b6aa-f2edd6441cff" providerId="ADAL" clId="{FFB5BFD2-246A-034F-B635-DE62B5FCF3A6}" dt="2023-05-27T12:09:41.672" v="636"/>
          <ac:inkMkLst>
            <pc:docMk/>
            <pc:sldMk cId="1117605727" sldId="312"/>
            <ac:inkMk id="223" creationId="{2EBD9AA7-A37C-6E16-A97A-C7B7EEA2C144}"/>
          </ac:inkMkLst>
        </pc:inkChg>
        <pc:inkChg chg="add mod">
          <ac:chgData name="Aniket Chhabra" userId="598e0514-bef3-4e71-b6aa-f2edd6441cff" providerId="ADAL" clId="{FFB5BFD2-246A-034F-B635-DE62B5FCF3A6}" dt="2023-05-27T12:09:41.672" v="636"/>
          <ac:inkMkLst>
            <pc:docMk/>
            <pc:sldMk cId="1117605727" sldId="312"/>
            <ac:inkMk id="226" creationId="{C434C3D8-3F24-B94E-E906-F1C4A34D4B00}"/>
          </ac:inkMkLst>
        </pc:inkChg>
        <pc:inkChg chg="add mod">
          <ac:chgData name="Aniket Chhabra" userId="598e0514-bef3-4e71-b6aa-f2edd6441cff" providerId="ADAL" clId="{FFB5BFD2-246A-034F-B635-DE62B5FCF3A6}" dt="2023-05-27T12:09:41.672" v="636"/>
          <ac:inkMkLst>
            <pc:docMk/>
            <pc:sldMk cId="1117605727" sldId="312"/>
            <ac:inkMk id="227" creationId="{8D5191B2-C1D2-2763-201B-4887D5482D6B}"/>
          </ac:inkMkLst>
        </pc:inkChg>
        <pc:inkChg chg="add mod">
          <ac:chgData name="Aniket Chhabra" userId="598e0514-bef3-4e71-b6aa-f2edd6441cff" providerId="ADAL" clId="{FFB5BFD2-246A-034F-B635-DE62B5FCF3A6}" dt="2023-05-27T12:09:41.672" v="636"/>
          <ac:inkMkLst>
            <pc:docMk/>
            <pc:sldMk cId="1117605727" sldId="312"/>
            <ac:inkMk id="228" creationId="{44FA53AC-EA93-ACC2-4F5E-D93598CBFB80}"/>
          </ac:inkMkLst>
        </pc:inkChg>
        <pc:inkChg chg="add mod">
          <ac:chgData name="Aniket Chhabra" userId="598e0514-bef3-4e71-b6aa-f2edd6441cff" providerId="ADAL" clId="{FFB5BFD2-246A-034F-B635-DE62B5FCF3A6}" dt="2023-05-27T12:09:41.672" v="636"/>
          <ac:inkMkLst>
            <pc:docMk/>
            <pc:sldMk cId="1117605727" sldId="312"/>
            <ac:inkMk id="229" creationId="{3661381F-7225-A53B-E2E1-7072FA5994DD}"/>
          </ac:inkMkLst>
        </pc:inkChg>
        <pc:inkChg chg="add mod">
          <ac:chgData name="Aniket Chhabra" userId="598e0514-bef3-4e71-b6aa-f2edd6441cff" providerId="ADAL" clId="{FFB5BFD2-246A-034F-B635-DE62B5FCF3A6}" dt="2023-05-27T12:09:41.672" v="636"/>
          <ac:inkMkLst>
            <pc:docMk/>
            <pc:sldMk cId="1117605727" sldId="312"/>
            <ac:inkMk id="230" creationId="{7519A9F6-7D14-4B23-A8CB-DE15BBF2E347}"/>
          </ac:inkMkLst>
        </pc:inkChg>
        <pc:inkChg chg="add mod">
          <ac:chgData name="Aniket Chhabra" userId="598e0514-bef3-4e71-b6aa-f2edd6441cff" providerId="ADAL" clId="{FFB5BFD2-246A-034F-B635-DE62B5FCF3A6}" dt="2023-05-27T12:09:41.672" v="636"/>
          <ac:inkMkLst>
            <pc:docMk/>
            <pc:sldMk cId="1117605727" sldId="312"/>
            <ac:inkMk id="231" creationId="{D93B5F25-D7C2-666B-2BB0-926B499768D5}"/>
          </ac:inkMkLst>
        </pc:inkChg>
        <pc:inkChg chg="add mod">
          <ac:chgData name="Aniket Chhabra" userId="598e0514-bef3-4e71-b6aa-f2edd6441cff" providerId="ADAL" clId="{FFB5BFD2-246A-034F-B635-DE62B5FCF3A6}" dt="2023-05-27T12:09:41.672" v="636"/>
          <ac:inkMkLst>
            <pc:docMk/>
            <pc:sldMk cId="1117605727" sldId="312"/>
            <ac:inkMk id="232" creationId="{5E6E4CA0-DFBF-B97D-2DE3-2CFC010DAED8}"/>
          </ac:inkMkLst>
        </pc:inkChg>
        <pc:inkChg chg="add mod">
          <ac:chgData name="Aniket Chhabra" userId="598e0514-bef3-4e71-b6aa-f2edd6441cff" providerId="ADAL" clId="{FFB5BFD2-246A-034F-B635-DE62B5FCF3A6}" dt="2023-05-27T12:09:41.672" v="636"/>
          <ac:inkMkLst>
            <pc:docMk/>
            <pc:sldMk cId="1117605727" sldId="312"/>
            <ac:inkMk id="233" creationId="{D86E34AE-02E1-EB82-8C78-6E7B07282C5F}"/>
          </ac:inkMkLst>
        </pc:inkChg>
        <pc:inkChg chg="add mod">
          <ac:chgData name="Aniket Chhabra" userId="598e0514-bef3-4e71-b6aa-f2edd6441cff" providerId="ADAL" clId="{FFB5BFD2-246A-034F-B635-DE62B5FCF3A6}" dt="2023-05-27T12:09:41.672" v="636"/>
          <ac:inkMkLst>
            <pc:docMk/>
            <pc:sldMk cId="1117605727" sldId="312"/>
            <ac:inkMk id="234" creationId="{07E2C4D3-A8BF-37A6-6A5F-6D908AB7B5E0}"/>
          </ac:inkMkLst>
        </pc:inkChg>
        <pc:inkChg chg="add mod">
          <ac:chgData name="Aniket Chhabra" userId="598e0514-bef3-4e71-b6aa-f2edd6441cff" providerId="ADAL" clId="{FFB5BFD2-246A-034F-B635-DE62B5FCF3A6}" dt="2023-05-27T12:09:41.672" v="636"/>
          <ac:inkMkLst>
            <pc:docMk/>
            <pc:sldMk cId="1117605727" sldId="312"/>
            <ac:inkMk id="235" creationId="{9C8259E2-7F66-63F5-C0DA-2976C37C2294}"/>
          </ac:inkMkLst>
        </pc:inkChg>
        <pc:inkChg chg="add mod">
          <ac:chgData name="Aniket Chhabra" userId="598e0514-bef3-4e71-b6aa-f2edd6441cff" providerId="ADAL" clId="{FFB5BFD2-246A-034F-B635-DE62B5FCF3A6}" dt="2023-05-27T12:09:41.672" v="636"/>
          <ac:inkMkLst>
            <pc:docMk/>
            <pc:sldMk cId="1117605727" sldId="312"/>
            <ac:inkMk id="236" creationId="{85BB739E-0136-9BA5-440E-461E4333F6E6}"/>
          </ac:inkMkLst>
        </pc:inkChg>
        <pc:inkChg chg="add mod">
          <ac:chgData name="Aniket Chhabra" userId="598e0514-bef3-4e71-b6aa-f2edd6441cff" providerId="ADAL" clId="{FFB5BFD2-246A-034F-B635-DE62B5FCF3A6}" dt="2023-05-27T12:09:41.672" v="636"/>
          <ac:inkMkLst>
            <pc:docMk/>
            <pc:sldMk cId="1117605727" sldId="312"/>
            <ac:inkMk id="237" creationId="{8FC392D2-79BC-CA2C-4538-894DD6F4B1B2}"/>
          </ac:inkMkLst>
        </pc:inkChg>
        <pc:inkChg chg="add mod">
          <ac:chgData name="Aniket Chhabra" userId="598e0514-bef3-4e71-b6aa-f2edd6441cff" providerId="ADAL" clId="{FFB5BFD2-246A-034F-B635-DE62B5FCF3A6}" dt="2023-05-27T12:09:41.672" v="636"/>
          <ac:inkMkLst>
            <pc:docMk/>
            <pc:sldMk cId="1117605727" sldId="312"/>
            <ac:inkMk id="238" creationId="{239F9EF1-4A4C-AFDC-3AAE-6600953A7944}"/>
          </ac:inkMkLst>
        </pc:inkChg>
        <pc:inkChg chg="add mod">
          <ac:chgData name="Aniket Chhabra" userId="598e0514-bef3-4e71-b6aa-f2edd6441cff" providerId="ADAL" clId="{FFB5BFD2-246A-034F-B635-DE62B5FCF3A6}" dt="2023-05-27T12:09:41.672" v="636"/>
          <ac:inkMkLst>
            <pc:docMk/>
            <pc:sldMk cId="1117605727" sldId="312"/>
            <ac:inkMk id="240" creationId="{0FA57395-7A06-B17C-0A89-9F595AAA8C9F}"/>
          </ac:inkMkLst>
        </pc:inkChg>
        <pc:inkChg chg="add mod">
          <ac:chgData name="Aniket Chhabra" userId="598e0514-bef3-4e71-b6aa-f2edd6441cff" providerId="ADAL" clId="{FFB5BFD2-246A-034F-B635-DE62B5FCF3A6}" dt="2023-05-27T12:09:41.672" v="636"/>
          <ac:inkMkLst>
            <pc:docMk/>
            <pc:sldMk cId="1117605727" sldId="312"/>
            <ac:inkMk id="241" creationId="{2DB99A2B-9849-BC28-7F64-BA6F7174B381}"/>
          </ac:inkMkLst>
        </pc:inkChg>
        <pc:inkChg chg="add mod">
          <ac:chgData name="Aniket Chhabra" userId="598e0514-bef3-4e71-b6aa-f2edd6441cff" providerId="ADAL" clId="{FFB5BFD2-246A-034F-B635-DE62B5FCF3A6}" dt="2023-05-27T12:09:41.672" v="636"/>
          <ac:inkMkLst>
            <pc:docMk/>
            <pc:sldMk cId="1117605727" sldId="312"/>
            <ac:inkMk id="243" creationId="{73A12E14-D617-4014-84CE-7596EC0FC278}"/>
          </ac:inkMkLst>
        </pc:inkChg>
        <pc:inkChg chg="add mod">
          <ac:chgData name="Aniket Chhabra" userId="598e0514-bef3-4e71-b6aa-f2edd6441cff" providerId="ADAL" clId="{FFB5BFD2-246A-034F-B635-DE62B5FCF3A6}" dt="2023-05-27T12:09:41.672" v="636"/>
          <ac:inkMkLst>
            <pc:docMk/>
            <pc:sldMk cId="1117605727" sldId="312"/>
            <ac:inkMk id="244" creationId="{03572329-A91E-578A-EC97-0061D291CD9D}"/>
          </ac:inkMkLst>
        </pc:inkChg>
        <pc:inkChg chg="add mod">
          <ac:chgData name="Aniket Chhabra" userId="598e0514-bef3-4e71-b6aa-f2edd6441cff" providerId="ADAL" clId="{FFB5BFD2-246A-034F-B635-DE62B5FCF3A6}" dt="2023-05-27T12:09:41.672" v="636"/>
          <ac:inkMkLst>
            <pc:docMk/>
            <pc:sldMk cId="1117605727" sldId="312"/>
            <ac:inkMk id="246" creationId="{6E2684FD-97DE-F021-9646-43A5F4E638F0}"/>
          </ac:inkMkLst>
        </pc:inkChg>
        <pc:inkChg chg="add mod">
          <ac:chgData name="Aniket Chhabra" userId="598e0514-bef3-4e71-b6aa-f2edd6441cff" providerId="ADAL" clId="{FFB5BFD2-246A-034F-B635-DE62B5FCF3A6}" dt="2023-05-27T12:09:41.672" v="636"/>
          <ac:inkMkLst>
            <pc:docMk/>
            <pc:sldMk cId="1117605727" sldId="312"/>
            <ac:inkMk id="247" creationId="{B1064491-FE53-7E82-B357-568E6B79C6DD}"/>
          </ac:inkMkLst>
        </pc:inkChg>
        <pc:inkChg chg="add mod">
          <ac:chgData name="Aniket Chhabra" userId="598e0514-bef3-4e71-b6aa-f2edd6441cff" providerId="ADAL" clId="{FFB5BFD2-246A-034F-B635-DE62B5FCF3A6}" dt="2023-05-27T12:09:41.672" v="636"/>
          <ac:inkMkLst>
            <pc:docMk/>
            <pc:sldMk cId="1117605727" sldId="312"/>
            <ac:inkMk id="248" creationId="{DBC503D4-8E84-88BB-D635-07864A265ED8}"/>
          </ac:inkMkLst>
        </pc:inkChg>
        <pc:inkChg chg="add mod">
          <ac:chgData name="Aniket Chhabra" userId="598e0514-bef3-4e71-b6aa-f2edd6441cff" providerId="ADAL" clId="{FFB5BFD2-246A-034F-B635-DE62B5FCF3A6}" dt="2023-05-27T12:09:41.672" v="636"/>
          <ac:inkMkLst>
            <pc:docMk/>
            <pc:sldMk cId="1117605727" sldId="312"/>
            <ac:inkMk id="249" creationId="{E26E5AB5-E4DE-EE6A-0AF5-37F8596EA710}"/>
          </ac:inkMkLst>
        </pc:inkChg>
        <pc:inkChg chg="add mod">
          <ac:chgData name="Aniket Chhabra" userId="598e0514-bef3-4e71-b6aa-f2edd6441cff" providerId="ADAL" clId="{FFB5BFD2-246A-034F-B635-DE62B5FCF3A6}" dt="2023-05-27T12:09:41.672" v="636"/>
          <ac:inkMkLst>
            <pc:docMk/>
            <pc:sldMk cId="1117605727" sldId="312"/>
            <ac:inkMk id="250" creationId="{83119764-B0CA-A792-026A-5F72FBFC6D83}"/>
          </ac:inkMkLst>
        </pc:inkChg>
        <pc:inkChg chg="add mod">
          <ac:chgData name="Aniket Chhabra" userId="598e0514-bef3-4e71-b6aa-f2edd6441cff" providerId="ADAL" clId="{FFB5BFD2-246A-034F-B635-DE62B5FCF3A6}" dt="2023-05-27T12:09:41.672" v="636"/>
          <ac:inkMkLst>
            <pc:docMk/>
            <pc:sldMk cId="1117605727" sldId="312"/>
            <ac:inkMk id="251" creationId="{48ECDA1D-AA1A-0FE6-9529-4006DE3EF590}"/>
          </ac:inkMkLst>
        </pc:inkChg>
        <pc:inkChg chg="add mod">
          <ac:chgData name="Aniket Chhabra" userId="598e0514-bef3-4e71-b6aa-f2edd6441cff" providerId="ADAL" clId="{FFB5BFD2-246A-034F-B635-DE62B5FCF3A6}" dt="2023-05-27T12:09:41.672" v="636"/>
          <ac:inkMkLst>
            <pc:docMk/>
            <pc:sldMk cId="1117605727" sldId="312"/>
            <ac:inkMk id="252" creationId="{1D3D6B28-D58D-F821-E90F-3EE95F8DD9D5}"/>
          </ac:inkMkLst>
        </pc:inkChg>
        <pc:inkChg chg="add mod">
          <ac:chgData name="Aniket Chhabra" userId="598e0514-bef3-4e71-b6aa-f2edd6441cff" providerId="ADAL" clId="{FFB5BFD2-246A-034F-B635-DE62B5FCF3A6}" dt="2023-05-27T12:09:41.672" v="636"/>
          <ac:inkMkLst>
            <pc:docMk/>
            <pc:sldMk cId="1117605727" sldId="312"/>
            <ac:inkMk id="253" creationId="{20B78E84-66DA-126A-E1D3-CDE41915A699}"/>
          </ac:inkMkLst>
        </pc:inkChg>
        <pc:inkChg chg="add mod">
          <ac:chgData name="Aniket Chhabra" userId="598e0514-bef3-4e71-b6aa-f2edd6441cff" providerId="ADAL" clId="{FFB5BFD2-246A-034F-B635-DE62B5FCF3A6}" dt="2023-05-27T12:09:41.672" v="636"/>
          <ac:inkMkLst>
            <pc:docMk/>
            <pc:sldMk cId="1117605727" sldId="312"/>
            <ac:inkMk id="254" creationId="{4026F2E6-753C-64A8-88F1-CAFD4B6FA532}"/>
          </ac:inkMkLst>
        </pc:inkChg>
        <pc:inkChg chg="add mod">
          <ac:chgData name="Aniket Chhabra" userId="598e0514-bef3-4e71-b6aa-f2edd6441cff" providerId="ADAL" clId="{FFB5BFD2-246A-034F-B635-DE62B5FCF3A6}" dt="2023-05-27T12:09:41.672" v="636"/>
          <ac:inkMkLst>
            <pc:docMk/>
            <pc:sldMk cId="1117605727" sldId="312"/>
            <ac:inkMk id="255" creationId="{453CC8D2-251E-CC7C-9034-1A1EAA36648E}"/>
          </ac:inkMkLst>
        </pc:inkChg>
        <pc:inkChg chg="add mod">
          <ac:chgData name="Aniket Chhabra" userId="598e0514-bef3-4e71-b6aa-f2edd6441cff" providerId="ADAL" clId="{FFB5BFD2-246A-034F-B635-DE62B5FCF3A6}" dt="2023-05-27T12:09:41.672" v="636"/>
          <ac:inkMkLst>
            <pc:docMk/>
            <pc:sldMk cId="1117605727" sldId="312"/>
            <ac:inkMk id="256" creationId="{5AB3A8A5-0ECD-439F-0628-5D4B3124E05F}"/>
          </ac:inkMkLst>
        </pc:inkChg>
        <pc:inkChg chg="add mod">
          <ac:chgData name="Aniket Chhabra" userId="598e0514-bef3-4e71-b6aa-f2edd6441cff" providerId="ADAL" clId="{FFB5BFD2-246A-034F-B635-DE62B5FCF3A6}" dt="2023-05-27T12:09:41.672" v="636"/>
          <ac:inkMkLst>
            <pc:docMk/>
            <pc:sldMk cId="1117605727" sldId="312"/>
            <ac:inkMk id="257" creationId="{730DA258-FB95-E1F7-92BD-0A72F93455EB}"/>
          </ac:inkMkLst>
        </pc:inkChg>
        <pc:inkChg chg="add mod">
          <ac:chgData name="Aniket Chhabra" userId="598e0514-bef3-4e71-b6aa-f2edd6441cff" providerId="ADAL" clId="{FFB5BFD2-246A-034F-B635-DE62B5FCF3A6}" dt="2023-05-27T12:09:41.672" v="636"/>
          <ac:inkMkLst>
            <pc:docMk/>
            <pc:sldMk cId="1117605727" sldId="312"/>
            <ac:inkMk id="258" creationId="{9948EEC8-3C6E-2BB0-0158-F9293086A03F}"/>
          </ac:inkMkLst>
        </pc:inkChg>
        <pc:inkChg chg="add mod">
          <ac:chgData name="Aniket Chhabra" userId="598e0514-bef3-4e71-b6aa-f2edd6441cff" providerId="ADAL" clId="{FFB5BFD2-246A-034F-B635-DE62B5FCF3A6}" dt="2023-05-27T12:09:41.672" v="636"/>
          <ac:inkMkLst>
            <pc:docMk/>
            <pc:sldMk cId="1117605727" sldId="312"/>
            <ac:inkMk id="259" creationId="{C82A39E3-3898-9017-B6DE-A76B0728A898}"/>
          </ac:inkMkLst>
        </pc:inkChg>
        <pc:inkChg chg="add mod">
          <ac:chgData name="Aniket Chhabra" userId="598e0514-bef3-4e71-b6aa-f2edd6441cff" providerId="ADAL" clId="{FFB5BFD2-246A-034F-B635-DE62B5FCF3A6}" dt="2023-05-27T12:09:41.672" v="636"/>
          <ac:inkMkLst>
            <pc:docMk/>
            <pc:sldMk cId="1117605727" sldId="312"/>
            <ac:inkMk id="260" creationId="{9FA66C99-0976-FDF1-6610-9CF38832BE9E}"/>
          </ac:inkMkLst>
        </pc:inkChg>
      </pc:sldChg>
      <pc:sldChg chg="addSp delSp modSp new del mod">
        <pc:chgData name="Aniket Chhabra" userId="598e0514-bef3-4e71-b6aa-f2edd6441cff" providerId="ADAL" clId="{FFB5BFD2-246A-034F-B635-DE62B5FCF3A6}" dt="2023-05-27T12:05:15.083" v="382" actId="2696"/>
        <pc:sldMkLst>
          <pc:docMk/>
          <pc:sldMk cId="3355189510" sldId="312"/>
        </pc:sldMkLst>
        <pc:spChg chg="del">
          <ac:chgData name="Aniket Chhabra" userId="598e0514-bef3-4e71-b6aa-f2edd6441cff" providerId="ADAL" clId="{FFB5BFD2-246A-034F-B635-DE62B5FCF3A6}" dt="2023-05-27T07:33:36.140" v="37" actId="478"/>
          <ac:spMkLst>
            <pc:docMk/>
            <pc:sldMk cId="3355189510" sldId="312"/>
            <ac:spMk id="2" creationId="{BC0333FC-898D-F03A-870B-92EA98C5BFB3}"/>
          </ac:spMkLst>
        </pc:spChg>
        <pc:spChg chg="del">
          <ac:chgData name="Aniket Chhabra" userId="598e0514-bef3-4e71-b6aa-f2edd6441cff" providerId="ADAL" clId="{FFB5BFD2-246A-034F-B635-DE62B5FCF3A6}" dt="2023-05-27T07:33:36.140" v="37" actId="478"/>
          <ac:spMkLst>
            <pc:docMk/>
            <pc:sldMk cId="3355189510" sldId="312"/>
            <ac:spMk id="3" creationId="{33ACEABA-EE0F-A3ED-0855-381C7B76A40F}"/>
          </ac:spMkLst>
        </pc:spChg>
        <pc:grpChg chg="mod">
          <ac:chgData name="Aniket Chhabra" userId="598e0514-bef3-4e71-b6aa-f2edd6441cff" providerId="ADAL" clId="{FFB5BFD2-246A-034F-B635-DE62B5FCF3A6}" dt="2023-05-27T07:33:54.847" v="64"/>
          <ac:grpSpMkLst>
            <pc:docMk/>
            <pc:sldMk cId="3355189510" sldId="312"/>
            <ac:grpSpMk id="30" creationId="{BD076CAB-B17E-39D5-C689-55D72AC3C79E}"/>
          </ac:grpSpMkLst>
        </pc:grpChg>
        <pc:grpChg chg="del mod">
          <ac:chgData name="Aniket Chhabra" userId="598e0514-bef3-4e71-b6aa-f2edd6441cff" providerId="ADAL" clId="{FFB5BFD2-246A-034F-B635-DE62B5FCF3A6}" dt="2023-05-27T07:34:03.113" v="81"/>
          <ac:grpSpMkLst>
            <pc:docMk/>
            <pc:sldMk cId="3355189510" sldId="312"/>
            <ac:grpSpMk id="45" creationId="{24E2FF22-69D5-09B7-5D4E-D42BBBB71CA2}"/>
          </ac:grpSpMkLst>
        </pc:grpChg>
        <pc:grpChg chg="del mod">
          <ac:chgData name="Aniket Chhabra" userId="598e0514-bef3-4e71-b6aa-f2edd6441cff" providerId="ADAL" clId="{FFB5BFD2-246A-034F-B635-DE62B5FCF3A6}" dt="2023-05-27T07:34:03.113" v="81"/>
          <ac:grpSpMkLst>
            <pc:docMk/>
            <pc:sldMk cId="3355189510" sldId="312"/>
            <ac:grpSpMk id="46" creationId="{B609A474-19FE-F0D3-8A18-41BCAA2E05A3}"/>
          </ac:grpSpMkLst>
        </pc:grpChg>
        <pc:grpChg chg="mod">
          <ac:chgData name="Aniket Chhabra" userId="598e0514-bef3-4e71-b6aa-f2edd6441cff" providerId="ADAL" clId="{FFB5BFD2-246A-034F-B635-DE62B5FCF3A6}" dt="2023-05-27T07:34:03.113" v="81"/>
          <ac:grpSpMkLst>
            <pc:docMk/>
            <pc:sldMk cId="3355189510" sldId="312"/>
            <ac:grpSpMk id="48" creationId="{05E710E1-CF37-CC74-3F4B-40E45E658807}"/>
          </ac:grpSpMkLst>
        </pc:grpChg>
        <pc:grpChg chg="mod">
          <ac:chgData name="Aniket Chhabra" userId="598e0514-bef3-4e71-b6aa-f2edd6441cff" providerId="ADAL" clId="{FFB5BFD2-246A-034F-B635-DE62B5FCF3A6}" dt="2023-05-27T07:34:22.931" v="100"/>
          <ac:grpSpMkLst>
            <pc:docMk/>
            <pc:sldMk cId="3355189510" sldId="312"/>
            <ac:grpSpMk id="67" creationId="{8709770A-A79F-CD43-72A1-3B94D29E29B8}"/>
          </ac:grpSpMkLst>
        </pc:grpChg>
        <pc:grpChg chg="mod">
          <ac:chgData name="Aniket Chhabra" userId="598e0514-bef3-4e71-b6aa-f2edd6441cff" providerId="ADAL" clId="{FFB5BFD2-246A-034F-B635-DE62B5FCF3A6}" dt="2023-05-27T07:34:22.931" v="100"/>
          <ac:grpSpMkLst>
            <pc:docMk/>
            <pc:sldMk cId="3355189510" sldId="312"/>
            <ac:grpSpMk id="68" creationId="{37AB9908-54B7-48FC-214E-E73F8C29B235}"/>
          </ac:grpSpMkLst>
        </pc:grpChg>
        <pc:grpChg chg="del mod">
          <ac:chgData name="Aniket Chhabra" userId="598e0514-bef3-4e71-b6aa-f2edd6441cff" providerId="ADAL" clId="{FFB5BFD2-246A-034F-B635-DE62B5FCF3A6}" dt="2023-05-27T07:35:56.159" v="150"/>
          <ac:grpSpMkLst>
            <pc:docMk/>
            <pc:sldMk cId="3355189510" sldId="312"/>
            <ac:grpSpMk id="76" creationId="{5D32AFF6-128F-669C-C754-8C243F0CE792}"/>
          </ac:grpSpMkLst>
        </pc:grpChg>
        <pc:grpChg chg="del mod">
          <ac:chgData name="Aniket Chhabra" userId="598e0514-bef3-4e71-b6aa-f2edd6441cff" providerId="ADAL" clId="{FFB5BFD2-246A-034F-B635-DE62B5FCF3A6}" dt="2023-05-27T07:35:56.159" v="150"/>
          <ac:grpSpMkLst>
            <pc:docMk/>
            <pc:sldMk cId="3355189510" sldId="312"/>
            <ac:grpSpMk id="82" creationId="{8161696D-C66D-55D0-C44A-59B6ACB1430E}"/>
          </ac:grpSpMkLst>
        </pc:grpChg>
        <pc:grpChg chg="del mod">
          <ac:chgData name="Aniket Chhabra" userId="598e0514-bef3-4e71-b6aa-f2edd6441cff" providerId="ADAL" clId="{FFB5BFD2-246A-034F-B635-DE62B5FCF3A6}" dt="2023-05-27T07:35:40.163" v="128"/>
          <ac:grpSpMkLst>
            <pc:docMk/>
            <pc:sldMk cId="3355189510" sldId="312"/>
            <ac:grpSpMk id="96" creationId="{179081FE-407D-F021-81C7-796C98087015}"/>
          </ac:grpSpMkLst>
        </pc:grpChg>
        <pc:grpChg chg="del mod">
          <ac:chgData name="Aniket Chhabra" userId="598e0514-bef3-4e71-b6aa-f2edd6441cff" providerId="ADAL" clId="{FFB5BFD2-246A-034F-B635-DE62B5FCF3A6}" dt="2023-05-27T07:35:56.159" v="150"/>
          <ac:grpSpMkLst>
            <pc:docMk/>
            <pc:sldMk cId="3355189510" sldId="312"/>
            <ac:grpSpMk id="97" creationId="{B0A6DA4E-47AA-C588-359F-F81C328D9917}"/>
          </ac:grpSpMkLst>
        </pc:grpChg>
        <pc:grpChg chg="del mod">
          <ac:chgData name="Aniket Chhabra" userId="598e0514-bef3-4e71-b6aa-f2edd6441cff" providerId="ADAL" clId="{FFB5BFD2-246A-034F-B635-DE62B5FCF3A6}" dt="2023-05-27T07:41:41.795" v="236"/>
          <ac:grpSpMkLst>
            <pc:docMk/>
            <pc:sldMk cId="3355189510" sldId="312"/>
            <ac:grpSpMk id="113" creationId="{8DB52AF7-193F-CF59-A341-BBF96B02FE16}"/>
          </ac:grpSpMkLst>
        </pc:grpChg>
        <pc:grpChg chg="del mod">
          <ac:chgData name="Aniket Chhabra" userId="598e0514-bef3-4e71-b6aa-f2edd6441cff" providerId="ADAL" clId="{FFB5BFD2-246A-034F-B635-DE62B5FCF3A6}" dt="2023-05-27T07:41:41.795" v="236"/>
          <ac:grpSpMkLst>
            <pc:docMk/>
            <pc:sldMk cId="3355189510" sldId="312"/>
            <ac:grpSpMk id="114" creationId="{BFBABF17-2D00-541C-F1CC-BD88CF992F78}"/>
          </ac:grpSpMkLst>
        </pc:grpChg>
        <pc:grpChg chg="del mod">
          <ac:chgData name="Aniket Chhabra" userId="598e0514-bef3-4e71-b6aa-f2edd6441cff" providerId="ADAL" clId="{FFB5BFD2-246A-034F-B635-DE62B5FCF3A6}" dt="2023-05-27T07:35:56.159" v="150"/>
          <ac:grpSpMkLst>
            <pc:docMk/>
            <pc:sldMk cId="3355189510" sldId="312"/>
            <ac:grpSpMk id="118" creationId="{47F0302C-32C1-D71C-3F2D-6CFCC16E4B4D}"/>
          </ac:grpSpMkLst>
        </pc:grpChg>
        <pc:grpChg chg="del mod">
          <ac:chgData name="Aniket Chhabra" userId="598e0514-bef3-4e71-b6aa-f2edd6441cff" providerId="ADAL" clId="{FFB5BFD2-246A-034F-B635-DE62B5FCF3A6}" dt="2023-05-27T07:41:41.795" v="236"/>
          <ac:grpSpMkLst>
            <pc:docMk/>
            <pc:sldMk cId="3355189510" sldId="312"/>
            <ac:grpSpMk id="120" creationId="{F0734464-275D-8CAB-8009-4E8B674312B5}"/>
          </ac:grpSpMkLst>
        </pc:grpChg>
        <pc:grpChg chg="del mod">
          <ac:chgData name="Aniket Chhabra" userId="598e0514-bef3-4e71-b6aa-f2edd6441cff" providerId="ADAL" clId="{FFB5BFD2-246A-034F-B635-DE62B5FCF3A6}" dt="2023-05-27T07:38:45.690" v="163"/>
          <ac:grpSpMkLst>
            <pc:docMk/>
            <pc:sldMk cId="3355189510" sldId="312"/>
            <ac:grpSpMk id="130" creationId="{1E7713B6-AD9B-B949-4C9C-9A5F5D543E5F}"/>
          </ac:grpSpMkLst>
        </pc:grpChg>
        <pc:grpChg chg="del mod">
          <ac:chgData name="Aniket Chhabra" userId="598e0514-bef3-4e71-b6aa-f2edd6441cff" providerId="ADAL" clId="{FFB5BFD2-246A-034F-B635-DE62B5FCF3A6}" dt="2023-05-27T07:38:55.049" v="179"/>
          <ac:grpSpMkLst>
            <pc:docMk/>
            <pc:sldMk cId="3355189510" sldId="312"/>
            <ac:grpSpMk id="131" creationId="{9011A44E-8808-2931-D50C-C2CF4A130428}"/>
          </ac:grpSpMkLst>
        </pc:grpChg>
        <pc:grpChg chg="del mod">
          <ac:chgData name="Aniket Chhabra" userId="598e0514-bef3-4e71-b6aa-f2edd6441cff" providerId="ADAL" clId="{FFB5BFD2-246A-034F-B635-DE62B5FCF3A6}" dt="2023-05-27T07:41:51.318" v="240"/>
          <ac:grpSpMkLst>
            <pc:docMk/>
            <pc:sldMk cId="3355189510" sldId="312"/>
            <ac:grpSpMk id="146" creationId="{E9A6A719-3EA0-006C-9DC5-7ECB3A54BB36}"/>
          </ac:grpSpMkLst>
        </pc:grpChg>
        <pc:grpChg chg="del mod">
          <ac:chgData name="Aniket Chhabra" userId="598e0514-bef3-4e71-b6aa-f2edd6441cff" providerId="ADAL" clId="{FFB5BFD2-246A-034F-B635-DE62B5FCF3A6}" dt="2023-05-27T07:39:09.040" v="195"/>
          <ac:grpSpMkLst>
            <pc:docMk/>
            <pc:sldMk cId="3355189510" sldId="312"/>
            <ac:grpSpMk id="147" creationId="{3F8B5B5C-E606-4694-2931-58C443C6631E}"/>
          </ac:grpSpMkLst>
        </pc:grpChg>
        <pc:grpChg chg="del mod">
          <ac:chgData name="Aniket Chhabra" userId="598e0514-bef3-4e71-b6aa-f2edd6441cff" providerId="ADAL" clId="{FFB5BFD2-246A-034F-B635-DE62B5FCF3A6}" dt="2023-05-27T07:41:51.318" v="240"/>
          <ac:grpSpMkLst>
            <pc:docMk/>
            <pc:sldMk cId="3355189510" sldId="312"/>
            <ac:grpSpMk id="159" creationId="{8C73F8EB-2D1B-8D72-0ED2-CDE422B98A57}"/>
          </ac:grpSpMkLst>
        </pc:grpChg>
        <pc:grpChg chg="del mod">
          <ac:chgData name="Aniket Chhabra" userId="598e0514-bef3-4e71-b6aa-f2edd6441cff" providerId="ADAL" clId="{FFB5BFD2-246A-034F-B635-DE62B5FCF3A6}" dt="2023-05-27T07:41:41.795" v="236"/>
          <ac:grpSpMkLst>
            <pc:docMk/>
            <pc:sldMk cId="3355189510" sldId="312"/>
            <ac:grpSpMk id="163" creationId="{C25D2E52-D7D1-8ADA-EAEF-8C5A285970C3}"/>
          </ac:grpSpMkLst>
        </pc:grpChg>
        <pc:grpChg chg="del mod">
          <ac:chgData name="Aniket Chhabra" userId="598e0514-bef3-4e71-b6aa-f2edd6441cff" providerId="ADAL" clId="{FFB5BFD2-246A-034F-B635-DE62B5FCF3A6}" dt="2023-05-27T07:41:41.795" v="236"/>
          <ac:grpSpMkLst>
            <pc:docMk/>
            <pc:sldMk cId="3355189510" sldId="312"/>
            <ac:grpSpMk id="167" creationId="{9AADEBE0-BA14-9B8E-3444-9A14DEAF54A9}"/>
          </ac:grpSpMkLst>
        </pc:grpChg>
        <pc:grpChg chg="del mod">
          <ac:chgData name="Aniket Chhabra" userId="598e0514-bef3-4e71-b6aa-f2edd6441cff" providerId="ADAL" clId="{FFB5BFD2-246A-034F-B635-DE62B5FCF3A6}" dt="2023-05-27T07:39:22.272" v="211"/>
          <ac:grpSpMkLst>
            <pc:docMk/>
            <pc:sldMk cId="3355189510" sldId="312"/>
            <ac:grpSpMk id="173" creationId="{5035A174-9894-E9BC-5A87-F9034F426588}"/>
          </ac:grpSpMkLst>
        </pc:grpChg>
        <pc:grpChg chg="del mod">
          <ac:chgData name="Aniket Chhabra" userId="598e0514-bef3-4e71-b6aa-f2edd6441cff" providerId="ADAL" clId="{FFB5BFD2-246A-034F-B635-DE62B5FCF3A6}" dt="2023-05-27T07:41:41.795" v="236"/>
          <ac:grpSpMkLst>
            <pc:docMk/>
            <pc:sldMk cId="3355189510" sldId="312"/>
            <ac:grpSpMk id="174" creationId="{32F23C1D-2366-5093-1CFC-50EE61604CB0}"/>
          </ac:grpSpMkLst>
        </pc:grpChg>
        <pc:grpChg chg="del mod">
          <ac:chgData name="Aniket Chhabra" userId="598e0514-bef3-4e71-b6aa-f2edd6441cff" providerId="ADAL" clId="{FFB5BFD2-246A-034F-B635-DE62B5FCF3A6}" dt="2023-05-27T07:41:41.795" v="236"/>
          <ac:grpSpMkLst>
            <pc:docMk/>
            <pc:sldMk cId="3355189510" sldId="312"/>
            <ac:grpSpMk id="180" creationId="{B40F9A7B-0E10-A39F-C5AC-ED4488128AD1}"/>
          </ac:grpSpMkLst>
        </pc:grpChg>
        <pc:grpChg chg="del mod">
          <ac:chgData name="Aniket Chhabra" userId="598e0514-bef3-4e71-b6aa-f2edd6441cff" providerId="ADAL" clId="{FFB5BFD2-246A-034F-B635-DE62B5FCF3A6}" dt="2023-05-27T07:41:52.549" v="242"/>
          <ac:grpSpMkLst>
            <pc:docMk/>
            <pc:sldMk cId="3355189510" sldId="312"/>
            <ac:grpSpMk id="191" creationId="{CD4D8066-99CD-6FAB-0F4E-91A62560699A}"/>
          </ac:grpSpMkLst>
        </pc:grpChg>
        <pc:grpChg chg="del mod">
          <ac:chgData name="Aniket Chhabra" userId="598e0514-bef3-4e71-b6aa-f2edd6441cff" providerId="ADAL" clId="{FFB5BFD2-246A-034F-B635-DE62B5FCF3A6}" dt="2023-05-27T07:41:52.549" v="242"/>
          <ac:grpSpMkLst>
            <pc:docMk/>
            <pc:sldMk cId="3355189510" sldId="312"/>
            <ac:grpSpMk id="192" creationId="{92AC6CA3-D089-2AE5-5AA3-07C9DC1D2858}"/>
          </ac:grpSpMkLst>
        </pc:grpChg>
        <pc:grpChg chg="del mod">
          <ac:chgData name="Aniket Chhabra" userId="598e0514-bef3-4e71-b6aa-f2edd6441cff" providerId="ADAL" clId="{FFB5BFD2-246A-034F-B635-DE62B5FCF3A6}" dt="2023-05-27T07:41:00.881" v="234"/>
          <ac:grpSpMkLst>
            <pc:docMk/>
            <pc:sldMk cId="3355189510" sldId="312"/>
            <ac:grpSpMk id="200" creationId="{F6C5F04D-7BAD-786B-9B26-2114BDBCC26B}"/>
          </ac:grpSpMkLst>
        </pc:grpChg>
        <pc:grpChg chg="del mod">
          <ac:chgData name="Aniket Chhabra" userId="598e0514-bef3-4e71-b6aa-f2edd6441cff" providerId="ADAL" clId="{FFB5BFD2-246A-034F-B635-DE62B5FCF3A6}" dt="2023-05-27T07:41:52.549" v="242"/>
          <ac:grpSpMkLst>
            <pc:docMk/>
            <pc:sldMk cId="3355189510" sldId="312"/>
            <ac:grpSpMk id="204" creationId="{401D05CC-D53F-906E-895A-EA917E6D1675}"/>
          </ac:grpSpMkLst>
        </pc:grpChg>
        <pc:grpChg chg="del mod">
          <ac:chgData name="Aniket Chhabra" userId="598e0514-bef3-4e71-b6aa-f2edd6441cff" providerId="ADAL" clId="{FFB5BFD2-246A-034F-B635-DE62B5FCF3A6}" dt="2023-05-27T07:41:50.291" v="238"/>
          <ac:grpSpMkLst>
            <pc:docMk/>
            <pc:sldMk cId="3355189510" sldId="312"/>
            <ac:grpSpMk id="206" creationId="{E99FD9ED-AF11-D8AF-A691-AD8F668A53C4}"/>
          </ac:grpSpMkLst>
        </pc:grpChg>
        <pc:grpChg chg="mod">
          <ac:chgData name="Aniket Chhabra" userId="598e0514-bef3-4e71-b6aa-f2edd6441cff" providerId="ADAL" clId="{FFB5BFD2-246A-034F-B635-DE62B5FCF3A6}" dt="2023-05-27T07:41:50.291" v="238"/>
          <ac:grpSpMkLst>
            <pc:docMk/>
            <pc:sldMk cId="3355189510" sldId="312"/>
            <ac:grpSpMk id="208" creationId="{DC91EC9D-7495-61F1-AD64-895DEE1FD2A9}"/>
          </ac:grpSpMkLst>
        </pc:grpChg>
        <pc:grpChg chg="mod">
          <ac:chgData name="Aniket Chhabra" userId="598e0514-bef3-4e71-b6aa-f2edd6441cff" providerId="ADAL" clId="{FFB5BFD2-246A-034F-B635-DE62B5FCF3A6}" dt="2023-05-27T07:41:51.318" v="240"/>
          <ac:grpSpMkLst>
            <pc:docMk/>
            <pc:sldMk cId="3355189510" sldId="312"/>
            <ac:grpSpMk id="210" creationId="{FF11D07C-7B94-7CD3-F933-5E736E110BD9}"/>
          </ac:grpSpMkLst>
        </pc:grpChg>
        <pc:grpChg chg="mod">
          <ac:chgData name="Aniket Chhabra" userId="598e0514-bef3-4e71-b6aa-f2edd6441cff" providerId="ADAL" clId="{FFB5BFD2-246A-034F-B635-DE62B5FCF3A6}" dt="2023-05-27T07:41:52.549" v="242"/>
          <ac:grpSpMkLst>
            <pc:docMk/>
            <pc:sldMk cId="3355189510" sldId="312"/>
            <ac:grpSpMk id="212" creationId="{076D9035-4264-A4F3-FD2E-C52346171F17}"/>
          </ac:grpSpMkLst>
        </pc:grpChg>
        <pc:inkChg chg="add mod">
          <ac:chgData name="Aniket Chhabra" userId="598e0514-bef3-4e71-b6aa-f2edd6441cff" providerId="ADAL" clId="{FFB5BFD2-246A-034F-B635-DE62B5FCF3A6}" dt="2023-05-27T07:33:54.847" v="64"/>
          <ac:inkMkLst>
            <pc:docMk/>
            <pc:sldMk cId="3355189510" sldId="312"/>
            <ac:inkMk id="4" creationId="{F15E84A1-AA5D-61ED-AA45-5A98952CEFDD}"/>
          </ac:inkMkLst>
        </pc:inkChg>
        <pc:inkChg chg="add mod">
          <ac:chgData name="Aniket Chhabra" userId="598e0514-bef3-4e71-b6aa-f2edd6441cff" providerId="ADAL" clId="{FFB5BFD2-246A-034F-B635-DE62B5FCF3A6}" dt="2023-05-27T07:33:54.847" v="64"/>
          <ac:inkMkLst>
            <pc:docMk/>
            <pc:sldMk cId="3355189510" sldId="312"/>
            <ac:inkMk id="5" creationId="{BE00EE81-7E78-AC16-C75F-233E729C8B12}"/>
          </ac:inkMkLst>
        </pc:inkChg>
        <pc:inkChg chg="add mod">
          <ac:chgData name="Aniket Chhabra" userId="598e0514-bef3-4e71-b6aa-f2edd6441cff" providerId="ADAL" clId="{FFB5BFD2-246A-034F-B635-DE62B5FCF3A6}" dt="2023-05-27T07:33:54.847" v="64"/>
          <ac:inkMkLst>
            <pc:docMk/>
            <pc:sldMk cId="3355189510" sldId="312"/>
            <ac:inkMk id="6" creationId="{1EE5AD7F-8433-88FD-1F1A-0A77CEC03784}"/>
          </ac:inkMkLst>
        </pc:inkChg>
        <pc:inkChg chg="add mod">
          <ac:chgData name="Aniket Chhabra" userId="598e0514-bef3-4e71-b6aa-f2edd6441cff" providerId="ADAL" clId="{FFB5BFD2-246A-034F-B635-DE62B5FCF3A6}" dt="2023-05-27T07:33:54.847" v="64"/>
          <ac:inkMkLst>
            <pc:docMk/>
            <pc:sldMk cId="3355189510" sldId="312"/>
            <ac:inkMk id="7" creationId="{2C5A2BDD-3D47-3105-7351-9D321F6DC36D}"/>
          </ac:inkMkLst>
        </pc:inkChg>
        <pc:inkChg chg="add mod">
          <ac:chgData name="Aniket Chhabra" userId="598e0514-bef3-4e71-b6aa-f2edd6441cff" providerId="ADAL" clId="{FFB5BFD2-246A-034F-B635-DE62B5FCF3A6}" dt="2023-05-27T07:33:54.847" v="64"/>
          <ac:inkMkLst>
            <pc:docMk/>
            <pc:sldMk cId="3355189510" sldId="312"/>
            <ac:inkMk id="8" creationId="{AE89A6D9-5EC6-138C-AB78-96048735CA2C}"/>
          </ac:inkMkLst>
        </pc:inkChg>
        <pc:inkChg chg="add mod">
          <ac:chgData name="Aniket Chhabra" userId="598e0514-bef3-4e71-b6aa-f2edd6441cff" providerId="ADAL" clId="{FFB5BFD2-246A-034F-B635-DE62B5FCF3A6}" dt="2023-05-27T07:33:54.847" v="64"/>
          <ac:inkMkLst>
            <pc:docMk/>
            <pc:sldMk cId="3355189510" sldId="312"/>
            <ac:inkMk id="9" creationId="{528D8049-3BDA-8D43-7099-D4881E04A232}"/>
          </ac:inkMkLst>
        </pc:inkChg>
        <pc:inkChg chg="add mod">
          <ac:chgData name="Aniket Chhabra" userId="598e0514-bef3-4e71-b6aa-f2edd6441cff" providerId="ADAL" clId="{FFB5BFD2-246A-034F-B635-DE62B5FCF3A6}" dt="2023-05-27T07:33:54.847" v="64"/>
          <ac:inkMkLst>
            <pc:docMk/>
            <pc:sldMk cId="3355189510" sldId="312"/>
            <ac:inkMk id="10" creationId="{5009E2A6-EE48-DAAB-878E-C737D31649BF}"/>
          </ac:inkMkLst>
        </pc:inkChg>
        <pc:inkChg chg="add mod">
          <ac:chgData name="Aniket Chhabra" userId="598e0514-bef3-4e71-b6aa-f2edd6441cff" providerId="ADAL" clId="{FFB5BFD2-246A-034F-B635-DE62B5FCF3A6}" dt="2023-05-27T07:33:54.847" v="64"/>
          <ac:inkMkLst>
            <pc:docMk/>
            <pc:sldMk cId="3355189510" sldId="312"/>
            <ac:inkMk id="11" creationId="{E5CE0C4C-EE09-93EE-4A63-770098D644D7}"/>
          </ac:inkMkLst>
        </pc:inkChg>
        <pc:inkChg chg="add mod">
          <ac:chgData name="Aniket Chhabra" userId="598e0514-bef3-4e71-b6aa-f2edd6441cff" providerId="ADAL" clId="{FFB5BFD2-246A-034F-B635-DE62B5FCF3A6}" dt="2023-05-27T07:33:54.847" v="64"/>
          <ac:inkMkLst>
            <pc:docMk/>
            <pc:sldMk cId="3355189510" sldId="312"/>
            <ac:inkMk id="12" creationId="{EDC9192E-30C2-704E-BFC7-2CFC0D0A9D70}"/>
          </ac:inkMkLst>
        </pc:inkChg>
        <pc:inkChg chg="add mod">
          <ac:chgData name="Aniket Chhabra" userId="598e0514-bef3-4e71-b6aa-f2edd6441cff" providerId="ADAL" clId="{FFB5BFD2-246A-034F-B635-DE62B5FCF3A6}" dt="2023-05-27T07:33:54.847" v="64"/>
          <ac:inkMkLst>
            <pc:docMk/>
            <pc:sldMk cId="3355189510" sldId="312"/>
            <ac:inkMk id="13" creationId="{85EC12C7-AC09-B8C2-7BB3-008AD06655C2}"/>
          </ac:inkMkLst>
        </pc:inkChg>
        <pc:inkChg chg="add mod">
          <ac:chgData name="Aniket Chhabra" userId="598e0514-bef3-4e71-b6aa-f2edd6441cff" providerId="ADAL" clId="{FFB5BFD2-246A-034F-B635-DE62B5FCF3A6}" dt="2023-05-27T07:33:54.847" v="64"/>
          <ac:inkMkLst>
            <pc:docMk/>
            <pc:sldMk cId="3355189510" sldId="312"/>
            <ac:inkMk id="14" creationId="{71609810-9B13-240C-9443-1F4A6337B595}"/>
          </ac:inkMkLst>
        </pc:inkChg>
        <pc:inkChg chg="add mod">
          <ac:chgData name="Aniket Chhabra" userId="598e0514-bef3-4e71-b6aa-f2edd6441cff" providerId="ADAL" clId="{FFB5BFD2-246A-034F-B635-DE62B5FCF3A6}" dt="2023-05-27T07:33:54.847" v="64"/>
          <ac:inkMkLst>
            <pc:docMk/>
            <pc:sldMk cId="3355189510" sldId="312"/>
            <ac:inkMk id="15" creationId="{472990DF-D087-9709-9496-40AD1DBD2334}"/>
          </ac:inkMkLst>
        </pc:inkChg>
        <pc:inkChg chg="add mod">
          <ac:chgData name="Aniket Chhabra" userId="598e0514-bef3-4e71-b6aa-f2edd6441cff" providerId="ADAL" clId="{FFB5BFD2-246A-034F-B635-DE62B5FCF3A6}" dt="2023-05-27T07:33:54.847" v="64"/>
          <ac:inkMkLst>
            <pc:docMk/>
            <pc:sldMk cId="3355189510" sldId="312"/>
            <ac:inkMk id="16" creationId="{F3520533-0E34-E482-B7E4-AEEFC1BC949F}"/>
          </ac:inkMkLst>
        </pc:inkChg>
        <pc:inkChg chg="add mod">
          <ac:chgData name="Aniket Chhabra" userId="598e0514-bef3-4e71-b6aa-f2edd6441cff" providerId="ADAL" clId="{FFB5BFD2-246A-034F-B635-DE62B5FCF3A6}" dt="2023-05-27T07:33:54.847" v="64"/>
          <ac:inkMkLst>
            <pc:docMk/>
            <pc:sldMk cId="3355189510" sldId="312"/>
            <ac:inkMk id="17" creationId="{7FBABA54-7542-BE1D-57B5-0A882E5BE697}"/>
          </ac:inkMkLst>
        </pc:inkChg>
        <pc:inkChg chg="add mod">
          <ac:chgData name="Aniket Chhabra" userId="598e0514-bef3-4e71-b6aa-f2edd6441cff" providerId="ADAL" clId="{FFB5BFD2-246A-034F-B635-DE62B5FCF3A6}" dt="2023-05-27T07:33:54.847" v="64"/>
          <ac:inkMkLst>
            <pc:docMk/>
            <pc:sldMk cId="3355189510" sldId="312"/>
            <ac:inkMk id="18" creationId="{8EF0BC68-F75E-6C4F-3EBF-D4EDB555AB11}"/>
          </ac:inkMkLst>
        </pc:inkChg>
        <pc:inkChg chg="add mod">
          <ac:chgData name="Aniket Chhabra" userId="598e0514-bef3-4e71-b6aa-f2edd6441cff" providerId="ADAL" clId="{FFB5BFD2-246A-034F-B635-DE62B5FCF3A6}" dt="2023-05-27T07:33:54.847" v="64"/>
          <ac:inkMkLst>
            <pc:docMk/>
            <pc:sldMk cId="3355189510" sldId="312"/>
            <ac:inkMk id="19" creationId="{46C10627-50C4-448F-B517-73795A1C1D87}"/>
          </ac:inkMkLst>
        </pc:inkChg>
        <pc:inkChg chg="add mod">
          <ac:chgData name="Aniket Chhabra" userId="598e0514-bef3-4e71-b6aa-f2edd6441cff" providerId="ADAL" clId="{FFB5BFD2-246A-034F-B635-DE62B5FCF3A6}" dt="2023-05-27T07:33:54.847" v="64"/>
          <ac:inkMkLst>
            <pc:docMk/>
            <pc:sldMk cId="3355189510" sldId="312"/>
            <ac:inkMk id="20" creationId="{29AB4580-5443-DE54-65A5-B3F9D4A4FFF8}"/>
          </ac:inkMkLst>
        </pc:inkChg>
        <pc:inkChg chg="add mod">
          <ac:chgData name="Aniket Chhabra" userId="598e0514-bef3-4e71-b6aa-f2edd6441cff" providerId="ADAL" clId="{FFB5BFD2-246A-034F-B635-DE62B5FCF3A6}" dt="2023-05-27T07:33:54.847" v="64"/>
          <ac:inkMkLst>
            <pc:docMk/>
            <pc:sldMk cId="3355189510" sldId="312"/>
            <ac:inkMk id="21" creationId="{8F28177F-1310-738B-2B42-607253180D95}"/>
          </ac:inkMkLst>
        </pc:inkChg>
        <pc:inkChg chg="add mod">
          <ac:chgData name="Aniket Chhabra" userId="598e0514-bef3-4e71-b6aa-f2edd6441cff" providerId="ADAL" clId="{FFB5BFD2-246A-034F-B635-DE62B5FCF3A6}" dt="2023-05-27T07:33:54.847" v="64"/>
          <ac:inkMkLst>
            <pc:docMk/>
            <pc:sldMk cId="3355189510" sldId="312"/>
            <ac:inkMk id="22" creationId="{3D200F12-5B38-1D58-DDFB-1970E8AB1A7F}"/>
          </ac:inkMkLst>
        </pc:inkChg>
        <pc:inkChg chg="add mod">
          <ac:chgData name="Aniket Chhabra" userId="598e0514-bef3-4e71-b6aa-f2edd6441cff" providerId="ADAL" clId="{FFB5BFD2-246A-034F-B635-DE62B5FCF3A6}" dt="2023-05-27T07:33:54.847" v="64"/>
          <ac:inkMkLst>
            <pc:docMk/>
            <pc:sldMk cId="3355189510" sldId="312"/>
            <ac:inkMk id="23" creationId="{FEE667CB-602A-B296-4E3B-DDD938F315ED}"/>
          </ac:inkMkLst>
        </pc:inkChg>
        <pc:inkChg chg="add mod">
          <ac:chgData name="Aniket Chhabra" userId="598e0514-bef3-4e71-b6aa-f2edd6441cff" providerId="ADAL" clId="{FFB5BFD2-246A-034F-B635-DE62B5FCF3A6}" dt="2023-05-27T07:33:54.847" v="64"/>
          <ac:inkMkLst>
            <pc:docMk/>
            <pc:sldMk cId="3355189510" sldId="312"/>
            <ac:inkMk id="24" creationId="{B3179291-8C2C-9B2C-641A-7212ABA93523}"/>
          </ac:inkMkLst>
        </pc:inkChg>
        <pc:inkChg chg="add mod">
          <ac:chgData name="Aniket Chhabra" userId="598e0514-bef3-4e71-b6aa-f2edd6441cff" providerId="ADAL" clId="{FFB5BFD2-246A-034F-B635-DE62B5FCF3A6}" dt="2023-05-27T07:33:54.847" v="64"/>
          <ac:inkMkLst>
            <pc:docMk/>
            <pc:sldMk cId="3355189510" sldId="312"/>
            <ac:inkMk id="25" creationId="{494C8E18-693F-5D44-49B6-5C302478E534}"/>
          </ac:inkMkLst>
        </pc:inkChg>
        <pc:inkChg chg="add mod">
          <ac:chgData name="Aniket Chhabra" userId="598e0514-bef3-4e71-b6aa-f2edd6441cff" providerId="ADAL" clId="{FFB5BFD2-246A-034F-B635-DE62B5FCF3A6}" dt="2023-05-27T07:33:54.847" v="64"/>
          <ac:inkMkLst>
            <pc:docMk/>
            <pc:sldMk cId="3355189510" sldId="312"/>
            <ac:inkMk id="26" creationId="{4C4F411D-C71B-0B39-0904-79E0D6889F97}"/>
          </ac:inkMkLst>
        </pc:inkChg>
        <pc:inkChg chg="add mod">
          <ac:chgData name="Aniket Chhabra" userId="598e0514-bef3-4e71-b6aa-f2edd6441cff" providerId="ADAL" clId="{FFB5BFD2-246A-034F-B635-DE62B5FCF3A6}" dt="2023-05-27T07:33:54.847" v="64"/>
          <ac:inkMkLst>
            <pc:docMk/>
            <pc:sldMk cId="3355189510" sldId="312"/>
            <ac:inkMk id="27" creationId="{DE0EA5DE-A958-606E-6E22-C9DE866A4B4C}"/>
          </ac:inkMkLst>
        </pc:inkChg>
        <pc:inkChg chg="add mod">
          <ac:chgData name="Aniket Chhabra" userId="598e0514-bef3-4e71-b6aa-f2edd6441cff" providerId="ADAL" clId="{FFB5BFD2-246A-034F-B635-DE62B5FCF3A6}" dt="2023-05-27T07:33:54.847" v="64"/>
          <ac:inkMkLst>
            <pc:docMk/>
            <pc:sldMk cId="3355189510" sldId="312"/>
            <ac:inkMk id="28" creationId="{BDEDADCE-662C-51F8-6B69-87D4DC5C56E7}"/>
          </ac:inkMkLst>
        </pc:inkChg>
        <pc:inkChg chg="add">
          <ac:chgData name="Aniket Chhabra" userId="598e0514-bef3-4e71-b6aa-f2edd6441cff" providerId="ADAL" clId="{FFB5BFD2-246A-034F-B635-DE62B5FCF3A6}" dt="2023-05-27T07:33:54.248" v="63" actId="9405"/>
          <ac:inkMkLst>
            <pc:docMk/>
            <pc:sldMk cId="3355189510" sldId="312"/>
            <ac:inkMk id="29" creationId="{3154236B-C37A-93A6-3BEE-40CA3A94E78E}"/>
          </ac:inkMkLst>
        </pc:inkChg>
        <pc:inkChg chg="add mod">
          <ac:chgData name="Aniket Chhabra" userId="598e0514-bef3-4e71-b6aa-f2edd6441cff" providerId="ADAL" clId="{FFB5BFD2-246A-034F-B635-DE62B5FCF3A6}" dt="2023-05-27T07:34:03.113" v="81"/>
          <ac:inkMkLst>
            <pc:docMk/>
            <pc:sldMk cId="3355189510" sldId="312"/>
            <ac:inkMk id="31" creationId="{E20A6728-2A0D-3EA2-0741-B795B0B3BDCF}"/>
          </ac:inkMkLst>
        </pc:inkChg>
        <pc:inkChg chg="add mod">
          <ac:chgData name="Aniket Chhabra" userId="598e0514-bef3-4e71-b6aa-f2edd6441cff" providerId="ADAL" clId="{FFB5BFD2-246A-034F-B635-DE62B5FCF3A6}" dt="2023-05-27T07:34:03.113" v="81"/>
          <ac:inkMkLst>
            <pc:docMk/>
            <pc:sldMk cId="3355189510" sldId="312"/>
            <ac:inkMk id="32" creationId="{02C829B2-D3B0-7F82-AE63-772C4F6CAB61}"/>
          </ac:inkMkLst>
        </pc:inkChg>
        <pc:inkChg chg="add mod">
          <ac:chgData name="Aniket Chhabra" userId="598e0514-bef3-4e71-b6aa-f2edd6441cff" providerId="ADAL" clId="{FFB5BFD2-246A-034F-B635-DE62B5FCF3A6}" dt="2023-05-27T07:34:03.113" v="81"/>
          <ac:inkMkLst>
            <pc:docMk/>
            <pc:sldMk cId="3355189510" sldId="312"/>
            <ac:inkMk id="33" creationId="{8841B549-3F16-7F4B-7817-83CA62DCEF32}"/>
          </ac:inkMkLst>
        </pc:inkChg>
        <pc:inkChg chg="add mod">
          <ac:chgData name="Aniket Chhabra" userId="598e0514-bef3-4e71-b6aa-f2edd6441cff" providerId="ADAL" clId="{FFB5BFD2-246A-034F-B635-DE62B5FCF3A6}" dt="2023-05-27T07:34:03.113" v="81"/>
          <ac:inkMkLst>
            <pc:docMk/>
            <pc:sldMk cId="3355189510" sldId="312"/>
            <ac:inkMk id="34" creationId="{0E22F6C4-9CC7-016F-47C2-D85C86C7257E}"/>
          </ac:inkMkLst>
        </pc:inkChg>
        <pc:inkChg chg="add mod">
          <ac:chgData name="Aniket Chhabra" userId="598e0514-bef3-4e71-b6aa-f2edd6441cff" providerId="ADAL" clId="{FFB5BFD2-246A-034F-B635-DE62B5FCF3A6}" dt="2023-05-27T07:34:03.113" v="81"/>
          <ac:inkMkLst>
            <pc:docMk/>
            <pc:sldMk cId="3355189510" sldId="312"/>
            <ac:inkMk id="35" creationId="{C3B6D87F-114D-3F03-7D1C-68C1FEB2D772}"/>
          </ac:inkMkLst>
        </pc:inkChg>
        <pc:inkChg chg="add mod">
          <ac:chgData name="Aniket Chhabra" userId="598e0514-bef3-4e71-b6aa-f2edd6441cff" providerId="ADAL" clId="{FFB5BFD2-246A-034F-B635-DE62B5FCF3A6}" dt="2023-05-27T07:34:03.113" v="81"/>
          <ac:inkMkLst>
            <pc:docMk/>
            <pc:sldMk cId="3355189510" sldId="312"/>
            <ac:inkMk id="36" creationId="{B342340A-CF0D-4275-59D2-E892BDBD3FF1}"/>
          </ac:inkMkLst>
        </pc:inkChg>
        <pc:inkChg chg="add mod">
          <ac:chgData name="Aniket Chhabra" userId="598e0514-bef3-4e71-b6aa-f2edd6441cff" providerId="ADAL" clId="{FFB5BFD2-246A-034F-B635-DE62B5FCF3A6}" dt="2023-05-27T07:34:03.113" v="81"/>
          <ac:inkMkLst>
            <pc:docMk/>
            <pc:sldMk cId="3355189510" sldId="312"/>
            <ac:inkMk id="37" creationId="{3FA0B139-5909-3732-5DE9-8DA3DACFC40D}"/>
          </ac:inkMkLst>
        </pc:inkChg>
        <pc:inkChg chg="add mod">
          <ac:chgData name="Aniket Chhabra" userId="598e0514-bef3-4e71-b6aa-f2edd6441cff" providerId="ADAL" clId="{FFB5BFD2-246A-034F-B635-DE62B5FCF3A6}" dt="2023-05-27T07:34:03.113" v="81"/>
          <ac:inkMkLst>
            <pc:docMk/>
            <pc:sldMk cId="3355189510" sldId="312"/>
            <ac:inkMk id="38" creationId="{84F0AD97-9585-0E55-7458-DDCD061E64DD}"/>
          </ac:inkMkLst>
        </pc:inkChg>
        <pc:inkChg chg="add mod">
          <ac:chgData name="Aniket Chhabra" userId="598e0514-bef3-4e71-b6aa-f2edd6441cff" providerId="ADAL" clId="{FFB5BFD2-246A-034F-B635-DE62B5FCF3A6}" dt="2023-05-27T07:34:03.113" v="81"/>
          <ac:inkMkLst>
            <pc:docMk/>
            <pc:sldMk cId="3355189510" sldId="312"/>
            <ac:inkMk id="39" creationId="{7DAC6B94-66F9-5042-383A-4B1F1FFDEFE5}"/>
          </ac:inkMkLst>
        </pc:inkChg>
        <pc:inkChg chg="add mod">
          <ac:chgData name="Aniket Chhabra" userId="598e0514-bef3-4e71-b6aa-f2edd6441cff" providerId="ADAL" clId="{FFB5BFD2-246A-034F-B635-DE62B5FCF3A6}" dt="2023-05-27T07:34:03.113" v="81"/>
          <ac:inkMkLst>
            <pc:docMk/>
            <pc:sldMk cId="3355189510" sldId="312"/>
            <ac:inkMk id="40" creationId="{159A5B63-A194-BEFA-30BF-C6294BA86A4E}"/>
          </ac:inkMkLst>
        </pc:inkChg>
        <pc:inkChg chg="add mod">
          <ac:chgData name="Aniket Chhabra" userId="598e0514-bef3-4e71-b6aa-f2edd6441cff" providerId="ADAL" clId="{FFB5BFD2-246A-034F-B635-DE62B5FCF3A6}" dt="2023-05-27T07:34:03.113" v="81"/>
          <ac:inkMkLst>
            <pc:docMk/>
            <pc:sldMk cId="3355189510" sldId="312"/>
            <ac:inkMk id="41" creationId="{25FE0733-9CBF-6733-B94F-016D639F6AD3}"/>
          </ac:inkMkLst>
        </pc:inkChg>
        <pc:inkChg chg="add mod">
          <ac:chgData name="Aniket Chhabra" userId="598e0514-bef3-4e71-b6aa-f2edd6441cff" providerId="ADAL" clId="{FFB5BFD2-246A-034F-B635-DE62B5FCF3A6}" dt="2023-05-27T07:34:03.113" v="81"/>
          <ac:inkMkLst>
            <pc:docMk/>
            <pc:sldMk cId="3355189510" sldId="312"/>
            <ac:inkMk id="42" creationId="{0AF7B22D-977D-4053-83E5-7C45CAA15CFA}"/>
          </ac:inkMkLst>
        </pc:inkChg>
        <pc:inkChg chg="add">
          <ac:chgData name="Aniket Chhabra" userId="598e0514-bef3-4e71-b6aa-f2edd6441cff" providerId="ADAL" clId="{FFB5BFD2-246A-034F-B635-DE62B5FCF3A6}" dt="2023-05-27T07:34:01.246" v="77" actId="9405"/>
          <ac:inkMkLst>
            <pc:docMk/>
            <pc:sldMk cId="3355189510" sldId="312"/>
            <ac:inkMk id="43" creationId="{4C209E70-2ACA-D132-8105-F21F25366430}"/>
          </ac:inkMkLst>
        </pc:inkChg>
        <pc:inkChg chg="add">
          <ac:chgData name="Aniket Chhabra" userId="598e0514-bef3-4e71-b6aa-f2edd6441cff" providerId="ADAL" clId="{FFB5BFD2-246A-034F-B635-DE62B5FCF3A6}" dt="2023-05-27T07:34:01.520" v="78" actId="9405"/>
          <ac:inkMkLst>
            <pc:docMk/>
            <pc:sldMk cId="3355189510" sldId="312"/>
            <ac:inkMk id="44" creationId="{6D2F21F3-1998-4780-A711-D56046B55B61}"/>
          </ac:inkMkLst>
        </pc:inkChg>
        <pc:inkChg chg="add mod">
          <ac:chgData name="Aniket Chhabra" userId="598e0514-bef3-4e71-b6aa-f2edd6441cff" providerId="ADAL" clId="{FFB5BFD2-246A-034F-B635-DE62B5FCF3A6}" dt="2023-05-27T07:34:03.113" v="81"/>
          <ac:inkMkLst>
            <pc:docMk/>
            <pc:sldMk cId="3355189510" sldId="312"/>
            <ac:inkMk id="47" creationId="{1E174714-5477-EBF2-445E-DA817FABEDF2}"/>
          </ac:inkMkLst>
        </pc:inkChg>
        <pc:inkChg chg="add mod">
          <ac:chgData name="Aniket Chhabra" userId="598e0514-bef3-4e71-b6aa-f2edd6441cff" providerId="ADAL" clId="{FFB5BFD2-246A-034F-B635-DE62B5FCF3A6}" dt="2023-05-27T07:34:22.931" v="100"/>
          <ac:inkMkLst>
            <pc:docMk/>
            <pc:sldMk cId="3355189510" sldId="312"/>
            <ac:inkMk id="49" creationId="{EA2550FA-0333-3943-90D1-F87C7D48F606}"/>
          </ac:inkMkLst>
        </pc:inkChg>
        <pc:inkChg chg="add mod">
          <ac:chgData name="Aniket Chhabra" userId="598e0514-bef3-4e71-b6aa-f2edd6441cff" providerId="ADAL" clId="{FFB5BFD2-246A-034F-B635-DE62B5FCF3A6}" dt="2023-05-27T07:34:22.931" v="100"/>
          <ac:inkMkLst>
            <pc:docMk/>
            <pc:sldMk cId="3355189510" sldId="312"/>
            <ac:inkMk id="50" creationId="{00B08DAC-2CCB-7234-60C6-21E5A6F7A2CA}"/>
          </ac:inkMkLst>
        </pc:inkChg>
        <pc:inkChg chg="add mod">
          <ac:chgData name="Aniket Chhabra" userId="598e0514-bef3-4e71-b6aa-f2edd6441cff" providerId="ADAL" clId="{FFB5BFD2-246A-034F-B635-DE62B5FCF3A6}" dt="2023-05-27T07:34:22.931" v="100"/>
          <ac:inkMkLst>
            <pc:docMk/>
            <pc:sldMk cId="3355189510" sldId="312"/>
            <ac:inkMk id="51" creationId="{5FE13F48-4A4F-7C21-0BDC-B33C9B37D265}"/>
          </ac:inkMkLst>
        </pc:inkChg>
        <pc:inkChg chg="add mod">
          <ac:chgData name="Aniket Chhabra" userId="598e0514-bef3-4e71-b6aa-f2edd6441cff" providerId="ADAL" clId="{FFB5BFD2-246A-034F-B635-DE62B5FCF3A6}" dt="2023-05-27T07:34:22.931" v="100"/>
          <ac:inkMkLst>
            <pc:docMk/>
            <pc:sldMk cId="3355189510" sldId="312"/>
            <ac:inkMk id="52" creationId="{2450860B-F5E1-1342-08B6-A096F5562992}"/>
          </ac:inkMkLst>
        </pc:inkChg>
        <pc:inkChg chg="add mod">
          <ac:chgData name="Aniket Chhabra" userId="598e0514-bef3-4e71-b6aa-f2edd6441cff" providerId="ADAL" clId="{FFB5BFD2-246A-034F-B635-DE62B5FCF3A6}" dt="2023-05-27T07:34:22.931" v="100"/>
          <ac:inkMkLst>
            <pc:docMk/>
            <pc:sldMk cId="3355189510" sldId="312"/>
            <ac:inkMk id="53" creationId="{89B93366-295B-DFF7-D33F-BDA341495928}"/>
          </ac:inkMkLst>
        </pc:inkChg>
        <pc:inkChg chg="add mod">
          <ac:chgData name="Aniket Chhabra" userId="598e0514-bef3-4e71-b6aa-f2edd6441cff" providerId="ADAL" clId="{FFB5BFD2-246A-034F-B635-DE62B5FCF3A6}" dt="2023-05-27T07:34:22.931" v="100"/>
          <ac:inkMkLst>
            <pc:docMk/>
            <pc:sldMk cId="3355189510" sldId="312"/>
            <ac:inkMk id="54" creationId="{4E40AA85-B315-19A0-B255-F1FE97732D6C}"/>
          </ac:inkMkLst>
        </pc:inkChg>
        <pc:inkChg chg="add mod">
          <ac:chgData name="Aniket Chhabra" userId="598e0514-bef3-4e71-b6aa-f2edd6441cff" providerId="ADAL" clId="{FFB5BFD2-246A-034F-B635-DE62B5FCF3A6}" dt="2023-05-27T07:34:22.931" v="100"/>
          <ac:inkMkLst>
            <pc:docMk/>
            <pc:sldMk cId="3355189510" sldId="312"/>
            <ac:inkMk id="55" creationId="{0BB05078-76F1-5609-17D5-499041BB81A1}"/>
          </ac:inkMkLst>
        </pc:inkChg>
        <pc:inkChg chg="add mod">
          <ac:chgData name="Aniket Chhabra" userId="598e0514-bef3-4e71-b6aa-f2edd6441cff" providerId="ADAL" clId="{FFB5BFD2-246A-034F-B635-DE62B5FCF3A6}" dt="2023-05-27T07:34:22.931" v="100"/>
          <ac:inkMkLst>
            <pc:docMk/>
            <pc:sldMk cId="3355189510" sldId="312"/>
            <ac:inkMk id="56" creationId="{CBA94605-3B40-1D89-3B3F-8134AD7A49A7}"/>
          </ac:inkMkLst>
        </pc:inkChg>
        <pc:inkChg chg="add mod">
          <ac:chgData name="Aniket Chhabra" userId="598e0514-bef3-4e71-b6aa-f2edd6441cff" providerId="ADAL" clId="{FFB5BFD2-246A-034F-B635-DE62B5FCF3A6}" dt="2023-05-27T07:34:22.931" v="100"/>
          <ac:inkMkLst>
            <pc:docMk/>
            <pc:sldMk cId="3355189510" sldId="312"/>
            <ac:inkMk id="57" creationId="{604F7D23-ECCA-75E3-3D7F-2AD4F36ADA88}"/>
          </ac:inkMkLst>
        </pc:inkChg>
        <pc:inkChg chg="add mod">
          <ac:chgData name="Aniket Chhabra" userId="598e0514-bef3-4e71-b6aa-f2edd6441cff" providerId="ADAL" clId="{FFB5BFD2-246A-034F-B635-DE62B5FCF3A6}" dt="2023-05-27T07:34:22.931" v="100"/>
          <ac:inkMkLst>
            <pc:docMk/>
            <pc:sldMk cId="3355189510" sldId="312"/>
            <ac:inkMk id="58" creationId="{74C2D6C0-355B-AD6D-FB9E-93F48F76A2C1}"/>
          </ac:inkMkLst>
        </pc:inkChg>
        <pc:inkChg chg="add mod">
          <ac:chgData name="Aniket Chhabra" userId="598e0514-bef3-4e71-b6aa-f2edd6441cff" providerId="ADAL" clId="{FFB5BFD2-246A-034F-B635-DE62B5FCF3A6}" dt="2023-05-27T07:34:22.931" v="100"/>
          <ac:inkMkLst>
            <pc:docMk/>
            <pc:sldMk cId="3355189510" sldId="312"/>
            <ac:inkMk id="59" creationId="{A834BE6E-B42D-5494-B4A3-05AA82DE6F41}"/>
          </ac:inkMkLst>
        </pc:inkChg>
        <pc:inkChg chg="add mod">
          <ac:chgData name="Aniket Chhabra" userId="598e0514-bef3-4e71-b6aa-f2edd6441cff" providerId="ADAL" clId="{FFB5BFD2-246A-034F-B635-DE62B5FCF3A6}" dt="2023-05-27T07:34:22.931" v="100"/>
          <ac:inkMkLst>
            <pc:docMk/>
            <pc:sldMk cId="3355189510" sldId="312"/>
            <ac:inkMk id="60" creationId="{A19767DC-D958-34BC-60D4-FA7DCA4FDC25}"/>
          </ac:inkMkLst>
        </pc:inkChg>
        <pc:inkChg chg="add mod">
          <ac:chgData name="Aniket Chhabra" userId="598e0514-bef3-4e71-b6aa-f2edd6441cff" providerId="ADAL" clId="{FFB5BFD2-246A-034F-B635-DE62B5FCF3A6}" dt="2023-05-27T07:34:22.931" v="100"/>
          <ac:inkMkLst>
            <pc:docMk/>
            <pc:sldMk cId="3355189510" sldId="312"/>
            <ac:inkMk id="61" creationId="{267E4C03-24A7-2887-5A07-85442F69F19A}"/>
          </ac:inkMkLst>
        </pc:inkChg>
        <pc:inkChg chg="add mod">
          <ac:chgData name="Aniket Chhabra" userId="598e0514-bef3-4e71-b6aa-f2edd6441cff" providerId="ADAL" clId="{FFB5BFD2-246A-034F-B635-DE62B5FCF3A6}" dt="2023-05-27T07:34:22.931" v="100"/>
          <ac:inkMkLst>
            <pc:docMk/>
            <pc:sldMk cId="3355189510" sldId="312"/>
            <ac:inkMk id="62" creationId="{2E30CA39-1E0F-C7F4-AF4B-27A7CBB861B2}"/>
          </ac:inkMkLst>
        </pc:inkChg>
        <pc:inkChg chg="add mod">
          <ac:chgData name="Aniket Chhabra" userId="598e0514-bef3-4e71-b6aa-f2edd6441cff" providerId="ADAL" clId="{FFB5BFD2-246A-034F-B635-DE62B5FCF3A6}" dt="2023-05-27T07:34:22.931" v="100"/>
          <ac:inkMkLst>
            <pc:docMk/>
            <pc:sldMk cId="3355189510" sldId="312"/>
            <ac:inkMk id="63" creationId="{BF2E049A-4E9D-8519-844B-4F9694D74487}"/>
          </ac:inkMkLst>
        </pc:inkChg>
        <pc:inkChg chg="add mod">
          <ac:chgData name="Aniket Chhabra" userId="598e0514-bef3-4e71-b6aa-f2edd6441cff" providerId="ADAL" clId="{FFB5BFD2-246A-034F-B635-DE62B5FCF3A6}" dt="2023-05-27T07:34:22.931" v="100"/>
          <ac:inkMkLst>
            <pc:docMk/>
            <pc:sldMk cId="3355189510" sldId="312"/>
            <ac:inkMk id="64" creationId="{43C98C5B-00B6-4943-5332-90B509FD4D5D}"/>
          </ac:inkMkLst>
        </pc:inkChg>
        <pc:inkChg chg="add mod">
          <ac:chgData name="Aniket Chhabra" userId="598e0514-bef3-4e71-b6aa-f2edd6441cff" providerId="ADAL" clId="{FFB5BFD2-246A-034F-B635-DE62B5FCF3A6}" dt="2023-05-27T07:34:22.931" v="100"/>
          <ac:inkMkLst>
            <pc:docMk/>
            <pc:sldMk cId="3355189510" sldId="312"/>
            <ac:inkMk id="65" creationId="{5A8B9548-76B5-A0B9-ABD5-6C6EFECDF348}"/>
          </ac:inkMkLst>
        </pc:inkChg>
        <pc:inkChg chg="add mod">
          <ac:chgData name="Aniket Chhabra" userId="598e0514-bef3-4e71-b6aa-f2edd6441cff" providerId="ADAL" clId="{FFB5BFD2-246A-034F-B635-DE62B5FCF3A6}" dt="2023-05-27T07:34:22.931" v="100"/>
          <ac:inkMkLst>
            <pc:docMk/>
            <pc:sldMk cId="3355189510" sldId="312"/>
            <ac:inkMk id="66" creationId="{B5B04DC0-A015-6B88-44B3-148C40AD6BDC}"/>
          </ac:inkMkLst>
        </pc:inkChg>
        <pc:inkChg chg="add">
          <ac:chgData name="Aniket Chhabra" userId="598e0514-bef3-4e71-b6aa-f2edd6441cff" providerId="ADAL" clId="{FFB5BFD2-246A-034F-B635-DE62B5FCF3A6}" dt="2023-05-27T07:34:23.741" v="101" actId="9405"/>
          <ac:inkMkLst>
            <pc:docMk/>
            <pc:sldMk cId="3355189510" sldId="312"/>
            <ac:inkMk id="69" creationId="{FBFB861E-D950-79B0-70F7-321FD3797D65}"/>
          </ac:inkMkLst>
        </pc:inkChg>
        <pc:inkChg chg="add">
          <ac:chgData name="Aniket Chhabra" userId="598e0514-bef3-4e71-b6aa-f2edd6441cff" providerId="ADAL" clId="{FFB5BFD2-246A-034F-B635-DE62B5FCF3A6}" dt="2023-05-27T07:34:24.154" v="102" actId="9405"/>
          <ac:inkMkLst>
            <pc:docMk/>
            <pc:sldMk cId="3355189510" sldId="312"/>
            <ac:inkMk id="70" creationId="{921FF4C0-59EC-5BB8-3FD2-8FD903B6D758}"/>
          </ac:inkMkLst>
        </pc:inkChg>
        <pc:inkChg chg="add mod">
          <ac:chgData name="Aniket Chhabra" userId="598e0514-bef3-4e71-b6aa-f2edd6441cff" providerId="ADAL" clId="{FFB5BFD2-246A-034F-B635-DE62B5FCF3A6}" dt="2023-05-27T07:41:50.291" v="238"/>
          <ac:inkMkLst>
            <pc:docMk/>
            <pc:sldMk cId="3355189510" sldId="312"/>
            <ac:inkMk id="71" creationId="{09E16A76-DD40-12D9-FEE9-095CEC2D88A3}"/>
          </ac:inkMkLst>
        </pc:inkChg>
        <pc:inkChg chg="add mod">
          <ac:chgData name="Aniket Chhabra" userId="598e0514-bef3-4e71-b6aa-f2edd6441cff" providerId="ADAL" clId="{FFB5BFD2-246A-034F-B635-DE62B5FCF3A6}" dt="2023-05-27T07:41:50.291" v="238"/>
          <ac:inkMkLst>
            <pc:docMk/>
            <pc:sldMk cId="3355189510" sldId="312"/>
            <ac:inkMk id="72" creationId="{B4E44356-9C41-76AE-C367-CF2D7A4EBAC5}"/>
          </ac:inkMkLst>
        </pc:inkChg>
        <pc:inkChg chg="add mod">
          <ac:chgData name="Aniket Chhabra" userId="598e0514-bef3-4e71-b6aa-f2edd6441cff" providerId="ADAL" clId="{FFB5BFD2-246A-034F-B635-DE62B5FCF3A6}" dt="2023-05-27T07:41:50.291" v="238"/>
          <ac:inkMkLst>
            <pc:docMk/>
            <pc:sldMk cId="3355189510" sldId="312"/>
            <ac:inkMk id="73" creationId="{7771D7BF-677C-0515-4F45-2B851472295F}"/>
          </ac:inkMkLst>
        </pc:inkChg>
        <pc:inkChg chg="add mod">
          <ac:chgData name="Aniket Chhabra" userId="598e0514-bef3-4e71-b6aa-f2edd6441cff" providerId="ADAL" clId="{FFB5BFD2-246A-034F-B635-DE62B5FCF3A6}" dt="2023-05-27T07:41:50.291" v="238"/>
          <ac:inkMkLst>
            <pc:docMk/>
            <pc:sldMk cId="3355189510" sldId="312"/>
            <ac:inkMk id="74" creationId="{467706C1-91B5-24C2-333D-B0AC2906DBE5}"/>
          </ac:inkMkLst>
        </pc:inkChg>
        <pc:inkChg chg="add mod">
          <ac:chgData name="Aniket Chhabra" userId="598e0514-bef3-4e71-b6aa-f2edd6441cff" providerId="ADAL" clId="{FFB5BFD2-246A-034F-B635-DE62B5FCF3A6}" dt="2023-05-27T07:41:50.291" v="238"/>
          <ac:inkMkLst>
            <pc:docMk/>
            <pc:sldMk cId="3355189510" sldId="312"/>
            <ac:inkMk id="75" creationId="{B9B744FD-B6EF-26B1-E9EA-FE7CA8B43919}"/>
          </ac:inkMkLst>
        </pc:inkChg>
        <pc:inkChg chg="add mod">
          <ac:chgData name="Aniket Chhabra" userId="598e0514-bef3-4e71-b6aa-f2edd6441cff" providerId="ADAL" clId="{FFB5BFD2-246A-034F-B635-DE62B5FCF3A6}" dt="2023-05-27T07:41:50.291" v="238"/>
          <ac:inkMkLst>
            <pc:docMk/>
            <pc:sldMk cId="3355189510" sldId="312"/>
            <ac:inkMk id="77" creationId="{A00D96B4-A9DB-4F46-FE98-7AE8A3FCF706}"/>
          </ac:inkMkLst>
        </pc:inkChg>
        <pc:inkChg chg="add mod">
          <ac:chgData name="Aniket Chhabra" userId="598e0514-bef3-4e71-b6aa-f2edd6441cff" providerId="ADAL" clId="{FFB5BFD2-246A-034F-B635-DE62B5FCF3A6}" dt="2023-05-27T07:41:50.291" v="238"/>
          <ac:inkMkLst>
            <pc:docMk/>
            <pc:sldMk cId="3355189510" sldId="312"/>
            <ac:inkMk id="78" creationId="{F79931CC-77DB-24A4-E8FE-4FE23C602E71}"/>
          </ac:inkMkLst>
        </pc:inkChg>
        <pc:inkChg chg="add mod">
          <ac:chgData name="Aniket Chhabra" userId="598e0514-bef3-4e71-b6aa-f2edd6441cff" providerId="ADAL" clId="{FFB5BFD2-246A-034F-B635-DE62B5FCF3A6}" dt="2023-05-27T07:41:50.291" v="238"/>
          <ac:inkMkLst>
            <pc:docMk/>
            <pc:sldMk cId="3355189510" sldId="312"/>
            <ac:inkMk id="79" creationId="{E0E3B4F6-03C1-B8CD-26D4-F159138D7CAF}"/>
          </ac:inkMkLst>
        </pc:inkChg>
        <pc:inkChg chg="add mod">
          <ac:chgData name="Aniket Chhabra" userId="598e0514-bef3-4e71-b6aa-f2edd6441cff" providerId="ADAL" clId="{FFB5BFD2-246A-034F-B635-DE62B5FCF3A6}" dt="2023-05-27T07:41:50.291" v="238"/>
          <ac:inkMkLst>
            <pc:docMk/>
            <pc:sldMk cId="3355189510" sldId="312"/>
            <ac:inkMk id="80" creationId="{7391873C-ECFE-28CC-51C9-B75F6AF03154}"/>
          </ac:inkMkLst>
        </pc:inkChg>
        <pc:inkChg chg="add mod">
          <ac:chgData name="Aniket Chhabra" userId="598e0514-bef3-4e71-b6aa-f2edd6441cff" providerId="ADAL" clId="{FFB5BFD2-246A-034F-B635-DE62B5FCF3A6}" dt="2023-05-27T07:41:50.291" v="238"/>
          <ac:inkMkLst>
            <pc:docMk/>
            <pc:sldMk cId="3355189510" sldId="312"/>
            <ac:inkMk id="81" creationId="{9C57B754-62F6-42A7-E0E5-1C62977A2BC4}"/>
          </ac:inkMkLst>
        </pc:inkChg>
        <pc:inkChg chg="add mod">
          <ac:chgData name="Aniket Chhabra" userId="598e0514-bef3-4e71-b6aa-f2edd6441cff" providerId="ADAL" clId="{FFB5BFD2-246A-034F-B635-DE62B5FCF3A6}" dt="2023-05-27T07:41:50.291" v="238"/>
          <ac:inkMkLst>
            <pc:docMk/>
            <pc:sldMk cId="3355189510" sldId="312"/>
            <ac:inkMk id="83" creationId="{A4C37D95-87B5-F9FA-0E50-C1709BFAC188}"/>
          </ac:inkMkLst>
        </pc:inkChg>
        <pc:inkChg chg="add mod">
          <ac:chgData name="Aniket Chhabra" userId="598e0514-bef3-4e71-b6aa-f2edd6441cff" providerId="ADAL" clId="{FFB5BFD2-246A-034F-B635-DE62B5FCF3A6}" dt="2023-05-27T07:41:50.291" v="238"/>
          <ac:inkMkLst>
            <pc:docMk/>
            <pc:sldMk cId="3355189510" sldId="312"/>
            <ac:inkMk id="84" creationId="{A5F2B90A-EA8B-BBBE-F1A4-3576655012E4}"/>
          </ac:inkMkLst>
        </pc:inkChg>
        <pc:inkChg chg="add mod">
          <ac:chgData name="Aniket Chhabra" userId="598e0514-bef3-4e71-b6aa-f2edd6441cff" providerId="ADAL" clId="{FFB5BFD2-246A-034F-B635-DE62B5FCF3A6}" dt="2023-05-27T07:41:50.291" v="238"/>
          <ac:inkMkLst>
            <pc:docMk/>
            <pc:sldMk cId="3355189510" sldId="312"/>
            <ac:inkMk id="85" creationId="{0BFBA805-D7D2-FFC7-65B2-F8D6107E06D7}"/>
          </ac:inkMkLst>
        </pc:inkChg>
        <pc:inkChg chg="add mod">
          <ac:chgData name="Aniket Chhabra" userId="598e0514-bef3-4e71-b6aa-f2edd6441cff" providerId="ADAL" clId="{FFB5BFD2-246A-034F-B635-DE62B5FCF3A6}" dt="2023-05-27T07:41:50.291" v="238"/>
          <ac:inkMkLst>
            <pc:docMk/>
            <pc:sldMk cId="3355189510" sldId="312"/>
            <ac:inkMk id="86" creationId="{6FCDBDF2-E630-873C-87FF-45B6955BA97A}"/>
          </ac:inkMkLst>
        </pc:inkChg>
        <pc:inkChg chg="add mod">
          <ac:chgData name="Aniket Chhabra" userId="598e0514-bef3-4e71-b6aa-f2edd6441cff" providerId="ADAL" clId="{FFB5BFD2-246A-034F-B635-DE62B5FCF3A6}" dt="2023-05-27T07:41:50.291" v="238"/>
          <ac:inkMkLst>
            <pc:docMk/>
            <pc:sldMk cId="3355189510" sldId="312"/>
            <ac:inkMk id="87" creationId="{77D894F6-BBD8-A12C-EB00-BB904FCD180F}"/>
          </ac:inkMkLst>
        </pc:inkChg>
        <pc:inkChg chg="add mod">
          <ac:chgData name="Aniket Chhabra" userId="598e0514-bef3-4e71-b6aa-f2edd6441cff" providerId="ADAL" clId="{FFB5BFD2-246A-034F-B635-DE62B5FCF3A6}" dt="2023-05-27T07:41:50.291" v="238"/>
          <ac:inkMkLst>
            <pc:docMk/>
            <pc:sldMk cId="3355189510" sldId="312"/>
            <ac:inkMk id="88" creationId="{1C1952F3-7116-C955-6DFC-0FCB07EBED5D}"/>
          </ac:inkMkLst>
        </pc:inkChg>
        <pc:inkChg chg="add mod">
          <ac:chgData name="Aniket Chhabra" userId="598e0514-bef3-4e71-b6aa-f2edd6441cff" providerId="ADAL" clId="{FFB5BFD2-246A-034F-B635-DE62B5FCF3A6}" dt="2023-05-27T07:41:50.291" v="238"/>
          <ac:inkMkLst>
            <pc:docMk/>
            <pc:sldMk cId="3355189510" sldId="312"/>
            <ac:inkMk id="89" creationId="{0A242032-0BDC-48E1-AC70-4FFA9890976A}"/>
          </ac:inkMkLst>
        </pc:inkChg>
        <pc:inkChg chg="add mod">
          <ac:chgData name="Aniket Chhabra" userId="598e0514-bef3-4e71-b6aa-f2edd6441cff" providerId="ADAL" clId="{FFB5BFD2-246A-034F-B635-DE62B5FCF3A6}" dt="2023-05-27T07:41:50.291" v="238"/>
          <ac:inkMkLst>
            <pc:docMk/>
            <pc:sldMk cId="3355189510" sldId="312"/>
            <ac:inkMk id="90" creationId="{6A15FC10-62A6-9D13-0F31-E1EA9C5299A1}"/>
          </ac:inkMkLst>
        </pc:inkChg>
        <pc:inkChg chg="add mod">
          <ac:chgData name="Aniket Chhabra" userId="598e0514-bef3-4e71-b6aa-f2edd6441cff" providerId="ADAL" clId="{FFB5BFD2-246A-034F-B635-DE62B5FCF3A6}" dt="2023-05-27T07:41:50.291" v="238"/>
          <ac:inkMkLst>
            <pc:docMk/>
            <pc:sldMk cId="3355189510" sldId="312"/>
            <ac:inkMk id="91" creationId="{600FFB22-82B4-9C3C-56C0-A2FF47E1D369}"/>
          </ac:inkMkLst>
        </pc:inkChg>
        <pc:inkChg chg="add mod">
          <ac:chgData name="Aniket Chhabra" userId="598e0514-bef3-4e71-b6aa-f2edd6441cff" providerId="ADAL" clId="{FFB5BFD2-246A-034F-B635-DE62B5FCF3A6}" dt="2023-05-27T07:41:50.291" v="238"/>
          <ac:inkMkLst>
            <pc:docMk/>
            <pc:sldMk cId="3355189510" sldId="312"/>
            <ac:inkMk id="92" creationId="{2188BBAA-0541-2D58-DEA4-2291FF3D1899}"/>
          </ac:inkMkLst>
        </pc:inkChg>
        <pc:inkChg chg="add mod">
          <ac:chgData name="Aniket Chhabra" userId="598e0514-bef3-4e71-b6aa-f2edd6441cff" providerId="ADAL" clId="{FFB5BFD2-246A-034F-B635-DE62B5FCF3A6}" dt="2023-05-27T07:41:50.291" v="238"/>
          <ac:inkMkLst>
            <pc:docMk/>
            <pc:sldMk cId="3355189510" sldId="312"/>
            <ac:inkMk id="93" creationId="{47532631-1F4D-33FC-BCD4-014CD61AC0CB}"/>
          </ac:inkMkLst>
        </pc:inkChg>
        <pc:inkChg chg="add mod">
          <ac:chgData name="Aniket Chhabra" userId="598e0514-bef3-4e71-b6aa-f2edd6441cff" providerId="ADAL" clId="{FFB5BFD2-246A-034F-B635-DE62B5FCF3A6}" dt="2023-05-27T07:41:50.291" v="238"/>
          <ac:inkMkLst>
            <pc:docMk/>
            <pc:sldMk cId="3355189510" sldId="312"/>
            <ac:inkMk id="94" creationId="{C59DD68A-0BA9-8F22-2E42-16D9C9B5D738}"/>
          </ac:inkMkLst>
        </pc:inkChg>
        <pc:inkChg chg="add mod">
          <ac:chgData name="Aniket Chhabra" userId="598e0514-bef3-4e71-b6aa-f2edd6441cff" providerId="ADAL" clId="{FFB5BFD2-246A-034F-B635-DE62B5FCF3A6}" dt="2023-05-27T07:41:50.291" v="238"/>
          <ac:inkMkLst>
            <pc:docMk/>
            <pc:sldMk cId="3355189510" sldId="312"/>
            <ac:inkMk id="95" creationId="{54893203-8B2E-FCF1-BCC2-BC34495114CC}"/>
          </ac:inkMkLst>
        </pc:inkChg>
        <pc:inkChg chg="add mod">
          <ac:chgData name="Aniket Chhabra" userId="598e0514-bef3-4e71-b6aa-f2edd6441cff" providerId="ADAL" clId="{FFB5BFD2-246A-034F-B635-DE62B5FCF3A6}" dt="2023-05-27T07:41:50.291" v="238"/>
          <ac:inkMkLst>
            <pc:docMk/>
            <pc:sldMk cId="3355189510" sldId="312"/>
            <ac:inkMk id="98" creationId="{4E1689E6-A7CE-7D3C-6AF4-1616D6725089}"/>
          </ac:inkMkLst>
        </pc:inkChg>
        <pc:inkChg chg="add mod">
          <ac:chgData name="Aniket Chhabra" userId="598e0514-bef3-4e71-b6aa-f2edd6441cff" providerId="ADAL" clId="{FFB5BFD2-246A-034F-B635-DE62B5FCF3A6}" dt="2023-05-27T07:41:50.291" v="238"/>
          <ac:inkMkLst>
            <pc:docMk/>
            <pc:sldMk cId="3355189510" sldId="312"/>
            <ac:inkMk id="99" creationId="{22730178-AF29-04F9-1BC9-BA2DC3215492}"/>
          </ac:inkMkLst>
        </pc:inkChg>
        <pc:inkChg chg="add mod">
          <ac:chgData name="Aniket Chhabra" userId="598e0514-bef3-4e71-b6aa-f2edd6441cff" providerId="ADAL" clId="{FFB5BFD2-246A-034F-B635-DE62B5FCF3A6}" dt="2023-05-27T07:41:50.291" v="238"/>
          <ac:inkMkLst>
            <pc:docMk/>
            <pc:sldMk cId="3355189510" sldId="312"/>
            <ac:inkMk id="100" creationId="{888E18AA-C8E6-1F22-0A59-31120A1B736F}"/>
          </ac:inkMkLst>
        </pc:inkChg>
        <pc:inkChg chg="add mod">
          <ac:chgData name="Aniket Chhabra" userId="598e0514-bef3-4e71-b6aa-f2edd6441cff" providerId="ADAL" clId="{FFB5BFD2-246A-034F-B635-DE62B5FCF3A6}" dt="2023-05-27T07:41:50.291" v="238"/>
          <ac:inkMkLst>
            <pc:docMk/>
            <pc:sldMk cId="3355189510" sldId="312"/>
            <ac:inkMk id="101" creationId="{A9DAB948-B8D9-5C42-C981-D0160916C8F0}"/>
          </ac:inkMkLst>
        </pc:inkChg>
        <pc:inkChg chg="add mod">
          <ac:chgData name="Aniket Chhabra" userId="598e0514-bef3-4e71-b6aa-f2edd6441cff" providerId="ADAL" clId="{FFB5BFD2-246A-034F-B635-DE62B5FCF3A6}" dt="2023-05-27T07:41:50.291" v="238"/>
          <ac:inkMkLst>
            <pc:docMk/>
            <pc:sldMk cId="3355189510" sldId="312"/>
            <ac:inkMk id="102" creationId="{56B941CA-3151-597D-E2B5-F701F8E78EC9}"/>
          </ac:inkMkLst>
        </pc:inkChg>
        <pc:inkChg chg="add mod">
          <ac:chgData name="Aniket Chhabra" userId="598e0514-bef3-4e71-b6aa-f2edd6441cff" providerId="ADAL" clId="{FFB5BFD2-246A-034F-B635-DE62B5FCF3A6}" dt="2023-05-27T07:41:50.291" v="238"/>
          <ac:inkMkLst>
            <pc:docMk/>
            <pc:sldMk cId="3355189510" sldId="312"/>
            <ac:inkMk id="103" creationId="{BB0D6E02-BF93-4A96-80A6-A164D9D0D27A}"/>
          </ac:inkMkLst>
        </pc:inkChg>
        <pc:inkChg chg="add mod">
          <ac:chgData name="Aniket Chhabra" userId="598e0514-bef3-4e71-b6aa-f2edd6441cff" providerId="ADAL" clId="{FFB5BFD2-246A-034F-B635-DE62B5FCF3A6}" dt="2023-05-27T07:41:50.291" v="238"/>
          <ac:inkMkLst>
            <pc:docMk/>
            <pc:sldMk cId="3355189510" sldId="312"/>
            <ac:inkMk id="104" creationId="{16F51EAE-359B-0943-8222-BAF7B6907B84}"/>
          </ac:inkMkLst>
        </pc:inkChg>
        <pc:inkChg chg="add mod">
          <ac:chgData name="Aniket Chhabra" userId="598e0514-bef3-4e71-b6aa-f2edd6441cff" providerId="ADAL" clId="{FFB5BFD2-246A-034F-B635-DE62B5FCF3A6}" dt="2023-05-27T07:41:50.291" v="238"/>
          <ac:inkMkLst>
            <pc:docMk/>
            <pc:sldMk cId="3355189510" sldId="312"/>
            <ac:inkMk id="105" creationId="{7901C883-24EE-09C0-1D93-D4D4DD365585}"/>
          </ac:inkMkLst>
        </pc:inkChg>
        <pc:inkChg chg="add mod">
          <ac:chgData name="Aniket Chhabra" userId="598e0514-bef3-4e71-b6aa-f2edd6441cff" providerId="ADAL" clId="{FFB5BFD2-246A-034F-B635-DE62B5FCF3A6}" dt="2023-05-27T07:41:50.291" v="238"/>
          <ac:inkMkLst>
            <pc:docMk/>
            <pc:sldMk cId="3355189510" sldId="312"/>
            <ac:inkMk id="106" creationId="{A1E8813A-724F-0315-5EAE-76811559D5AE}"/>
          </ac:inkMkLst>
        </pc:inkChg>
        <pc:inkChg chg="add mod">
          <ac:chgData name="Aniket Chhabra" userId="598e0514-bef3-4e71-b6aa-f2edd6441cff" providerId="ADAL" clId="{FFB5BFD2-246A-034F-B635-DE62B5FCF3A6}" dt="2023-05-27T07:41:50.291" v="238"/>
          <ac:inkMkLst>
            <pc:docMk/>
            <pc:sldMk cId="3355189510" sldId="312"/>
            <ac:inkMk id="107" creationId="{912E4180-9633-B1A4-4CF5-72DBAE04EAAC}"/>
          </ac:inkMkLst>
        </pc:inkChg>
        <pc:inkChg chg="add mod">
          <ac:chgData name="Aniket Chhabra" userId="598e0514-bef3-4e71-b6aa-f2edd6441cff" providerId="ADAL" clId="{FFB5BFD2-246A-034F-B635-DE62B5FCF3A6}" dt="2023-05-27T07:41:50.291" v="238"/>
          <ac:inkMkLst>
            <pc:docMk/>
            <pc:sldMk cId="3355189510" sldId="312"/>
            <ac:inkMk id="108" creationId="{CA6B118C-0A85-DF93-6519-85C3E133A2E9}"/>
          </ac:inkMkLst>
        </pc:inkChg>
        <pc:inkChg chg="add mod">
          <ac:chgData name="Aniket Chhabra" userId="598e0514-bef3-4e71-b6aa-f2edd6441cff" providerId="ADAL" clId="{FFB5BFD2-246A-034F-B635-DE62B5FCF3A6}" dt="2023-05-27T07:41:50.291" v="238"/>
          <ac:inkMkLst>
            <pc:docMk/>
            <pc:sldMk cId="3355189510" sldId="312"/>
            <ac:inkMk id="109" creationId="{475EE738-1A55-21C8-7FC6-31979492CEBC}"/>
          </ac:inkMkLst>
        </pc:inkChg>
        <pc:inkChg chg="add mod">
          <ac:chgData name="Aniket Chhabra" userId="598e0514-bef3-4e71-b6aa-f2edd6441cff" providerId="ADAL" clId="{FFB5BFD2-246A-034F-B635-DE62B5FCF3A6}" dt="2023-05-27T07:41:50.291" v="238"/>
          <ac:inkMkLst>
            <pc:docMk/>
            <pc:sldMk cId="3355189510" sldId="312"/>
            <ac:inkMk id="110" creationId="{19C9D4E1-4A6D-736B-CA57-A02210042F28}"/>
          </ac:inkMkLst>
        </pc:inkChg>
        <pc:inkChg chg="add mod">
          <ac:chgData name="Aniket Chhabra" userId="598e0514-bef3-4e71-b6aa-f2edd6441cff" providerId="ADAL" clId="{FFB5BFD2-246A-034F-B635-DE62B5FCF3A6}" dt="2023-05-27T07:41:50.291" v="238"/>
          <ac:inkMkLst>
            <pc:docMk/>
            <pc:sldMk cId="3355189510" sldId="312"/>
            <ac:inkMk id="111" creationId="{AE00147C-EAB8-ABF8-04B7-08C316FE99CF}"/>
          </ac:inkMkLst>
        </pc:inkChg>
        <pc:inkChg chg="add mod">
          <ac:chgData name="Aniket Chhabra" userId="598e0514-bef3-4e71-b6aa-f2edd6441cff" providerId="ADAL" clId="{FFB5BFD2-246A-034F-B635-DE62B5FCF3A6}" dt="2023-05-27T07:41:50.291" v="238"/>
          <ac:inkMkLst>
            <pc:docMk/>
            <pc:sldMk cId="3355189510" sldId="312"/>
            <ac:inkMk id="112" creationId="{CC87C630-CAC4-8149-1087-6193BFADC8AA}"/>
          </ac:inkMkLst>
        </pc:inkChg>
        <pc:inkChg chg="add mod">
          <ac:chgData name="Aniket Chhabra" userId="598e0514-bef3-4e71-b6aa-f2edd6441cff" providerId="ADAL" clId="{FFB5BFD2-246A-034F-B635-DE62B5FCF3A6}" dt="2023-05-27T07:41:50.291" v="238"/>
          <ac:inkMkLst>
            <pc:docMk/>
            <pc:sldMk cId="3355189510" sldId="312"/>
            <ac:inkMk id="115" creationId="{F70714AB-886A-2E1B-7A23-29B840903C7E}"/>
          </ac:inkMkLst>
        </pc:inkChg>
        <pc:inkChg chg="add mod">
          <ac:chgData name="Aniket Chhabra" userId="598e0514-bef3-4e71-b6aa-f2edd6441cff" providerId="ADAL" clId="{FFB5BFD2-246A-034F-B635-DE62B5FCF3A6}" dt="2023-05-27T07:41:50.291" v="238"/>
          <ac:inkMkLst>
            <pc:docMk/>
            <pc:sldMk cId="3355189510" sldId="312"/>
            <ac:inkMk id="116" creationId="{CB8AFD28-3E26-907F-B8CE-78E3591AA258}"/>
          </ac:inkMkLst>
        </pc:inkChg>
        <pc:inkChg chg="add mod">
          <ac:chgData name="Aniket Chhabra" userId="598e0514-bef3-4e71-b6aa-f2edd6441cff" providerId="ADAL" clId="{FFB5BFD2-246A-034F-B635-DE62B5FCF3A6}" dt="2023-05-27T07:41:50.291" v="238"/>
          <ac:inkMkLst>
            <pc:docMk/>
            <pc:sldMk cId="3355189510" sldId="312"/>
            <ac:inkMk id="117" creationId="{7D421807-670D-0E11-7884-638E0022992E}"/>
          </ac:inkMkLst>
        </pc:inkChg>
        <pc:inkChg chg="add mod">
          <ac:chgData name="Aniket Chhabra" userId="598e0514-bef3-4e71-b6aa-f2edd6441cff" providerId="ADAL" clId="{FFB5BFD2-246A-034F-B635-DE62B5FCF3A6}" dt="2023-05-27T07:41:50.291" v="238"/>
          <ac:inkMkLst>
            <pc:docMk/>
            <pc:sldMk cId="3355189510" sldId="312"/>
            <ac:inkMk id="119" creationId="{E0C8F9C5-0858-AEDD-4F31-8590B098867B}"/>
          </ac:inkMkLst>
        </pc:inkChg>
        <pc:inkChg chg="add mod">
          <ac:chgData name="Aniket Chhabra" userId="598e0514-bef3-4e71-b6aa-f2edd6441cff" providerId="ADAL" clId="{FFB5BFD2-246A-034F-B635-DE62B5FCF3A6}" dt="2023-05-27T07:41:50.291" v="238"/>
          <ac:inkMkLst>
            <pc:docMk/>
            <pc:sldMk cId="3355189510" sldId="312"/>
            <ac:inkMk id="121" creationId="{45BB1DA4-A6BA-53E5-9DE9-DF021A44675D}"/>
          </ac:inkMkLst>
        </pc:inkChg>
        <pc:inkChg chg="add mod">
          <ac:chgData name="Aniket Chhabra" userId="598e0514-bef3-4e71-b6aa-f2edd6441cff" providerId="ADAL" clId="{FFB5BFD2-246A-034F-B635-DE62B5FCF3A6}" dt="2023-05-27T07:41:50.291" v="238"/>
          <ac:inkMkLst>
            <pc:docMk/>
            <pc:sldMk cId="3355189510" sldId="312"/>
            <ac:inkMk id="122" creationId="{DCAB8792-C887-0FD1-B160-EA883D5A7FD9}"/>
          </ac:inkMkLst>
        </pc:inkChg>
        <pc:inkChg chg="add mod">
          <ac:chgData name="Aniket Chhabra" userId="598e0514-bef3-4e71-b6aa-f2edd6441cff" providerId="ADAL" clId="{FFB5BFD2-246A-034F-B635-DE62B5FCF3A6}" dt="2023-05-27T07:41:50.291" v="238"/>
          <ac:inkMkLst>
            <pc:docMk/>
            <pc:sldMk cId="3355189510" sldId="312"/>
            <ac:inkMk id="123" creationId="{05F11C8F-87B8-45AF-B913-F940507AE8AE}"/>
          </ac:inkMkLst>
        </pc:inkChg>
        <pc:inkChg chg="add mod">
          <ac:chgData name="Aniket Chhabra" userId="598e0514-bef3-4e71-b6aa-f2edd6441cff" providerId="ADAL" clId="{FFB5BFD2-246A-034F-B635-DE62B5FCF3A6}" dt="2023-05-27T07:41:50.291" v="238"/>
          <ac:inkMkLst>
            <pc:docMk/>
            <pc:sldMk cId="3355189510" sldId="312"/>
            <ac:inkMk id="124" creationId="{B3B9D0C1-4B79-EC64-21A4-0D5699729EC0}"/>
          </ac:inkMkLst>
        </pc:inkChg>
        <pc:inkChg chg="add mod">
          <ac:chgData name="Aniket Chhabra" userId="598e0514-bef3-4e71-b6aa-f2edd6441cff" providerId="ADAL" clId="{FFB5BFD2-246A-034F-B635-DE62B5FCF3A6}" dt="2023-05-27T07:41:50.291" v="238"/>
          <ac:inkMkLst>
            <pc:docMk/>
            <pc:sldMk cId="3355189510" sldId="312"/>
            <ac:inkMk id="125" creationId="{CFAAE7A9-7792-0D92-FB51-AA3AE365EFDB}"/>
          </ac:inkMkLst>
        </pc:inkChg>
        <pc:inkChg chg="add mod">
          <ac:chgData name="Aniket Chhabra" userId="598e0514-bef3-4e71-b6aa-f2edd6441cff" providerId="ADAL" clId="{FFB5BFD2-246A-034F-B635-DE62B5FCF3A6}" dt="2023-05-27T07:41:50.291" v="238"/>
          <ac:inkMkLst>
            <pc:docMk/>
            <pc:sldMk cId="3355189510" sldId="312"/>
            <ac:inkMk id="126" creationId="{F000FD2B-E96B-7308-765A-5A4EAF1007F1}"/>
          </ac:inkMkLst>
        </pc:inkChg>
        <pc:inkChg chg="add del mod">
          <ac:chgData name="Aniket Chhabra" userId="598e0514-bef3-4e71-b6aa-f2edd6441cff" providerId="ADAL" clId="{FFB5BFD2-246A-034F-B635-DE62B5FCF3A6}" dt="2023-05-27T07:38:45.690" v="163"/>
          <ac:inkMkLst>
            <pc:docMk/>
            <pc:sldMk cId="3355189510" sldId="312"/>
            <ac:inkMk id="127" creationId="{6767912B-9722-269B-392B-16973CF7FF7C}"/>
          </ac:inkMkLst>
        </pc:inkChg>
        <pc:inkChg chg="add del mod">
          <ac:chgData name="Aniket Chhabra" userId="598e0514-bef3-4e71-b6aa-f2edd6441cff" providerId="ADAL" clId="{FFB5BFD2-246A-034F-B635-DE62B5FCF3A6}" dt="2023-05-27T07:38:45.690" v="164"/>
          <ac:inkMkLst>
            <pc:docMk/>
            <pc:sldMk cId="3355189510" sldId="312"/>
            <ac:inkMk id="128" creationId="{4380A6A1-D2DC-4759-0514-3B09D7D3ABFB}"/>
          </ac:inkMkLst>
        </pc:inkChg>
        <pc:inkChg chg="add del mod">
          <ac:chgData name="Aniket Chhabra" userId="598e0514-bef3-4e71-b6aa-f2edd6441cff" providerId="ADAL" clId="{FFB5BFD2-246A-034F-B635-DE62B5FCF3A6}" dt="2023-05-27T07:38:45.689" v="162"/>
          <ac:inkMkLst>
            <pc:docMk/>
            <pc:sldMk cId="3355189510" sldId="312"/>
            <ac:inkMk id="129" creationId="{801C05A8-1D25-33D5-C1A5-253E26C6ED24}"/>
          </ac:inkMkLst>
        </pc:inkChg>
        <pc:inkChg chg="add mod">
          <ac:chgData name="Aniket Chhabra" userId="598e0514-bef3-4e71-b6aa-f2edd6441cff" providerId="ADAL" clId="{FFB5BFD2-246A-034F-B635-DE62B5FCF3A6}" dt="2023-05-27T07:41:50.291" v="238"/>
          <ac:inkMkLst>
            <pc:docMk/>
            <pc:sldMk cId="3355189510" sldId="312"/>
            <ac:inkMk id="132" creationId="{09E0745F-E875-2C9E-A42A-B68F35E32993}"/>
          </ac:inkMkLst>
        </pc:inkChg>
        <pc:inkChg chg="add mod">
          <ac:chgData name="Aniket Chhabra" userId="598e0514-bef3-4e71-b6aa-f2edd6441cff" providerId="ADAL" clId="{FFB5BFD2-246A-034F-B635-DE62B5FCF3A6}" dt="2023-05-27T07:41:50.291" v="238"/>
          <ac:inkMkLst>
            <pc:docMk/>
            <pc:sldMk cId="3355189510" sldId="312"/>
            <ac:inkMk id="133" creationId="{7D63D00F-CBF8-A1C3-5BE1-A761D8131038}"/>
          </ac:inkMkLst>
        </pc:inkChg>
        <pc:inkChg chg="add mod">
          <ac:chgData name="Aniket Chhabra" userId="598e0514-bef3-4e71-b6aa-f2edd6441cff" providerId="ADAL" clId="{FFB5BFD2-246A-034F-B635-DE62B5FCF3A6}" dt="2023-05-27T07:41:50.291" v="238"/>
          <ac:inkMkLst>
            <pc:docMk/>
            <pc:sldMk cId="3355189510" sldId="312"/>
            <ac:inkMk id="134" creationId="{BF192565-4C33-C757-3C3C-512E87E61951}"/>
          </ac:inkMkLst>
        </pc:inkChg>
        <pc:inkChg chg="add mod">
          <ac:chgData name="Aniket Chhabra" userId="598e0514-bef3-4e71-b6aa-f2edd6441cff" providerId="ADAL" clId="{FFB5BFD2-246A-034F-B635-DE62B5FCF3A6}" dt="2023-05-27T07:41:50.291" v="238"/>
          <ac:inkMkLst>
            <pc:docMk/>
            <pc:sldMk cId="3355189510" sldId="312"/>
            <ac:inkMk id="135" creationId="{51760E8B-3BC7-E2F6-EA1D-103C3095DBDE}"/>
          </ac:inkMkLst>
        </pc:inkChg>
        <pc:inkChg chg="add mod">
          <ac:chgData name="Aniket Chhabra" userId="598e0514-bef3-4e71-b6aa-f2edd6441cff" providerId="ADAL" clId="{FFB5BFD2-246A-034F-B635-DE62B5FCF3A6}" dt="2023-05-27T07:41:50.291" v="238"/>
          <ac:inkMkLst>
            <pc:docMk/>
            <pc:sldMk cId="3355189510" sldId="312"/>
            <ac:inkMk id="136" creationId="{F7DD8000-3BD3-ED32-8167-D9358B7F1E66}"/>
          </ac:inkMkLst>
        </pc:inkChg>
        <pc:inkChg chg="add mod">
          <ac:chgData name="Aniket Chhabra" userId="598e0514-bef3-4e71-b6aa-f2edd6441cff" providerId="ADAL" clId="{FFB5BFD2-246A-034F-B635-DE62B5FCF3A6}" dt="2023-05-27T07:41:50.291" v="238"/>
          <ac:inkMkLst>
            <pc:docMk/>
            <pc:sldMk cId="3355189510" sldId="312"/>
            <ac:inkMk id="137" creationId="{A56F26CD-DB94-CE68-F023-F5CBC82722A1}"/>
          </ac:inkMkLst>
        </pc:inkChg>
        <pc:inkChg chg="add mod">
          <ac:chgData name="Aniket Chhabra" userId="598e0514-bef3-4e71-b6aa-f2edd6441cff" providerId="ADAL" clId="{FFB5BFD2-246A-034F-B635-DE62B5FCF3A6}" dt="2023-05-27T07:41:50.291" v="238"/>
          <ac:inkMkLst>
            <pc:docMk/>
            <pc:sldMk cId="3355189510" sldId="312"/>
            <ac:inkMk id="138" creationId="{707FB9C7-29E4-8BF8-0F86-7660FC25F420}"/>
          </ac:inkMkLst>
        </pc:inkChg>
        <pc:inkChg chg="add mod">
          <ac:chgData name="Aniket Chhabra" userId="598e0514-bef3-4e71-b6aa-f2edd6441cff" providerId="ADAL" clId="{FFB5BFD2-246A-034F-B635-DE62B5FCF3A6}" dt="2023-05-27T07:41:50.291" v="238"/>
          <ac:inkMkLst>
            <pc:docMk/>
            <pc:sldMk cId="3355189510" sldId="312"/>
            <ac:inkMk id="139" creationId="{BE2A0F00-629B-5A40-47F0-337B3159DBCD}"/>
          </ac:inkMkLst>
        </pc:inkChg>
        <pc:inkChg chg="add mod">
          <ac:chgData name="Aniket Chhabra" userId="598e0514-bef3-4e71-b6aa-f2edd6441cff" providerId="ADAL" clId="{FFB5BFD2-246A-034F-B635-DE62B5FCF3A6}" dt="2023-05-27T07:41:50.291" v="238"/>
          <ac:inkMkLst>
            <pc:docMk/>
            <pc:sldMk cId="3355189510" sldId="312"/>
            <ac:inkMk id="140" creationId="{DFAB7C68-5806-61EC-3BD8-E791E9CF9BB8}"/>
          </ac:inkMkLst>
        </pc:inkChg>
        <pc:inkChg chg="add mod">
          <ac:chgData name="Aniket Chhabra" userId="598e0514-bef3-4e71-b6aa-f2edd6441cff" providerId="ADAL" clId="{FFB5BFD2-246A-034F-B635-DE62B5FCF3A6}" dt="2023-05-27T07:41:51.318" v="240"/>
          <ac:inkMkLst>
            <pc:docMk/>
            <pc:sldMk cId="3355189510" sldId="312"/>
            <ac:inkMk id="141" creationId="{5913266B-9259-624B-FF9C-B97A63438058}"/>
          </ac:inkMkLst>
        </pc:inkChg>
        <pc:inkChg chg="add mod">
          <ac:chgData name="Aniket Chhabra" userId="598e0514-bef3-4e71-b6aa-f2edd6441cff" providerId="ADAL" clId="{FFB5BFD2-246A-034F-B635-DE62B5FCF3A6}" dt="2023-05-27T07:41:51.318" v="240"/>
          <ac:inkMkLst>
            <pc:docMk/>
            <pc:sldMk cId="3355189510" sldId="312"/>
            <ac:inkMk id="142" creationId="{F10A2CC6-6537-50F8-D26B-AC325BE6CB87}"/>
          </ac:inkMkLst>
        </pc:inkChg>
        <pc:inkChg chg="add mod">
          <ac:chgData name="Aniket Chhabra" userId="598e0514-bef3-4e71-b6aa-f2edd6441cff" providerId="ADAL" clId="{FFB5BFD2-246A-034F-B635-DE62B5FCF3A6}" dt="2023-05-27T07:41:51.318" v="240"/>
          <ac:inkMkLst>
            <pc:docMk/>
            <pc:sldMk cId="3355189510" sldId="312"/>
            <ac:inkMk id="143" creationId="{F14EED26-DD78-2412-8196-FAAE6E43E87C}"/>
          </ac:inkMkLst>
        </pc:inkChg>
        <pc:inkChg chg="add mod">
          <ac:chgData name="Aniket Chhabra" userId="598e0514-bef3-4e71-b6aa-f2edd6441cff" providerId="ADAL" clId="{FFB5BFD2-246A-034F-B635-DE62B5FCF3A6}" dt="2023-05-27T07:41:51.318" v="240"/>
          <ac:inkMkLst>
            <pc:docMk/>
            <pc:sldMk cId="3355189510" sldId="312"/>
            <ac:inkMk id="144" creationId="{97B9B116-70A1-E7C8-F0AC-42E1C32CF2D9}"/>
          </ac:inkMkLst>
        </pc:inkChg>
        <pc:inkChg chg="add mod">
          <ac:chgData name="Aniket Chhabra" userId="598e0514-bef3-4e71-b6aa-f2edd6441cff" providerId="ADAL" clId="{FFB5BFD2-246A-034F-B635-DE62B5FCF3A6}" dt="2023-05-27T07:41:51.318" v="240"/>
          <ac:inkMkLst>
            <pc:docMk/>
            <pc:sldMk cId="3355189510" sldId="312"/>
            <ac:inkMk id="145" creationId="{1B28EDA9-752B-B6A8-9B33-BAAECFB8EE00}"/>
          </ac:inkMkLst>
        </pc:inkChg>
        <pc:inkChg chg="add mod">
          <ac:chgData name="Aniket Chhabra" userId="598e0514-bef3-4e71-b6aa-f2edd6441cff" providerId="ADAL" clId="{FFB5BFD2-246A-034F-B635-DE62B5FCF3A6}" dt="2023-05-27T07:41:51.318" v="240"/>
          <ac:inkMkLst>
            <pc:docMk/>
            <pc:sldMk cId="3355189510" sldId="312"/>
            <ac:inkMk id="148" creationId="{4780A91F-174B-646A-342F-B62CC0CB80A5}"/>
          </ac:inkMkLst>
        </pc:inkChg>
        <pc:inkChg chg="add mod">
          <ac:chgData name="Aniket Chhabra" userId="598e0514-bef3-4e71-b6aa-f2edd6441cff" providerId="ADAL" clId="{FFB5BFD2-246A-034F-B635-DE62B5FCF3A6}" dt="2023-05-27T07:41:51.318" v="240"/>
          <ac:inkMkLst>
            <pc:docMk/>
            <pc:sldMk cId="3355189510" sldId="312"/>
            <ac:inkMk id="149" creationId="{E429A2A4-FE70-592C-7AE3-4ED8883CB2E0}"/>
          </ac:inkMkLst>
        </pc:inkChg>
        <pc:inkChg chg="add mod">
          <ac:chgData name="Aniket Chhabra" userId="598e0514-bef3-4e71-b6aa-f2edd6441cff" providerId="ADAL" clId="{FFB5BFD2-246A-034F-B635-DE62B5FCF3A6}" dt="2023-05-27T07:41:51.318" v="240"/>
          <ac:inkMkLst>
            <pc:docMk/>
            <pc:sldMk cId="3355189510" sldId="312"/>
            <ac:inkMk id="150" creationId="{A9BA23E9-70B0-00A6-625F-0590258EB2D0}"/>
          </ac:inkMkLst>
        </pc:inkChg>
        <pc:inkChg chg="add mod">
          <ac:chgData name="Aniket Chhabra" userId="598e0514-bef3-4e71-b6aa-f2edd6441cff" providerId="ADAL" clId="{FFB5BFD2-246A-034F-B635-DE62B5FCF3A6}" dt="2023-05-27T07:41:51.318" v="240"/>
          <ac:inkMkLst>
            <pc:docMk/>
            <pc:sldMk cId="3355189510" sldId="312"/>
            <ac:inkMk id="151" creationId="{C46D63BD-0089-72D4-F992-F2C4FE5BB906}"/>
          </ac:inkMkLst>
        </pc:inkChg>
        <pc:inkChg chg="add mod">
          <ac:chgData name="Aniket Chhabra" userId="598e0514-bef3-4e71-b6aa-f2edd6441cff" providerId="ADAL" clId="{FFB5BFD2-246A-034F-B635-DE62B5FCF3A6}" dt="2023-05-27T07:41:51.318" v="240"/>
          <ac:inkMkLst>
            <pc:docMk/>
            <pc:sldMk cId="3355189510" sldId="312"/>
            <ac:inkMk id="152" creationId="{49280394-919C-95A3-4162-5B0A84D8E2D2}"/>
          </ac:inkMkLst>
        </pc:inkChg>
        <pc:inkChg chg="add mod">
          <ac:chgData name="Aniket Chhabra" userId="598e0514-bef3-4e71-b6aa-f2edd6441cff" providerId="ADAL" clId="{FFB5BFD2-246A-034F-B635-DE62B5FCF3A6}" dt="2023-05-27T07:41:51.318" v="240"/>
          <ac:inkMkLst>
            <pc:docMk/>
            <pc:sldMk cId="3355189510" sldId="312"/>
            <ac:inkMk id="153" creationId="{F6F0FEEE-6C0B-298E-1A61-A24CAB8DE234}"/>
          </ac:inkMkLst>
        </pc:inkChg>
        <pc:inkChg chg="add mod">
          <ac:chgData name="Aniket Chhabra" userId="598e0514-bef3-4e71-b6aa-f2edd6441cff" providerId="ADAL" clId="{FFB5BFD2-246A-034F-B635-DE62B5FCF3A6}" dt="2023-05-27T07:41:51.318" v="240"/>
          <ac:inkMkLst>
            <pc:docMk/>
            <pc:sldMk cId="3355189510" sldId="312"/>
            <ac:inkMk id="154" creationId="{5C753104-8422-54D0-8349-BDA70D58B325}"/>
          </ac:inkMkLst>
        </pc:inkChg>
        <pc:inkChg chg="add mod">
          <ac:chgData name="Aniket Chhabra" userId="598e0514-bef3-4e71-b6aa-f2edd6441cff" providerId="ADAL" clId="{FFB5BFD2-246A-034F-B635-DE62B5FCF3A6}" dt="2023-05-27T07:41:51.318" v="240"/>
          <ac:inkMkLst>
            <pc:docMk/>
            <pc:sldMk cId="3355189510" sldId="312"/>
            <ac:inkMk id="155" creationId="{8E8E2641-A980-7E7E-71B2-85AD564C9C6D}"/>
          </ac:inkMkLst>
        </pc:inkChg>
        <pc:inkChg chg="add mod">
          <ac:chgData name="Aniket Chhabra" userId="598e0514-bef3-4e71-b6aa-f2edd6441cff" providerId="ADAL" clId="{FFB5BFD2-246A-034F-B635-DE62B5FCF3A6}" dt="2023-05-27T07:41:51.318" v="240"/>
          <ac:inkMkLst>
            <pc:docMk/>
            <pc:sldMk cId="3355189510" sldId="312"/>
            <ac:inkMk id="156" creationId="{5DEA8B66-46B7-76CB-83B9-726E825332BD}"/>
          </ac:inkMkLst>
        </pc:inkChg>
        <pc:inkChg chg="add mod">
          <ac:chgData name="Aniket Chhabra" userId="598e0514-bef3-4e71-b6aa-f2edd6441cff" providerId="ADAL" clId="{FFB5BFD2-246A-034F-B635-DE62B5FCF3A6}" dt="2023-05-27T07:41:51.318" v="240"/>
          <ac:inkMkLst>
            <pc:docMk/>
            <pc:sldMk cId="3355189510" sldId="312"/>
            <ac:inkMk id="157" creationId="{31EF35D7-4708-5485-62C7-A525B98CABF0}"/>
          </ac:inkMkLst>
        </pc:inkChg>
        <pc:inkChg chg="add mod">
          <ac:chgData name="Aniket Chhabra" userId="598e0514-bef3-4e71-b6aa-f2edd6441cff" providerId="ADAL" clId="{FFB5BFD2-246A-034F-B635-DE62B5FCF3A6}" dt="2023-05-27T07:41:51.318" v="240"/>
          <ac:inkMkLst>
            <pc:docMk/>
            <pc:sldMk cId="3355189510" sldId="312"/>
            <ac:inkMk id="158" creationId="{C951FB3E-007C-0E4D-17EB-86E474FB0B44}"/>
          </ac:inkMkLst>
        </pc:inkChg>
        <pc:inkChg chg="add mod">
          <ac:chgData name="Aniket Chhabra" userId="598e0514-bef3-4e71-b6aa-f2edd6441cff" providerId="ADAL" clId="{FFB5BFD2-246A-034F-B635-DE62B5FCF3A6}" dt="2023-05-27T07:41:50.291" v="238"/>
          <ac:inkMkLst>
            <pc:docMk/>
            <pc:sldMk cId="3355189510" sldId="312"/>
            <ac:inkMk id="160" creationId="{FB32853D-4B9C-A072-575B-ECD7F2D776E4}"/>
          </ac:inkMkLst>
        </pc:inkChg>
        <pc:inkChg chg="add mod">
          <ac:chgData name="Aniket Chhabra" userId="598e0514-bef3-4e71-b6aa-f2edd6441cff" providerId="ADAL" clId="{FFB5BFD2-246A-034F-B635-DE62B5FCF3A6}" dt="2023-05-27T07:41:50.291" v="238"/>
          <ac:inkMkLst>
            <pc:docMk/>
            <pc:sldMk cId="3355189510" sldId="312"/>
            <ac:inkMk id="161" creationId="{889C191C-6428-3B9E-C727-FEB21212F717}"/>
          </ac:inkMkLst>
        </pc:inkChg>
        <pc:inkChg chg="add mod">
          <ac:chgData name="Aniket Chhabra" userId="598e0514-bef3-4e71-b6aa-f2edd6441cff" providerId="ADAL" clId="{FFB5BFD2-246A-034F-B635-DE62B5FCF3A6}" dt="2023-05-27T07:41:50.291" v="238"/>
          <ac:inkMkLst>
            <pc:docMk/>
            <pc:sldMk cId="3355189510" sldId="312"/>
            <ac:inkMk id="162" creationId="{7DFB2AEB-E9B5-F2A1-A7E8-417D5187A989}"/>
          </ac:inkMkLst>
        </pc:inkChg>
        <pc:inkChg chg="add mod">
          <ac:chgData name="Aniket Chhabra" userId="598e0514-bef3-4e71-b6aa-f2edd6441cff" providerId="ADAL" clId="{FFB5BFD2-246A-034F-B635-DE62B5FCF3A6}" dt="2023-05-27T07:41:50.291" v="238"/>
          <ac:inkMkLst>
            <pc:docMk/>
            <pc:sldMk cId="3355189510" sldId="312"/>
            <ac:inkMk id="164" creationId="{63B3B37E-4783-B55C-65BC-36C2906E5E02}"/>
          </ac:inkMkLst>
        </pc:inkChg>
        <pc:inkChg chg="add mod">
          <ac:chgData name="Aniket Chhabra" userId="598e0514-bef3-4e71-b6aa-f2edd6441cff" providerId="ADAL" clId="{FFB5BFD2-246A-034F-B635-DE62B5FCF3A6}" dt="2023-05-27T07:41:50.291" v="238"/>
          <ac:inkMkLst>
            <pc:docMk/>
            <pc:sldMk cId="3355189510" sldId="312"/>
            <ac:inkMk id="165" creationId="{34FF9B2F-D386-D7A8-FEC8-6BA9A9E6C04D}"/>
          </ac:inkMkLst>
        </pc:inkChg>
        <pc:inkChg chg="add mod">
          <ac:chgData name="Aniket Chhabra" userId="598e0514-bef3-4e71-b6aa-f2edd6441cff" providerId="ADAL" clId="{FFB5BFD2-246A-034F-B635-DE62B5FCF3A6}" dt="2023-05-27T07:41:50.291" v="238"/>
          <ac:inkMkLst>
            <pc:docMk/>
            <pc:sldMk cId="3355189510" sldId="312"/>
            <ac:inkMk id="166" creationId="{2F1C964D-11CA-1283-77E9-926D286F8E8A}"/>
          </ac:inkMkLst>
        </pc:inkChg>
        <pc:inkChg chg="add mod">
          <ac:chgData name="Aniket Chhabra" userId="598e0514-bef3-4e71-b6aa-f2edd6441cff" providerId="ADAL" clId="{FFB5BFD2-246A-034F-B635-DE62B5FCF3A6}" dt="2023-05-27T07:41:50.291" v="238"/>
          <ac:inkMkLst>
            <pc:docMk/>
            <pc:sldMk cId="3355189510" sldId="312"/>
            <ac:inkMk id="168" creationId="{3809A5FE-30C4-B563-6153-FFC84EF0A4B7}"/>
          </ac:inkMkLst>
        </pc:inkChg>
        <pc:inkChg chg="add mod">
          <ac:chgData name="Aniket Chhabra" userId="598e0514-bef3-4e71-b6aa-f2edd6441cff" providerId="ADAL" clId="{FFB5BFD2-246A-034F-B635-DE62B5FCF3A6}" dt="2023-05-27T07:41:50.291" v="238"/>
          <ac:inkMkLst>
            <pc:docMk/>
            <pc:sldMk cId="3355189510" sldId="312"/>
            <ac:inkMk id="169" creationId="{B1872B63-9BF4-84C1-57FE-1E5A6A55C74D}"/>
          </ac:inkMkLst>
        </pc:inkChg>
        <pc:inkChg chg="add mod">
          <ac:chgData name="Aniket Chhabra" userId="598e0514-bef3-4e71-b6aa-f2edd6441cff" providerId="ADAL" clId="{FFB5BFD2-246A-034F-B635-DE62B5FCF3A6}" dt="2023-05-27T07:41:50.291" v="238"/>
          <ac:inkMkLst>
            <pc:docMk/>
            <pc:sldMk cId="3355189510" sldId="312"/>
            <ac:inkMk id="170" creationId="{C7EE33F2-5A54-CA7C-1529-425636412D34}"/>
          </ac:inkMkLst>
        </pc:inkChg>
        <pc:inkChg chg="add mod">
          <ac:chgData name="Aniket Chhabra" userId="598e0514-bef3-4e71-b6aa-f2edd6441cff" providerId="ADAL" clId="{FFB5BFD2-246A-034F-B635-DE62B5FCF3A6}" dt="2023-05-27T07:41:50.291" v="238"/>
          <ac:inkMkLst>
            <pc:docMk/>
            <pc:sldMk cId="3355189510" sldId="312"/>
            <ac:inkMk id="171" creationId="{B67C4FEC-2DE6-023C-413E-AB3FD9DBE2D2}"/>
          </ac:inkMkLst>
        </pc:inkChg>
        <pc:inkChg chg="add mod">
          <ac:chgData name="Aniket Chhabra" userId="598e0514-bef3-4e71-b6aa-f2edd6441cff" providerId="ADAL" clId="{FFB5BFD2-246A-034F-B635-DE62B5FCF3A6}" dt="2023-05-27T07:41:50.291" v="238"/>
          <ac:inkMkLst>
            <pc:docMk/>
            <pc:sldMk cId="3355189510" sldId="312"/>
            <ac:inkMk id="172" creationId="{9E46B487-1BDD-96F5-CEB8-21684D7D3800}"/>
          </ac:inkMkLst>
        </pc:inkChg>
        <pc:inkChg chg="add mod">
          <ac:chgData name="Aniket Chhabra" userId="598e0514-bef3-4e71-b6aa-f2edd6441cff" providerId="ADAL" clId="{FFB5BFD2-246A-034F-B635-DE62B5FCF3A6}" dt="2023-05-27T07:41:50.291" v="238"/>
          <ac:inkMkLst>
            <pc:docMk/>
            <pc:sldMk cId="3355189510" sldId="312"/>
            <ac:inkMk id="175" creationId="{F890DDA3-D0A3-36E1-8F21-5BB50ACDF1E9}"/>
          </ac:inkMkLst>
        </pc:inkChg>
        <pc:inkChg chg="add mod">
          <ac:chgData name="Aniket Chhabra" userId="598e0514-bef3-4e71-b6aa-f2edd6441cff" providerId="ADAL" clId="{FFB5BFD2-246A-034F-B635-DE62B5FCF3A6}" dt="2023-05-27T07:41:50.291" v="238"/>
          <ac:inkMkLst>
            <pc:docMk/>
            <pc:sldMk cId="3355189510" sldId="312"/>
            <ac:inkMk id="176" creationId="{6DB0213A-A19D-C914-6BD5-F5BC64C98A37}"/>
          </ac:inkMkLst>
        </pc:inkChg>
        <pc:inkChg chg="add mod">
          <ac:chgData name="Aniket Chhabra" userId="598e0514-bef3-4e71-b6aa-f2edd6441cff" providerId="ADAL" clId="{FFB5BFD2-246A-034F-B635-DE62B5FCF3A6}" dt="2023-05-27T07:41:50.291" v="238"/>
          <ac:inkMkLst>
            <pc:docMk/>
            <pc:sldMk cId="3355189510" sldId="312"/>
            <ac:inkMk id="177" creationId="{605F2F8B-FE8C-30F5-6614-453F2A82E6BC}"/>
          </ac:inkMkLst>
        </pc:inkChg>
        <pc:inkChg chg="add mod">
          <ac:chgData name="Aniket Chhabra" userId="598e0514-bef3-4e71-b6aa-f2edd6441cff" providerId="ADAL" clId="{FFB5BFD2-246A-034F-B635-DE62B5FCF3A6}" dt="2023-05-27T07:41:50.291" v="238"/>
          <ac:inkMkLst>
            <pc:docMk/>
            <pc:sldMk cId="3355189510" sldId="312"/>
            <ac:inkMk id="178" creationId="{CB22B939-1CB1-54A1-83BC-8DD69E880146}"/>
          </ac:inkMkLst>
        </pc:inkChg>
        <pc:inkChg chg="add mod">
          <ac:chgData name="Aniket Chhabra" userId="598e0514-bef3-4e71-b6aa-f2edd6441cff" providerId="ADAL" clId="{FFB5BFD2-246A-034F-B635-DE62B5FCF3A6}" dt="2023-05-27T07:41:50.291" v="238"/>
          <ac:inkMkLst>
            <pc:docMk/>
            <pc:sldMk cId="3355189510" sldId="312"/>
            <ac:inkMk id="179" creationId="{41DB771F-E0AF-9646-66D1-C032D73A6355}"/>
          </ac:inkMkLst>
        </pc:inkChg>
        <pc:inkChg chg="add mod">
          <ac:chgData name="Aniket Chhabra" userId="598e0514-bef3-4e71-b6aa-f2edd6441cff" providerId="ADAL" clId="{FFB5BFD2-246A-034F-B635-DE62B5FCF3A6}" dt="2023-05-27T07:41:52.549" v="242"/>
          <ac:inkMkLst>
            <pc:docMk/>
            <pc:sldMk cId="3355189510" sldId="312"/>
            <ac:inkMk id="181" creationId="{E18D2F36-F2D0-B192-5C54-0DDBB18F56BC}"/>
          </ac:inkMkLst>
        </pc:inkChg>
        <pc:inkChg chg="add mod">
          <ac:chgData name="Aniket Chhabra" userId="598e0514-bef3-4e71-b6aa-f2edd6441cff" providerId="ADAL" clId="{FFB5BFD2-246A-034F-B635-DE62B5FCF3A6}" dt="2023-05-27T07:41:52.549" v="242"/>
          <ac:inkMkLst>
            <pc:docMk/>
            <pc:sldMk cId="3355189510" sldId="312"/>
            <ac:inkMk id="182" creationId="{1FC207A7-F791-AD29-B25A-B140508EC36A}"/>
          </ac:inkMkLst>
        </pc:inkChg>
        <pc:inkChg chg="add mod">
          <ac:chgData name="Aniket Chhabra" userId="598e0514-bef3-4e71-b6aa-f2edd6441cff" providerId="ADAL" clId="{FFB5BFD2-246A-034F-B635-DE62B5FCF3A6}" dt="2023-05-27T07:41:52.549" v="242"/>
          <ac:inkMkLst>
            <pc:docMk/>
            <pc:sldMk cId="3355189510" sldId="312"/>
            <ac:inkMk id="183" creationId="{1F3FBD91-3125-7C3D-A1E7-C92B86CDDE89}"/>
          </ac:inkMkLst>
        </pc:inkChg>
        <pc:inkChg chg="add mod">
          <ac:chgData name="Aniket Chhabra" userId="598e0514-bef3-4e71-b6aa-f2edd6441cff" providerId="ADAL" clId="{FFB5BFD2-246A-034F-B635-DE62B5FCF3A6}" dt="2023-05-27T07:41:52.549" v="242"/>
          <ac:inkMkLst>
            <pc:docMk/>
            <pc:sldMk cId="3355189510" sldId="312"/>
            <ac:inkMk id="184" creationId="{54359A0A-A9CE-CFEE-4BC8-23E821C113A2}"/>
          </ac:inkMkLst>
        </pc:inkChg>
        <pc:inkChg chg="add mod">
          <ac:chgData name="Aniket Chhabra" userId="598e0514-bef3-4e71-b6aa-f2edd6441cff" providerId="ADAL" clId="{FFB5BFD2-246A-034F-B635-DE62B5FCF3A6}" dt="2023-05-27T07:41:52.549" v="242"/>
          <ac:inkMkLst>
            <pc:docMk/>
            <pc:sldMk cId="3355189510" sldId="312"/>
            <ac:inkMk id="185" creationId="{8A0A3607-A1F7-BF87-63A3-9AD829EA5367}"/>
          </ac:inkMkLst>
        </pc:inkChg>
        <pc:inkChg chg="add mod">
          <ac:chgData name="Aniket Chhabra" userId="598e0514-bef3-4e71-b6aa-f2edd6441cff" providerId="ADAL" clId="{FFB5BFD2-246A-034F-B635-DE62B5FCF3A6}" dt="2023-05-27T07:41:52.549" v="242"/>
          <ac:inkMkLst>
            <pc:docMk/>
            <pc:sldMk cId="3355189510" sldId="312"/>
            <ac:inkMk id="186" creationId="{A5141B6E-6866-F4E5-D2EA-D7CD12055B66}"/>
          </ac:inkMkLst>
        </pc:inkChg>
        <pc:inkChg chg="add mod">
          <ac:chgData name="Aniket Chhabra" userId="598e0514-bef3-4e71-b6aa-f2edd6441cff" providerId="ADAL" clId="{FFB5BFD2-246A-034F-B635-DE62B5FCF3A6}" dt="2023-05-27T07:41:52.549" v="242"/>
          <ac:inkMkLst>
            <pc:docMk/>
            <pc:sldMk cId="3355189510" sldId="312"/>
            <ac:inkMk id="187" creationId="{E2C6B971-166C-B520-305B-5A44F1287B2E}"/>
          </ac:inkMkLst>
        </pc:inkChg>
        <pc:inkChg chg="add mod">
          <ac:chgData name="Aniket Chhabra" userId="598e0514-bef3-4e71-b6aa-f2edd6441cff" providerId="ADAL" clId="{FFB5BFD2-246A-034F-B635-DE62B5FCF3A6}" dt="2023-05-27T07:41:52.549" v="242"/>
          <ac:inkMkLst>
            <pc:docMk/>
            <pc:sldMk cId="3355189510" sldId="312"/>
            <ac:inkMk id="188" creationId="{F765C0B8-AD5C-5881-4B68-7413BC01B36B}"/>
          </ac:inkMkLst>
        </pc:inkChg>
        <pc:inkChg chg="add mod">
          <ac:chgData name="Aniket Chhabra" userId="598e0514-bef3-4e71-b6aa-f2edd6441cff" providerId="ADAL" clId="{FFB5BFD2-246A-034F-B635-DE62B5FCF3A6}" dt="2023-05-27T07:41:52.549" v="242"/>
          <ac:inkMkLst>
            <pc:docMk/>
            <pc:sldMk cId="3355189510" sldId="312"/>
            <ac:inkMk id="189" creationId="{3564029F-257B-C6FB-47FA-56C46BE2BD12}"/>
          </ac:inkMkLst>
        </pc:inkChg>
        <pc:inkChg chg="add mod">
          <ac:chgData name="Aniket Chhabra" userId="598e0514-bef3-4e71-b6aa-f2edd6441cff" providerId="ADAL" clId="{FFB5BFD2-246A-034F-B635-DE62B5FCF3A6}" dt="2023-05-27T07:41:52.549" v="242"/>
          <ac:inkMkLst>
            <pc:docMk/>
            <pc:sldMk cId="3355189510" sldId="312"/>
            <ac:inkMk id="190" creationId="{23A82159-506F-7187-373D-4898F7E96168}"/>
          </ac:inkMkLst>
        </pc:inkChg>
        <pc:inkChg chg="add">
          <ac:chgData name="Aniket Chhabra" userId="598e0514-bef3-4e71-b6aa-f2edd6441cff" providerId="ADAL" clId="{FFB5BFD2-246A-034F-B635-DE62B5FCF3A6}" dt="2023-05-27T07:40:54.650" v="223" actId="9405"/>
          <ac:inkMkLst>
            <pc:docMk/>
            <pc:sldMk cId="3355189510" sldId="312"/>
            <ac:inkMk id="193" creationId="{B7E9B6AF-A8F8-7408-DEA7-452104775EB7}"/>
          </ac:inkMkLst>
        </pc:inkChg>
        <pc:inkChg chg="add mod">
          <ac:chgData name="Aniket Chhabra" userId="598e0514-bef3-4e71-b6aa-f2edd6441cff" providerId="ADAL" clId="{FFB5BFD2-246A-034F-B635-DE62B5FCF3A6}" dt="2023-05-27T07:41:52.549" v="242"/>
          <ac:inkMkLst>
            <pc:docMk/>
            <pc:sldMk cId="3355189510" sldId="312"/>
            <ac:inkMk id="194" creationId="{95507CE0-4F66-85C8-5159-64DCEB66DCC1}"/>
          </ac:inkMkLst>
        </pc:inkChg>
        <pc:inkChg chg="add mod">
          <ac:chgData name="Aniket Chhabra" userId="598e0514-bef3-4e71-b6aa-f2edd6441cff" providerId="ADAL" clId="{FFB5BFD2-246A-034F-B635-DE62B5FCF3A6}" dt="2023-05-27T07:41:52.549" v="242"/>
          <ac:inkMkLst>
            <pc:docMk/>
            <pc:sldMk cId="3355189510" sldId="312"/>
            <ac:inkMk id="195" creationId="{F1699449-3136-47CF-17C4-6D7AD2A81C64}"/>
          </ac:inkMkLst>
        </pc:inkChg>
        <pc:inkChg chg="add mod">
          <ac:chgData name="Aniket Chhabra" userId="598e0514-bef3-4e71-b6aa-f2edd6441cff" providerId="ADAL" clId="{FFB5BFD2-246A-034F-B635-DE62B5FCF3A6}" dt="2023-05-27T07:41:52.549" v="242"/>
          <ac:inkMkLst>
            <pc:docMk/>
            <pc:sldMk cId="3355189510" sldId="312"/>
            <ac:inkMk id="196" creationId="{8BE9ABDE-B6BE-5030-E050-E045043D5556}"/>
          </ac:inkMkLst>
        </pc:inkChg>
        <pc:inkChg chg="add mod">
          <ac:chgData name="Aniket Chhabra" userId="598e0514-bef3-4e71-b6aa-f2edd6441cff" providerId="ADAL" clId="{FFB5BFD2-246A-034F-B635-DE62B5FCF3A6}" dt="2023-05-27T07:41:52.549" v="242"/>
          <ac:inkMkLst>
            <pc:docMk/>
            <pc:sldMk cId="3355189510" sldId="312"/>
            <ac:inkMk id="197" creationId="{ED79F738-B2AB-AF87-CADD-DCD1446EFF86}"/>
          </ac:inkMkLst>
        </pc:inkChg>
        <pc:inkChg chg="add mod">
          <ac:chgData name="Aniket Chhabra" userId="598e0514-bef3-4e71-b6aa-f2edd6441cff" providerId="ADAL" clId="{FFB5BFD2-246A-034F-B635-DE62B5FCF3A6}" dt="2023-05-27T07:41:52.549" v="242"/>
          <ac:inkMkLst>
            <pc:docMk/>
            <pc:sldMk cId="3355189510" sldId="312"/>
            <ac:inkMk id="198" creationId="{BAAC901C-F760-9B9D-A3B6-43C9E5CDAD68}"/>
          </ac:inkMkLst>
        </pc:inkChg>
        <pc:inkChg chg="add mod">
          <ac:chgData name="Aniket Chhabra" userId="598e0514-bef3-4e71-b6aa-f2edd6441cff" providerId="ADAL" clId="{FFB5BFD2-246A-034F-B635-DE62B5FCF3A6}" dt="2023-05-27T07:41:52.549" v="242"/>
          <ac:inkMkLst>
            <pc:docMk/>
            <pc:sldMk cId="3355189510" sldId="312"/>
            <ac:inkMk id="199" creationId="{5E7DE118-051F-9EDA-5BDE-1C1F22825AB4}"/>
          </ac:inkMkLst>
        </pc:inkChg>
        <pc:inkChg chg="add mod">
          <ac:chgData name="Aniket Chhabra" userId="598e0514-bef3-4e71-b6aa-f2edd6441cff" providerId="ADAL" clId="{FFB5BFD2-246A-034F-B635-DE62B5FCF3A6}" dt="2023-05-27T07:41:52.549" v="242"/>
          <ac:inkMkLst>
            <pc:docMk/>
            <pc:sldMk cId="3355189510" sldId="312"/>
            <ac:inkMk id="201" creationId="{D6064036-F95F-2D2D-9090-A4DB211EE85E}"/>
          </ac:inkMkLst>
        </pc:inkChg>
        <pc:inkChg chg="add mod">
          <ac:chgData name="Aniket Chhabra" userId="598e0514-bef3-4e71-b6aa-f2edd6441cff" providerId="ADAL" clId="{FFB5BFD2-246A-034F-B635-DE62B5FCF3A6}" dt="2023-05-27T07:41:52.549" v="242"/>
          <ac:inkMkLst>
            <pc:docMk/>
            <pc:sldMk cId="3355189510" sldId="312"/>
            <ac:inkMk id="202" creationId="{EB0F2A29-9E9F-DE4C-FBC9-F299B5DBA553}"/>
          </ac:inkMkLst>
        </pc:inkChg>
        <pc:inkChg chg="add mod">
          <ac:chgData name="Aniket Chhabra" userId="598e0514-bef3-4e71-b6aa-f2edd6441cff" providerId="ADAL" clId="{FFB5BFD2-246A-034F-B635-DE62B5FCF3A6}" dt="2023-05-27T07:41:52.549" v="242"/>
          <ac:inkMkLst>
            <pc:docMk/>
            <pc:sldMk cId="3355189510" sldId="312"/>
            <ac:inkMk id="203" creationId="{D77D994A-7DBB-B62C-8CB3-76743DB853CC}"/>
          </ac:inkMkLst>
        </pc:inkChg>
        <pc:inkChg chg="add mod">
          <ac:chgData name="Aniket Chhabra" userId="598e0514-bef3-4e71-b6aa-f2edd6441cff" providerId="ADAL" clId="{FFB5BFD2-246A-034F-B635-DE62B5FCF3A6}" dt="2023-05-27T07:41:50.291" v="238"/>
          <ac:inkMkLst>
            <pc:docMk/>
            <pc:sldMk cId="3355189510" sldId="312"/>
            <ac:inkMk id="205" creationId="{2A0CEF04-74F3-5147-E29C-1D38A2E9B179}"/>
          </ac:inkMkLst>
        </pc:inkChg>
        <pc:inkChg chg="add mod">
          <ac:chgData name="Aniket Chhabra" userId="598e0514-bef3-4e71-b6aa-f2edd6441cff" providerId="ADAL" clId="{FFB5BFD2-246A-034F-B635-DE62B5FCF3A6}" dt="2023-05-27T07:41:50.291" v="238"/>
          <ac:inkMkLst>
            <pc:docMk/>
            <pc:sldMk cId="3355189510" sldId="312"/>
            <ac:inkMk id="207" creationId="{36CC9AFD-FA8E-1190-9126-3CC8AF9D2D45}"/>
          </ac:inkMkLst>
        </pc:inkChg>
        <pc:inkChg chg="add mod">
          <ac:chgData name="Aniket Chhabra" userId="598e0514-bef3-4e71-b6aa-f2edd6441cff" providerId="ADAL" clId="{FFB5BFD2-246A-034F-B635-DE62B5FCF3A6}" dt="2023-05-27T07:41:51.318" v="240"/>
          <ac:inkMkLst>
            <pc:docMk/>
            <pc:sldMk cId="3355189510" sldId="312"/>
            <ac:inkMk id="209" creationId="{9C8D7478-9B12-A02D-85BA-15D8FF37D028}"/>
          </ac:inkMkLst>
        </pc:inkChg>
        <pc:inkChg chg="add mod">
          <ac:chgData name="Aniket Chhabra" userId="598e0514-bef3-4e71-b6aa-f2edd6441cff" providerId="ADAL" clId="{FFB5BFD2-246A-034F-B635-DE62B5FCF3A6}" dt="2023-05-27T07:41:52.549" v="242"/>
          <ac:inkMkLst>
            <pc:docMk/>
            <pc:sldMk cId="3355189510" sldId="312"/>
            <ac:inkMk id="211" creationId="{4797532E-E6B3-527C-1476-8BFD0CE82C2F}"/>
          </ac:inkMkLst>
        </pc:inkChg>
      </pc:sldChg>
      <pc:sldChg chg="addSp delSp modSp new del mod">
        <pc:chgData name="Aniket Chhabra" userId="598e0514-bef3-4e71-b6aa-f2edd6441cff" providerId="ADAL" clId="{FFB5BFD2-246A-034F-B635-DE62B5FCF3A6}" dt="2023-05-27T12:05:20.440" v="383" actId="2696"/>
        <pc:sldMkLst>
          <pc:docMk/>
          <pc:sldMk cId="565897562" sldId="313"/>
        </pc:sldMkLst>
        <pc:grpChg chg="del mod">
          <ac:chgData name="Aniket Chhabra" userId="598e0514-bef3-4e71-b6aa-f2edd6441cff" providerId="ADAL" clId="{FFB5BFD2-246A-034F-B635-DE62B5FCF3A6}" dt="2023-05-27T07:51:58.452" v="279"/>
          <ac:grpSpMkLst>
            <pc:docMk/>
            <pc:sldMk cId="565897562" sldId="313"/>
            <ac:grpSpMk id="16" creationId="{DDF6E8C7-A394-C878-95DC-E1049923EA27}"/>
          </ac:grpSpMkLst>
        </pc:grpChg>
        <pc:grpChg chg="del mod">
          <ac:chgData name="Aniket Chhabra" userId="598e0514-bef3-4e71-b6aa-f2edd6441cff" providerId="ADAL" clId="{FFB5BFD2-246A-034F-B635-DE62B5FCF3A6}" dt="2023-05-27T07:51:58.452" v="279"/>
          <ac:grpSpMkLst>
            <pc:docMk/>
            <pc:sldMk cId="565897562" sldId="313"/>
            <ac:grpSpMk id="17" creationId="{CC5412BA-E77C-D432-CE7C-C56DE72AEFE8}"/>
          </ac:grpSpMkLst>
        </pc:grpChg>
        <pc:grpChg chg="del mod">
          <ac:chgData name="Aniket Chhabra" userId="598e0514-bef3-4e71-b6aa-f2edd6441cff" providerId="ADAL" clId="{FFB5BFD2-246A-034F-B635-DE62B5FCF3A6}" dt="2023-05-27T07:51:54.558" v="275"/>
          <ac:grpSpMkLst>
            <pc:docMk/>
            <pc:sldMk cId="565897562" sldId="313"/>
            <ac:grpSpMk id="18" creationId="{86FB3C0F-6394-3383-130C-9EB5C3964621}"/>
          </ac:grpSpMkLst>
        </pc:grpChg>
        <pc:grpChg chg="del mod">
          <ac:chgData name="Aniket Chhabra" userId="598e0514-bef3-4e71-b6aa-f2edd6441cff" providerId="ADAL" clId="{FFB5BFD2-246A-034F-B635-DE62B5FCF3A6}" dt="2023-05-27T07:51:55.358" v="277"/>
          <ac:grpSpMkLst>
            <pc:docMk/>
            <pc:sldMk cId="565897562" sldId="313"/>
            <ac:grpSpMk id="20" creationId="{DA18026B-5A76-8CC2-B97A-816384A3C8E1}"/>
          </ac:grpSpMkLst>
        </pc:grpChg>
        <pc:grpChg chg="del mod">
          <ac:chgData name="Aniket Chhabra" userId="598e0514-bef3-4e71-b6aa-f2edd6441cff" providerId="ADAL" clId="{FFB5BFD2-246A-034F-B635-DE62B5FCF3A6}" dt="2023-05-27T07:51:58.452" v="279"/>
          <ac:grpSpMkLst>
            <pc:docMk/>
            <pc:sldMk cId="565897562" sldId="313"/>
            <ac:grpSpMk id="22" creationId="{449173E9-D12D-221B-3302-EC18A4D392FB}"/>
          </ac:grpSpMkLst>
        </pc:grpChg>
        <pc:grpChg chg="del mod">
          <ac:chgData name="Aniket Chhabra" userId="598e0514-bef3-4e71-b6aa-f2edd6441cff" providerId="ADAL" clId="{FFB5BFD2-246A-034F-B635-DE62B5FCF3A6}" dt="2023-05-27T07:52:03.316" v="286"/>
          <ac:grpSpMkLst>
            <pc:docMk/>
            <pc:sldMk cId="565897562" sldId="313"/>
            <ac:grpSpMk id="24" creationId="{37AB6B29-FBDB-18BF-562C-FBFD0178F50C}"/>
          </ac:grpSpMkLst>
        </pc:grpChg>
        <pc:grpChg chg="del mod">
          <ac:chgData name="Aniket Chhabra" userId="598e0514-bef3-4e71-b6aa-f2edd6441cff" providerId="ADAL" clId="{FFB5BFD2-246A-034F-B635-DE62B5FCF3A6}" dt="2023-05-27T07:52:04.386" v="288"/>
          <ac:grpSpMkLst>
            <pc:docMk/>
            <pc:sldMk cId="565897562" sldId="313"/>
            <ac:grpSpMk id="31" creationId="{211C0EBE-C0C3-0FB8-3B2A-64DB9CD92E29}"/>
          </ac:grpSpMkLst>
        </pc:grpChg>
        <pc:grpChg chg="del mod">
          <ac:chgData name="Aniket Chhabra" userId="598e0514-bef3-4e71-b6aa-f2edd6441cff" providerId="ADAL" clId="{FFB5BFD2-246A-034F-B635-DE62B5FCF3A6}" dt="2023-05-27T07:52:06.366" v="291"/>
          <ac:grpSpMkLst>
            <pc:docMk/>
            <pc:sldMk cId="565897562" sldId="313"/>
            <ac:grpSpMk id="33" creationId="{984A06C2-ABF6-A020-524B-940C359E589B}"/>
          </ac:grpSpMkLst>
        </pc:grpChg>
        <pc:grpChg chg="del mod">
          <ac:chgData name="Aniket Chhabra" userId="598e0514-bef3-4e71-b6aa-f2edd6441cff" providerId="ADAL" clId="{FFB5BFD2-246A-034F-B635-DE62B5FCF3A6}" dt="2023-05-27T07:52:12.027" v="302"/>
          <ac:grpSpMkLst>
            <pc:docMk/>
            <pc:sldMk cId="565897562" sldId="313"/>
            <ac:grpSpMk id="36" creationId="{5317BA5E-E502-CEBF-C47E-01DED56CBD2C}"/>
          </ac:grpSpMkLst>
        </pc:grpChg>
        <pc:grpChg chg="del mod">
          <ac:chgData name="Aniket Chhabra" userId="598e0514-bef3-4e71-b6aa-f2edd6441cff" providerId="ADAL" clId="{FFB5BFD2-246A-034F-B635-DE62B5FCF3A6}" dt="2023-05-27T07:52:28.813" v="336"/>
          <ac:grpSpMkLst>
            <pc:docMk/>
            <pc:sldMk cId="565897562" sldId="313"/>
            <ac:grpSpMk id="47" creationId="{725998EC-3C70-7A20-34F3-C56CC9D0D557}"/>
          </ac:grpSpMkLst>
        </pc:grpChg>
        <pc:grpChg chg="del mod">
          <ac:chgData name="Aniket Chhabra" userId="598e0514-bef3-4e71-b6aa-f2edd6441cff" providerId="ADAL" clId="{FFB5BFD2-246A-034F-B635-DE62B5FCF3A6}" dt="2023-05-27T07:52:22.397" v="330"/>
          <ac:grpSpMkLst>
            <pc:docMk/>
            <pc:sldMk cId="565897562" sldId="313"/>
            <ac:grpSpMk id="60" creationId="{E974EBCB-33A9-F013-F246-4B7AAAE5B1EA}"/>
          </ac:grpSpMkLst>
        </pc:grpChg>
        <pc:grpChg chg="del mod">
          <ac:chgData name="Aniket Chhabra" userId="598e0514-bef3-4e71-b6aa-f2edd6441cff" providerId="ADAL" clId="{FFB5BFD2-246A-034F-B635-DE62B5FCF3A6}" dt="2023-05-27T07:52:23.917" v="334"/>
          <ac:grpSpMkLst>
            <pc:docMk/>
            <pc:sldMk cId="565897562" sldId="313"/>
            <ac:grpSpMk id="75" creationId="{63F2A9E4-E69B-E821-9FEE-014E36B2D4A2}"/>
          </ac:grpSpMkLst>
        </pc:grpChg>
        <pc:grpChg chg="mod">
          <ac:chgData name="Aniket Chhabra" userId="598e0514-bef3-4e71-b6aa-f2edd6441cff" providerId="ADAL" clId="{FFB5BFD2-246A-034F-B635-DE62B5FCF3A6}" dt="2023-05-27T07:52:23.917" v="334"/>
          <ac:grpSpMkLst>
            <pc:docMk/>
            <pc:sldMk cId="565897562" sldId="313"/>
            <ac:grpSpMk id="79" creationId="{6A29745C-B631-88CB-CFCA-2791586D8BDB}"/>
          </ac:grpSpMkLst>
        </pc:grpChg>
        <pc:grpChg chg="del mod">
          <ac:chgData name="Aniket Chhabra" userId="598e0514-bef3-4e71-b6aa-f2edd6441cff" providerId="ADAL" clId="{FFB5BFD2-246A-034F-B635-DE62B5FCF3A6}" dt="2023-05-27T07:52:35.142" v="347"/>
          <ac:grpSpMkLst>
            <pc:docMk/>
            <pc:sldMk cId="565897562" sldId="313"/>
            <ac:grpSpMk id="81" creationId="{AE987F6C-28A2-8A73-0AAA-47C48697CBC3}"/>
          </ac:grpSpMkLst>
        </pc:grpChg>
        <pc:grpChg chg="del mod">
          <ac:chgData name="Aniket Chhabra" userId="598e0514-bef3-4e71-b6aa-f2edd6441cff" providerId="ADAL" clId="{FFB5BFD2-246A-034F-B635-DE62B5FCF3A6}" dt="2023-05-27T07:52:38.782" v="359"/>
          <ac:grpSpMkLst>
            <pc:docMk/>
            <pc:sldMk cId="565897562" sldId="313"/>
            <ac:grpSpMk id="92" creationId="{C474C9D3-3B23-1CBE-447A-F93CC5E7B679}"/>
          </ac:grpSpMkLst>
        </pc:grpChg>
        <pc:grpChg chg="del mod">
          <ac:chgData name="Aniket Chhabra" userId="598e0514-bef3-4e71-b6aa-f2edd6441cff" providerId="ADAL" clId="{FFB5BFD2-246A-034F-B635-DE62B5FCF3A6}" dt="2023-05-27T07:52:42.576" v="370"/>
          <ac:grpSpMkLst>
            <pc:docMk/>
            <pc:sldMk cId="565897562" sldId="313"/>
            <ac:grpSpMk id="104" creationId="{2828B869-88E3-D49C-B464-ECB74EC76D14}"/>
          </ac:grpSpMkLst>
        </pc:grpChg>
        <pc:grpChg chg="mod">
          <ac:chgData name="Aniket Chhabra" userId="598e0514-bef3-4e71-b6aa-f2edd6441cff" providerId="ADAL" clId="{FFB5BFD2-246A-034F-B635-DE62B5FCF3A6}" dt="2023-05-27T07:52:42.576" v="370"/>
          <ac:grpSpMkLst>
            <pc:docMk/>
            <pc:sldMk cId="565897562" sldId="313"/>
            <ac:grpSpMk id="115" creationId="{105EE988-7880-F0AE-8932-4E100FE5D906}"/>
          </ac:grpSpMkLst>
        </pc:grpChg>
        <pc:grpChg chg="del mod">
          <ac:chgData name="Aniket Chhabra" userId="598e0514-bef3-4e71-b6aa-f2edd6441cff" providerId="ADAL" clId="{FFB5BFD2-246A-034F-B635-DE62B5FCF3A6}" dt="2023-05-27T07:52:48.317" v="377"/>
          <ac:grpSpMkLst>
            <pc:docMk/>
            <pc:sldMk cId="565897562" sldId="313"/>
            <ac:grpSpMk id="122" creationId="{196AB608-D978-7657-16CE-951F300673AC}"/>
          </ac:grpSpMkLst>
        </pc:grpChg>
        <pc:grpChg chg="mod">
          <ac:chgData name="Aniket Chhabra" userId="598e0514-bef3-4e71-b6aa-f2edd6441cff" providerId="ADAL" clId="{FFB5BFD2-246A-034F-B635-DE62B5FCF3A6}" dt="2023-05-27T07:52:48.317" v="377"/>
          <ac:grpSpMkLst>
            <pc:docMk/>
            <pc:sldMk cId="565897562" sldId="313"/>
            <ac:grpSpMk id="123" creationId="{765CD1F5-C0C7-7CF2-E946-FFDD8013334F}"/>
          </ac:grpSpMkLst>
        </pc:grpChg>
        <pc:inkChg chg="add mod">
          <ac:chgData name="Aniket Chhabra" userId="598e0514-bef3-4e71-b6aa-f2edd6441cff" providerId="ADAL" clId="{FFB5BFD2-246A-034F-B635-DE62B5FCF3A6}" dt="2023-05-27T07:52:48.317" v="377"/>
          <ac:inkMkLst>
            <pc:docMk/>
            <pc:sldMk cId="565897562" sldId="313"/>
            <ac:inkMk id="4" creationId="{A089F813-2B9C-FAD0-AA39-45485FB0A98C}"/>
          </ac:inkMkLst>
        </pc:inkChg>
        <pc:inkChg chg="add mod">
          <ac:chgData name="Aniket Chhabra" userId="598e0514-bef3-4e71-b6aa-f2edd6441cff" providerId="ADAL" clId="{FFB5BFD2-246A-034F-B635-DE62B5FCF3A6}" dt="2023-05-27T07:52:48.317" v="377"/>
          <ac:inkMkLst>
            <pc:docMk/>
            <pc:sldMk cId="565897562" sldId="313"/>
            <ac:inkMk id="5" creationId="{46744998-45A9-0C71-B8C6-29FCDF613674}"/>
          </ac:inkMkLst>
        </pc:inkChg>
        <pc:inkChg chg="add mod">
          <ac:chgData name="Aniket Chhabra" userId="598e0514-bef3-4e71-b6aa-f2edd6441cff" providerId="ADAL" clId="{FFB5BFD2-246A-034F-B635-DE62B5FCF3A6}" dt="2023-05-27T07:52:48.317" v="377"/>
          <ac:inkMkLst>
            <pc:docMk/>
            <pc:sldMk cId="565897562" sldId="313"/>
            <ac:inkMk id="6" creationId="{CAEA4636-41AE-80E9-F67A-5985F896B9BA}"/>
          </ac:inkMkLst>
        </pc:inkChg>
        <pc:inkChg chg="add mod">
          <ac:chgData name="Aniket Chhabra" userId="598e0514-bef3-4e71-b6aa-f2edd6441cff" providerId="ADAL" clId="{FFB5BFD2-246A-034F-B635-DE62B5FCF3A6}" dt="2023-05-27T07:52:48.317" v="377"/>
          <ac:inkMkLst>
            <pc:docMk/>
            <pc:sldMk cId="565897562" sldId="313"/>
            <ac:inkMk id="7" creationId="{B01FC86F-154A-F510-44BA-509DCF6DD88E}"/>
          </ac:inkMkLst>
        </pc:inkChg>
        <pc:inkChg chg="add mod">
          <ac:chgData name="Aniket Chhabra" userId="598e0514-bef3-4e71-b6aa-f2edd6441cff" providerId="ADAL" clId="{FFB5BFD2-246A-034F-B635-DE62B5FCF3A6}" dt="2023-05-27T07:52:48.317" v="377"/>
          <ac:inkMkLst>
            <pc:docMk/>
            <pc:sldMk cId="565897562" sldId="313"/>
            <ac:inkMk id="8" creationId="{27391AD9-B91A-D4A5-3EE0-5AD70E5E951E}"/>
          </ac:inkMkLst>
        </pc:inkChg>
        <pc:inkChg chg="add mod">
          <ac:chgData name="Aniket Chhabra" userId="598e0514-bef3-4e71-b6aa-f2edd6441cff" providerId="ADAL" clId="{FFB5BFD2-246A-034F-B635-DE62B5FCF3A6}" dt="2023-05-27T07:52:48.317" v="377"/>
          <ac:inkMkLst>
            <pc:docMk/>
            <pc:sldMk cId="565897562" sldId="313"/>
            <ac:inkMk id="9" creationId="{9C9C4266-4E8C-7FFD-C79C-52C9CA136F1B}"/>
          </ac:inkMkLst>
        </pc:inkChg>
        <pc:inkChg chg="add mod">
          <ac:chgData name="Aniket Chhabra" userId="598e0514-bef3-4e71-b6aa-f2edd6441cff" providerId="ADAL" clId="{FFB5BFD2-246A-034F-B635-DE62B5FCF3A6}" dt="2023-05-27T07:52:48.317" v="377"/>
          <ac:inkMkLst>
            <pc:docMk/>
            <pc:sldMk cId="565897562" sldId="313"/>
            <ac:inkMk id="10" creationId="{CFC62652-DC3D-79D6-4A02-A1EB130ABB29}"/>
          </ac:inkMkLst>
        </pc:inkChg>
        <pc:inkChg chg="add mod">
          <ac:chgData name="Aniket Chhabra" userId="598e0514-bef3-4e71-b6aa-f2edd6441cff" providerId="ADAL" clId="{FFB5BFD2-246A-034F-B635-DE62B5FCF3A6}" dt="2023-05-27T07:52:48.317" v="377"/>
          <ac:inkMkLst>
            <pc:docMk/>
            <pc:sldMk cId="565897562" sldId="313"/>
            <ac:inkMk id="11" creationId="{B58D1516-EC7F-BDB7-DC9F-BA5973625C73}"/>
          </ac:inkMkLst>
        </pc:inkChg>
        <pc:inkChg chg="add mod">
          <ac:chgData name="Aniket Chhabra" userId="598e0514-bef3-4e71-b6aa-f2edd6441cff" providerId="ADAL" clId="{FFB5BFD2-246A-034F-B635-DE62B5FCF3A6}" dt="2023-05-27T07:52:48.317" v="377"/>
          <ac:inkMkLst>
            <pc:docMk/>
            <pc:sldMk cId="565897562" sldId="313"/>
            <ac:inkMk id="12" creationId="{55C48659-1399-5100-2691-CFA2A95FA050}"/>
          </ac:inkMkLst>
        </pc:inkChg>
        <pc:inkChg chg="add mod">
          <ac:chgData name="Aniket Chhabra" userId="598e0514-bef3-4e71-b6aa-f2edd6441cff" providerId="ADAL" clId="{FFB5BFD2-246A-034F-B635-DE62B5FCF3A6}" dt="2023-05-27T07:52:48.317" v="377"/>
          <ac:inkMkLst>
            <pc:docMk/>
            <pc:sldMk cId="565897562" sldId="313"/>
            <ac:inkMk id="13" creationId="{C496B963-83BE-5F6A-6480-0CAB6662D871}"/>
          </ac:inkMkLst>
        </pc:inkChg>
        <pc:inkChg chg="add mod">
          <ac:chgData name="Aniket Chhabra" userId="598e0514-bef3-4e71-b6aa-f2edd6441cff" providerId="ADAL" clId="{FFB5BFD2-246A-034F-B635-DE62B5FCF3A6}" dt="2023-05-27T07:52:48.317" v="377"/>
          <ac:inkMkLst>
            <pc:docMk/>
            <pc:sldMk cId="565897562" sldId="313"/>
            <ac:inkMk id="14" creationId="{1F27F800-7735-BD41-222B-F4E878BC531F}"/>
          </ac:inkMkLst>
        </pc:inkChg>
        <pc:inkChg chg="add mod">
          <ac:chgData name="Aniket Chhabra" userId="598e0514-bef3-4e71-b6aa-f2edd6441cff" providerId="ADAL" clId="{FFB5BFD2-246A-034F-B635-DE62B5FCF3A6}" dt="2023-05-27T07:52:48.317" v="377"/>
          <ac:inkMkLst>
            <pc:docMk/>
            <pc:sldMk cId="565897562" sldId="313"/>
            <ac:inkMk id="15" creationId="{DF2401FE-41D6-390F-5205-76B2AF893D22}"/>
          </ac:inkMkLst>
        </pc:inkChg>
        <pc:inkChg chg="add mod">
          <ac:chgData name="Aniket Chhabra" userId="598e0514-bef3-4e71-b6aa-f2edd6441cff" providerId="ADAL" clId="{FFB5BFD2-246A-034F-B635-DE62B5FCF3A6}" dt="2023-05-27T07:52:48.317" v="377"/>
          <ac:inkMkLst>
            <pc:docMk/>
            <pc:sldMk cId="565897562" sldId="313"/>
            <ac:inkMk id="19" creationId="{F283670A-27F8-D915-C59A-9E2ABB4CE973}"/>
          </ac:inkMkLst>
        </pc:inkChg>
        <pc:inkChg chg="add mod">
          <ac:chgData name="Aniket Chhabra" userId="598e0514-bef3-4e71-b6aa-f2edd6441cff" providerId="ADAL" clId="{FFB5BFD2-246A-034F-B635-DE62B5FCF3A6}" dt="2023-05-27T07:52:48.317" v="377"/>
          <ac:inkMkLst>
            <pc:docMk/>
            <pc:sldMk cId="565897562" sldId="313"/>
            <ac:inkMk id="21" creationId="{7DA51CC7-DDCA-269C-496B-68CAFDB5230F}"/>
          </ac:inkMkLst>
        </pc:inkChg>
        <pc:inkChg chg="add mod">
          <ac:chgData name="Aniket Chhabra" userId="598e0514-bef3-4e71-b6aa-f2edd6441cff" providerId="ADAL" clId="{FFB5BFD2-246A-034F-B635-DE62B5FCF3A6}" dt="2023-05-27T07:52:48.317" v="377"/>
          <ac:inkMkLst>
            <pc:docMk/>
            <pc:sldMk cId="565897562" sldId="313"/>
            <ac:inkMk id="23" creationId="{79B21238-1C37-25B5-801F-E90A88482E59}"/>
          </ac:inkMkLst>
        </pc:inkChg>
        <pc:inkChg chg="add mod">
          <ac:chgData name="Aniket Chhabra" userId="598e0514-bef3-4e71-b6aa-f2edd6441cff" providerId="ADAL" clId="{FFB5BFD2-246A-034F-B635-DE62B5FCF3A6}" dt="2023-05-27T07:52:48.317" v="377"/>
          <ac:inkMkLst>
            <pc:docMk/>
            <pc:sldMk cId="565897562" sldId="313"/>
            <ac:inkMk id="25" creationId="{B09E7C6C-8244-24DE-B4AF-2E59661811E4}"/>
          </ac:inkMkLst>
        </pc:inkChg>
        <pc:inkChg chg="add mod">
          <ac:chgData name="Aniket Chhabra" userId="598e0514-bef3-4e71-b6aa-f2edd6441cff" providerId="ADAL" clId="{FFB5BFD2-246A-034F-B635-DE62B5FCF3A6}" dt="2023-05-27T07:52:48.317" v="377"/>
          <ac:inkMkLst>
            <pc:docMk/>
            <pc:sldMk cId="565897562" sldId="313"/>
            <ac:inkMk id="26" creationId="{DD083825-E93B-E0D0-77A6-091DAB814891}"/>
          </ac:inkMkLst>
        </pc:inkChg>
        <pc:inkChg chg="add mod">
          <ac:chgData name="Aniket Chhabra" userId="598e0514-bef3-4e71-b6aa-f2edd6441cff" providerId="ADAL" clId="{FFB5BFD2-246A-034F-B635-DE62B5FCF3A6}" dt="2023-05-27T07:52:48.317" v="377"/>
          <ac:inkMkLst>
            <pc:docMk/>
            <pc:sldMk cId="565897562" sldId="313"/>
            <ac:inkMk id="27" creationId="{F3BBE5D7-9F9F-2519-0C91-6F462D316131}"/>
          </ac:inkMkLst>
        </pc:inkChg>
        <pc:inkChg chg="add mod">
          <ac:chgData name="Aniket Chhabra" userId="598e0514-bef3-4e71-b6aa-f2edd6441cff" providerId="ADAL" clId="{FFB5BFD2-246A-034F-B635-DE62B5FCF3A6}" dt="2023-05-27T07:52:48.317" v="377"/>
          <ac:inkMkLst>
            <pc:docMk/>
            <pc:sldMk cId="565897562" sldId="313"/>
            <ac:inkMk id="28" creationId="{59A408E0-570D-B175-4649-6F30BB9C2966}"/>
          </ac:inkMkLst>
        </pc:inkChg>
        <pc:inkChg chg="add mod">
          <ac:chgData name="Aniket Chhabra" userId="598e0514-bef3-4e71-b6aa-f2edd6441cff" providerId="ADAL" clId="{FFB5BFD2-246A-034F-B635-DE62B5FCF3A6}" dt="2023-05-27T07:52:48.317" v="377"/>
          <ac:inkMkLst>
            <pc:docMk/>
            <pc:sldMk cId="565897562" sldId="313"/>
            <ac:inkMk id="29" creationId="{86DAFE31-595F-FECE-23AE-FA9D865A1424}"/>
          </ac:inkMkLst>
        </pc:inkChg>
        <pc:inkChg chg="add mod">
          <ac:chgData name="Aniket Chhabra" userId="598e0514-bef3-4e71-b6aa-f2edd6441cff" providerId="ADAL" clId="{FFB5BFD2-246A-034F-B635-DE62B5FCF3A6}" dt="2023-05-27T07:52:48.317" v="377"/>
          <ac:inkMkLst>
            <pc:docMk/>
            <pc:sldMk cId="565897562" sldId="313"/>
            <ac:inkMk id="30" creationId="{29CA4753-CF70-407D-4045-C57EA85920C3}"/>
          </ac:inkMkLst>
        </pc:inkChg>
        <pc:inkChg chg="add mod">
          <ac:chgData name="Aniket Chhabra" userId="598e0514-bef3-4e71-b6aa-f2edd6441cff" providerId="ADAL" clId="{FFB5BFD2-246A-034F-B635-DE62B5FCF3A6}" dt="2023-05-27T07:52:48.317" v="377"/>
          <ac:inkMkLst>
            <pc:docMk/>
            <pc:sldMk cId="565897562" sldId="313"/>
            <ac:inkMk id="32" creationId="{53347D0C-CF08-FBDD-00C6-E37D94590006}"/>
          </ac:inkMkLst>
        </pc:inkChg>
        <pc:inkChg chg="add mod">
          <ac:chgData name="Aniket Chhabra" userId="598e0514-bef3-4e71-b6aa-f2edd6441cff" providerId="ADAL" clId="{FFB5BFD2-246A-034F-B635-DE62B5FCF3A6}" dt="2023-05-27T07:52:48.317" v="377"/>
          <ac:inkMkLst>
            <pc:docMk/>
            <pc:sldMk cId="565897562" sldId="313"/>
            <ac:inkMk id="34" creationId="{F1DC9F12-FDBB-8444-7B19-BE94F0CCE5B3}"/>
          </ac:inkMkLst>
        </pc:inkChg>
        <pc:inkChg chg="add mod">
          <ac:chgData name="Aniket Chhabra" userId="598e0514-bef3-4e71-b6aa-f2edd6441cff" providerId="ADAL" clId="{FFB5BFD2-246A-034F-B635-DE62B5FCF3A6}" dt="2023-05-27T07:52:48.317" v="377"/>
          <ac:inkMkLst>
            <pc:docMk/>
            <pc:sldMk cId="565897562" sldId="313"/>
            <ac:inkMk id="35" creationId="{B5892432-D42F-1C17-146B-3FB0E16F9D06}"/>
          </ac:inkMkLst>
        </pc:inkChg>
        <pc:inkChg chg="add mod">
          <ac:chgData name="Aniket Chhabra" userId="598e0514-bef3-4e71-b6aa-f2edd6441cff" providerId="ADAL" clId="{FFB5BFD2-246A-034F-B635-DE62B5FCF3A6}" dt="2023-05-27T07:52:48.317" v="377"/>
          <ac:inkMkLst>
            <pc:docMk/>
            <pc:sldMk cId="565897562" sldId="313"/>
            <ac:inkMk id="37" creationId="{ED536283-E602-C7B4-E091-B0BBF9A0617D}"/>
          </ac:inkMkLst>
        </pc:inkChg>
        <pc:inkChg chg="add mod">
          <ac:chgData name="Aniket Chhabra" userId="598e0514-bef3-4e71-b6aa-f2edd6441cff" providerId="ADAL" clId="{FFB5BFD2-246A-034F-B635-DE62B5FCF3A6}" dt="2023-05-27T07:52:48.317" v="377"/>
          <ac:inkMkLst>
            <pc:docMk/>
            <pc:sldMk cId="565897562" sldId="313"/>
            <ac:inkMk id="38" creationId="{B985D9AC-B335-1A50-57B3-F25FE716D025}"/>
          </ac:inkMkLst>
        </pc:inkChg>
        <pc:inkChg chg="add mod">
          <ac:chgData name="Aniket Chhabra" userId="598e0514-bef3-4e71-b6aa-f2edd6441cff" providerId="ADAL" clId="{FFB5BFD2-246A-034F-B635-DE62B5FCF3A6}" dt="2023-05-27T07:52:48.317" v="377"/>
          <ac:inkMkLst>
            <pc:docMk/>
            <pc:sldMk cId="565897562" sldId="313"/>
            <ac:inkMk id="39" creationId="{49A90C99-791D-13B7-3411-65371D572AA5}"/>
          </ac:inkMkLst>
        </pc:inkChg>
        <pc:inkChg chg="add mod">
          <ac:chgData name="Aniket Chhabra" userId="598e0514-bef3-4e71-b6aa-f2edd6441cff" providerId="ADAL" clId="{FFB5BFD2-246A-034F-B635-DE62B5FCF3A6}" dt="2023-05-27T07:52:48.317" v="377"/>
          <ac:inkMkLst>
            <pc:docMk/>
            <pc:sldMk cId="565897562" sldId="313"/>
            <ac:inkMk id="40" creationId="{120339B8-D6A8-629B-F944-70C4E16B58E3}"/>
          </ac:inkMkLst>
        </pc:inkChg>
        <pc:inkChg chg="add mod">
          <ac:chgData name="Aniket Chhabra" userId="598e0514-bef3-4e71-b6aa-f2edd6441cff" providerId="ADAL" clId="{FFB5BFD2-246A-034F-B635-DE62B5FCF3A6}" dt="2023-05-27T07:52:48.317" v="377"/>
          <ac:inkMkLst>
            <pc:docMk/>
            <pc:sldMk cId="565897562" sldId="313"/>
            <ac:inkMk id="41" creationId="{AD18B2B4-50CC-6E39-5C2A-A9BC9CFE27B7}"/>
          </ac:inkMkLst>
        </pc:inkChg>
        <pc:inkChg chg="add mod">
          <ac:chgData name="Aniket Chhabra" userId="598e0514-bef3-4e71-b6aa-f2edd6441cff" providerId="ADAL" clId="{FFB5BFD2-246A-034F-B635-DE62B5FCF3A6}" dt="2023-05-27T07:52:48.317" v="377"/>
          <ac:inkMkLst>
            <pc:docMk/>
            <pc:sldMk cId="565897562" sldId="313"/>
            <ac:inkMk id="42" creationId="{CACDA51B-ACC2-ADDE-FD58-8E3B2B6FEAC2}"/>
          </ac:inkMkLst>
        </pc:inkChg>
        <pc:inkChg chg="add mod">
          <ac:chgData name="Aniket Chhabra" userId="598e0514-bef3-4e71-b6aa-f2edd6441cff" providerId="ADAL" clId="{FFB5BFD2-246A-034F-B635-DE62B5FCF3A6}" dt="2023-05-27T07:52:48.317" v="377"/>
          <ac:inkMkLst>
            <pc:docMk/>
            <pc:sldMk cId="565897562" sldId="313"/>
            <ac:inkMk id="43" creationId="{17F3D57C-29B2-A8D3-2B13-CF17646CA751}"/>
          </ac:inkMkLst>
        </pc:inkChg>
        <pc:inkChg chg="add mod">
          <ac:chgData name="Aniket Chhabra" userId="598e0514-bef3-4e71-b6aa-f2edd6441cff" providerId="ADAL" clId="{FFB5BFD2-246A-034F-B635-DE62B5FCF3A6}" dt="2023-05-27T07:52:48.317" v="377"/>
          <ac:inkMkLst>
            <pc:docMk/>
            <pc:sldMk cId="565897562" sldId="313"/>
            <ac:inkMk id="44" creationId="{FB75BB20-C067-7897-EE01-A15CEF76C500}"/>
          </ac:inkMkLst>
        </pc:inkChg>
        <pc:inkChg chg="add mod">
          <ac:chgData name="Aniket Chhabra" userId="598e0514-bef3-4e71-b6aa-f2edd6441cff" providerId="ADAL" clId="{FFB5BFD2-246A-034F-B635-DE62B5FCF3A6}" dt="2023-05-27T07:52:48.317" v="377"/>
          <ac:inkMkLst>
            <pc:docMk/>
            <pc:sldMk cId="565897562" sldId="313"/>
            <ac:inkMk id="45" creationId="{9DBEFA3F-75AA-9B5F-0D61-09224AE248B7}"/>
          </ac:inkMkLst>
        </pc:inkChg>
        <pc:inkChg chg="add mod">
          <ac:chgData name="Aniket Chhabra" userId="598e0514-bef3-4e71-b6aa-f2edd6441cff" providerId="ADAL" clId="{FFB5BFD2-246A-034F-B635-DE62B5FCF3A6}" dt="2023-05-27T07:52:48.317" v="377"/>
          <ac:inkMkLst>
            <pc:docMk/>
            <pc:sldMk cId="565897562" sldId="313"/>
            <ac:inkMk id="46" creationId="{8840D4B9-9D95-8B07-0BC2-EAEC4F018B0C}"/>
          </ac:inkMkLst>
        </pc:inkChg>
        <pc:inkChg chg="add mod">
          <ac:chgData name="Aniket Chhabra" userId="598e0514-bef3-4e71-b6aa-f2edd6441cff" providerId="ADAL" clId="{FFB5BFD2-246A-034F-B635-DE62B5FCF3A6}" dt="2023-05-27T07:52:23.917" v="334"/>
          <ac:inkMkLst>
            <pc:docMk/>
            <pc:sldMk cId="565897562" sldId="313"/>
            <ac:inkMk id="48" creationId="{C13A8B42-7FED-B7C3-CCDE-B28AFEAA04B0}"/>
          </ac:inkMkLst>
        </pc:inkChg>
        <pc:inkChg chg="add mod">
          <ac:chgData name="Aniket Chhabra" userId="598e0514-bef3-4e71-b6aa-f2edd6441cff" providerId="ADAL" clId="{FFB5BFD2-246A-034F-B635-DE62B5FCF3A6}" dt="2023-05-27T07:52:23.917" v="334"/>
          <ac:inkMkLst>
            <pc:docMk/>
            <pc:sldMk cId="565897562" sldId="313"/>
            <ac:inkMk id="49" creationId="{73BCF9A0-9755-6C57-0188-901012C1EAB5}"/>
          </ac:inkMkLst>
        </pc:inkChg>
        <pc:inkChg chg="add mod">
          <ac:chgData name="Aniket Chhabra" userId="598e0514-bef3-4e71-b6aa-f2edd6441cff" providerId="ADAL" clId="{FFB5BFD2-246A-034F-B635-DE62B5FCF3A6}" dt="2023-05-27T07:52:23.917" v="334"/>
          <ac:inkMkLst>
            <pc:docMk/>
            <pc:sldMk cId="565897562" sldId="313"/>
            <ac:inkMk id="50" creationId="{479733EC-9240-0FA6-17A6-5EE2DDD2E2C5}"/>
          </ac:inkMkLst>
        </pc:inkChg>
        <pc:inkChg chg="add mod">
          <ac:chgData name="Aniket Chhabra" userId="598e0514-bef3-4e71-b6aa-f2edd6441cff" providerId="ADAL" clId="{FFB5BFD2-246A-034F-B635-DE62B5FCF3A6}" dt="2023-05-27T07:52:23.917" v="334"/>
          <ac:inkMkLst>
            <pc:docMk/>
            <pc:sldMk cId="565897562" sldId="313"/>
            <ac:inkMk id="51" creationId="{3C67198B-83FF-ABFE-07D8-BA9AC1160323}"/>
          </ac:inkMkLst>
        </pc:inkChg>
        <pc:inkChg chg="add mod">
          <ac:chgData name="Aniket Chhabra" userId="598e0514-bef3-4e71-b6aa-f2edd6441cff" providerId="ADAL" clId="{FFB5BFD2-246A-034F-B635-DE62B5FCF3A6}" dt="2023-05-27T07:52:23.917" v="334"/>
          <ac:inkMkLst>
            <pc:docMk/>
            <pc:sldMk cId="565897562" sldId="313"/>
            <ac:inkMk id="52" creationId="{221F3A93-7E70-6C47-E270-AD9BEB50BC1E}"/>
          </ac:inkMkLst>
        </pc:inkChg>
        <pc:inkChg chg="add mod">
          <ac:chgData name="Aniket Chhabra" userId="598e0514-bef3-4e71-b6aa-f2edd6441cff" providerId="ADAL" clId="{FFB5BFD2-246A-034F-B635-DE62B5FCF3A6}" dt="2023-05-27T07:52:23.917" v="334"/>
          <ac:inkMkLst>
            <pc:docMk/>
            <pc:sldMk cId="565897562" sldId="313"/>
            <ac:inkMk id="53" creationId="{FE0AA16B-B95B-9EFA-89EE-26508F2C3DEA}"/>
          </ac:inkMkLst>
        </pc:inkChg>
        <pc:inkChg chg="add mod">
          <ac:chgData name="Aniket Chhabra" userId="598e0514-bef3-4e71-b6aa-f2edd6441cff" providerId="ADAL" clId="{FFB5BFD2-246A-034F-B635-DE62B5FCF3A6}" dt="2023-05-27T07:52:23.917" v="334"/>
          <ac:inkMkLst>
            <pc:docMk/>
            <pc:sldMk cId="565897562" sldId="313"/>
            <ac:inkMk id="54" creationId="{1219A40D-8A48-7211-92E1-6C07D16E62A7}"/>
          </ac:inkMkLst>
        </pc:inkChg>
        <pc:inkChg chg="add mod">
          <ac:chgData name="Aniket Chhabra" userId="598e0514-bef3-4e71-b6aa-f2edd6441cff" providerId="ADAL" clId="{FFB5BFD2-246A-034F-B635-DE62B5FCF3A6}" dt="2023-05-27T07:52:23.917" v="334"/>
          <ac:inkMkLst>
            <pc:docMk/>
            <pc:sldMk cId="565897562" sldId="313"/>
            <ac:inkMk id="55" creationId="{6985D86D-DBBA-EA3E-F323-F807909B627C}"/>
          </ac:inkMkLst>
        </pc:inkChg>
        <pc:inkChg chg="add mod">
          <ac:chgData name="Aniket Chhabra" userId="598e0514-bef3-4e71-b6aa-f2edd6441cff" providerId="ADAL" clId="{FFB5BFD2-246A-034F-B635-DE62B5FCF3A6}" dt="2023-05-27T07:52:23.917" v="334"/>
          <ac:inkMkLst>
            <pc:docMk/>
            <pc:sldMk cId="565897562" sldId="313"/>
            <ac:inkMk id="56" creationId="{9E523973-DEE5-E964-2642-671CD744EC37}"/>
          </ac:inkMkLst>
        </pc:inkChg>
        <pc:inkChg chg="add mod">
          <ac:chgData name="Aniket Chhabra" userId="598e0514-bef3-4e71-b6aa-f2edd6441cff" providerId="ADAL" clId="{FFB5BFD2-246A-034F-B635-DE62B5FCF3A6}" dt="2023-05-27T07:52:23.917" v="334"/>
          <ac:inkMkLst>
            <pc:docMk/>
            <pc:sldMk cId="565897562" sldId="313"/>
            <ac:inkMk id="57" creationId="{06090BAF-147B-27F9-B363-DCA59A4E176D}"/>
          </ac:inkMkLst>
        </pc:inkChg>
        <pc:inkChg chg="add mod">
          <ac:chgData name="Aniket Chhabra" userId="598e0514-bef3-4e71-b6aa-f2edd6441cff" providerId="ADAL" clId="{FFB5BFD2-246A-034F-B635-DE62B5FCF3A6}" dt="2023-05-27T07:52:23.917" v="334"/>
          <ac:inkMkLst>
            <pc:docMk/>
            <pc:sldMk cId="565897562" sldId="313"/>
            <ac:inkMk id="58" creationId="{1240194F-D37E-28D2-A0DD-5C126E0E57B8}"/>
          </ac:inkMkLst>
        </pc:inkChg>
        <pc:inkChg chg="add mod">
          <ac:chgData name="Aniket Chhabra" userId="598e0514-bef3-4e71-b6aa-f2edd6441cff" providerId="ADAL" clId="{FFB5BFD2-246A-034F-B635-DE62B5FCF3A6}" dt="2023-05-27T07:52:23.917" v="334"/>
          <ac:inkMkLst>
            <pc:docMk/>
            <pc:sldMk cId="565897562" sldId="313"/>
            <ac:inkMk id="59" creationId="{675B72FF-9D61-8684-6D67-DB2092D73F72}"/>
          </ac:inkMkLst>
        </pc:inkChg>
        <pc:inkChg chg="add mod">
          <ac:chgData name="Aniket Chhabra" userId="598e0514-bef3-4e71-b6aa-f2edd6441cff" providerId="ADAL" clId="{FFB5BFD2-246A-034F-B635-DE62B5FCF3A6}" dt="2023-05-27T07:52:23.917" v="334"/>
          <ac:inkMkLst>
            <pc:docMk/>
            <pc:sldMk cId="565897562" sldId="313"/>
            <ac:inkMk id="61" creationId="{39833AD2-A279-F474-D334-DC9353A438AA}"/>
          </ac:inkMkLst>
        </pc:inkChg>
        <pc:inkChg chg="add mod">
          <ac:chgData name="Aniket Chhabra" userId="598e0514-bef3-4e71-b6aa-f2edd6441cff" providerId="ADAL" clId="{FFB5BFD2-246A-034F-B635-DE62B5FCF3A6}" dt="2023-05-27T07:52:23.917" v="334"/>
          <ac:inkMkLst>
            <pc:docMk/>
            <pc:sldMk cId="565897562" sldId="313"/>
            <ac:inkMk id="62" creationId="{E7A22AE5-8682-AA17-C451-11FC7E15425D}"/>
          </ac:inkMkLst>
        </pc:inkChg>
        <pc:inkChg chg="add mod">
          <ac:chgData name="Aniket Chhabra" userId="598e0514-bef3-4e71-b6aa-f2edd6441cff" providerId="ADAL" clId="{FFB5BFD2-246A-034F-B635-DE62B5FCF3A6}" dt="2023-05-27T07:52:23.917" v="334"/>
          <ac:inkMkLst>
            <pc:docMk/>
            <pc:sldMk cId="565897562" sldId="313"/>
            <ac:inkMk id="63" creationId="{5A04F14B-C831-8410-D549-35B0D85788C6}"/>
          </ac:inkMkLst>
        </pc:inkChg>
        <pc:inkChg chg="add mod">
          <ac:chgData name="Aniket Chhabra" userId="598e0514-bef3-4e71-b6aa-f2edd6441cff" providerId="ADAL" clId="{FFB5BFD2-246A-034F-B635-DE62B5FCF3A6}" dt="2023-05-27T07:52:23.917" v="334"/>
          <ac:inkMkLst>
            <pc:docMk/>
            <pc:sldMk cId="565897562" sldId="313"/>
            <ac:inkMk id="64" creationId="{7DD3EEB7-0A3C-FE9B-2EB0-32F5FAE81EC3}"/>
          </ac:inkMkLst>
        </pc:inkChg>
        <pc:inkChg chg="add mod">
          <ac:chgData name="Aniket Chhabra" userId="598e0514-bef3-4e71-b6aa-f2edd6441cff" providerId="ADAL" clId="{FFB5BFD2-246A-034F-B635-DE62B5FCF3A6}" dt="2023-05-27T07:52:23.917" v="334"/>
          <ac:inkMkLst>
            <pc:docMk/>
            <pc:sldMk cId="565897562" sldId="313"/>
            <ac:inkMk id="65" creationId="{6B1D8E21-B6D7-EE74-7A76-996DA8FDCE11}"/>
          </ac:inkMkLst>
        </pc:inkChg>
        <pc:inkChg chg="add mod">
          <ac:chgData name="Aniket Chhabra" userId="598e0514-bef3-4e71-b6aa-f2edd6441cff" providerId="ADAL" clId="{FFB5BFD2-246A-034F-B635-DE62B5FCF3A6}" dt="2023-05-27T07:52:23.917" v="334"/>
          <ac:inkMkLst>
            <pc:docMk/>
            <pc:sldMk cId="565897562" sldId="313"/>
            <ac:inkMk id="66" creationId="{143F2FA6-211D-9057-CBD9-74C5CA5DA0D9}"/>
          </ac:inkMkLst>
        </pc:inkChg>
        <pc:inkChg chg="add mod">
          <ac:chgData name="Aniket Chhabra" userId="598e0514-bef3-4e71-b6aa-f2edd6441cff" providerId="ADAL" clId="{FFB5BFD2-246A-034F-B635-DE62B5FCF3A6}" dt="2023-05-27T07:52:23.917" v="334"/>
          <ac:inkMkLst>
            <pc:docMk/>
            <pc:sldMk cId="565897562" sldId="313"/>
            <ac:inkMk id="67" creationId="{A2966C37-E8BA-BCD6-BD02-9F95CA873F5F}"/>
          </ac:inkMkLst>
        </pc:inkChg>
        <pc:inkChg chg="add mod">
          <ac:chgData name="Aniket Chhabra" userId="598e0514-bef3-4e71-b6aa-f2edd6441cff" providerId="ADAL" clId="{FFB5BFD2-246A-034F-B635-DE62B5FCF3A6}" dt="2023-05-27T07:52:23.917" v="334"/>
          <ac:inkMkLst>
            <pc:docMk/>
            <pc:sldMk cId="565897562" sldId="313"/>
            <ac:inkMk id="68" creationId="{FF9E0116-781A-36A0-9A92-4B69248E5779}"/>
          </ac:inkMkLst>
        </pc:inkChg>
        <pc:inkChg chg="add mod">
          <ac:chgData name="Aniket Chhabra" userId="598e0514-bef3-4e71-b6aa-f2edd6441cff" providerId="ADAL" clId="{FFB5BFD2-246A-034F-B635-DE62B5FCF3A6}" dt="2023-05-27T07:52:23.917" v="334"/>
          <ac:inkMkLst>
            <pc:docMk/>
            <pc:sldMk cId="565897562" sldId="313"/>
            <ac:inkMk id="69" creationId="{678254AD-3F64-58C0-3EE8-48D690EA72B9}"/>
          </ac:inkMkLst>
        </pc:inkChg>
        <pc:inkChg chg="add mod">
          <ac:chgData name="Aniket Chhabra" userId="598e0514-bef3-4e71-b6aa-f2edd6441cff" providerId="ADAL" clId="{FFB5BFD2-246A-034F-B635-DE62B5FCF3A6}" dt="2023-05-27T07:52:23.917" v="334"/>
          <ac:inkMkLst>
            <pc:docMk/>
            <pc:sldMk cId="565897562" sldId="313"/>
            <ac:inkMk id="70" creationId="{3C5080CB-D1B4-C363-ECFE-095C5E5F590F}"/>
          </ac:inkMkLst>
        </pc:inkChg>
        <pc:inkChg chg="add mod">
          <ac:chgData name="Aniket Chhabra" userId="598e0514-bef3-4e71-b6aa-f2edd6441cff" providerId="ADAL" clId="{FFB5BFD2-246A-034F-B635-DE62B5FCF3A6}" dt="2023-05-27T07:52:23.917" v="334"/>
          <ac:inkMkLst>
            <pc:docMk/>
            <pc:sldMk cId="565897562" sldId="313"/>
            <ac:inkMk id="71" creationId="{A69349AD-5C51-F130-FB8C-FBFB2A566570}"/>
          </ac:inkMkLst>
        </pc:inkChg>
        <pc:inkChg chg="add mod">
          <ac:chgData name="Aniket Chhabra" userId="598e0514-bef3-4e71-b6aa-f2edd6441cff" providerId="ADAL" clId="{FFB5BFD2-246A-034F-B635-DE62B5FCF3A6}" dt="2023-05-27T07:52:23.917" v="334"/>
          <ac:inkMkLst>
            <pc:docMk/>
            <pc:sldMk cId="565897562" sldId="313"/>
            <ac:inkMk id="72" creationId="{A67D6499-6B28-E57A-AAA2-276D279CB8C3}"/>
          </ac:inkMkLst>
        </pc:inkChg>
        <pc:inkChg chg="add mod">
          <ac:chgData name="Aniket Chhabra" userId="598e0514-bef3-4e71-b6aa-f2edd6441cff" providerId="ADAL" clId="{FFB5BFD2-246A-034F-B635-DE62B5FCF3A6}" dt="2023-05-27T07:52:23.917" v="334"/>
          <ac:inkMkLst>
            <pc:docMk/>
            <pc:sldMk cId="565897562" sldId="313"/>
            <ac:inkMk id="73" creationId="{F67CB1AE-DF4C-643F-7765-797C5EF5C779}"/>
          </ac:inkMkLst>
        </pc:inkChg>
        <pc:inkChg chg="add mod">
          <ac:chgData name="Aniket Chhabra" userId="598e0514-bef3-4e71-b6aa-f2edd6441cff" providerId="ADAL" clId="{FFB5BFD2-246A-034F-B635-DE62B5FCF3A6}" dt="2023-05-27T07:52:23.917" v="334"/>
          <ac:inkMkLst>
            <pc:docMk/>
            <pc:sldMk cId="565897562" sldId="313"/>
            <ac:inkMk id="74" creationId="{CD5AEE5C-D8E3-5F64-65E7-545D32049D77}"/>
          </ac:inkMkLst>
        </pc:inkChg>
        <pc:inkChg chg="add mod">
          <ac:chgData name="Aniket Chhabra" userId="598e0514-bef3-4e71-b6aa-f2edd6441cff" providerId="ADAL" clId="{FFB5BFD2-246A-034F-B635-DE62B5FCF3A6}" dt="2023-05-27T07:52:23.917" v="334"/>
          <ac:inkMkLst>
            <pc:docMk/>
            <pc:sldMk cId="565897562" sldId="313"/>
            <ac:inkMk id="76" creationId="{6640D406-1185-959F-CE34-6FA1ECE3E862}"/>
          </ac:inkMkLst>
        </pc:inkChg>
        <pc:inkChg chg="add mod">
          <ac:chgData name="Aniket Chhabra" userId="598e0514-bef3-4e71-b6aa-f2edd6441cff" providerId="ADAL" clId="{FFB5BFD2-246A-034F-B635-DE62B5FCF3A6}" dt="2023-05-27T07:52:23.917" v="334"/>
          <ac:inkMkLst>
            <pc:docMk/>
            <pc:sldMk cId="565897562" sldId="313"/>
            <ac:inkMk id="77" creationId="{3074C660-4B51-55B9-6398-BCA9F41C768D}"/>
          </ac:inkMkLst>
        </pc:inkChg>
        <pc:inkChg chg="add mod">
          <ac:chgData name="Aniket Chhabra" userId="598e0514-bef3-4e71-b6aa-f2edd6441cff" providerId="ADAL" clId="{FFB5BFD2-246A-034F-B635-DE62B5FCF3A6}" dt="2023-05-27T07:52:23.917" v="334"/>
          <ac:inkMkLst>
            <pc:docMk/>
            <pc:sldMk cId="565897562" sldId="313"/>
            <ac:inkMk id="78" creationId="{7B64EAE0-10DB-A7F8-DFD9-C96D7C209E01}"/>
          </ac:inkMkLst>
        </pc:inkChg>
        <pc:inkChg chg="add mod">
          <ac:chgData name="Aniket Chhabra" userId="598e0514-bef3-4e71-b6aa-f2edd6441cff" providerId="ADAL" clId="{FFB5BFD2-246A-034F-B635-DE62B5FCF3A6}" dt="2023-05-27T07:52:38.782" v="359"/>
          <ac:inkMkLst>
            <pc:docMk/>
            <pc:sldMk cId="565897562" sldId="313"/>
            <ac:inkMk id="80" creationId="{0C75CE93-B386-DC6F-C49D-3A33ED94A002}"/>
          </ac:inkMkLst>
        </pc:inkChg>
        <pc:inkChg chg="add mod">
          <ac:chgData name="Aniket Chhabra" userId="598e0514-bef3-4e71-b6aa-f2edd6441cff" providerId="ADAL" clId="{FFB5BFD2-246A-034F-B635-DE62B5FCF3A6}" dt="2023-05-27T07:52:42.576" v="370"/>
          <ac:inkMkLst>
            <pc:docMk/>
            <pc:sldMk cId="565897562" sldId="313"/>
            <ac:inkMk id="82" creationId="{14946CD3-969A-76B7-895C-A06AE3AE40BB}"/>
          </ac:inkMkLst>
        </pc:inkChg>
        <pc:inkChg chg="add mod">
          <ac:chgData name="Aniket Chhabra" userId="598e0514-bef3-4e71-b6aa-f2edd6441cff" providerId="ADAL" clId="{FFB5BFD2-246A-034F-B635-DE62B5FCF3A6}" dt="2023-05-27T07:52:42.576" v="370"/>
          <ac:inkMkLst>
            <pc:docMk/>
            <pc:sldMk cId="565897562" sldId="313"/>
            <ac:inkMk id="83" creationId="{A27039B3-9EE3-4755-C3E3-75013C04B4A4}"/>
          </ac:inkMkLst>
        </pc:inkChg>
        <pc:inkChg chg="add mod">
          <ac:chgData name="Aniket Chhabra" userId="598e0514-bef3-4e71-b6aa-f2edd6441cff" providerId="ADAL" clId="{FFB5BFD2-246A-034F-B635-DE62B5FCF3A6}" dt="2023-05-27T07:52:42.576" v="370"/>
          <ac:inkMkLst>
            <pc:docMk/>
            <pc:sldMk cId="565897562" sldId="313"/>
            <ac:inkMk id="84" creationId="{360FF052-2F52-7A7B-470D-DF122E66709E}"/>
          </ac:inkMkLst>
        </pc:inkChg>
        <pc:inkChg chg="add mod">
          <ac:chgData name="Aniket Chhabra" userId="598e0514-bef3-4e71-b6aa-f2edd6441cff" providerId="ADAL" clId="{FFB5BFD2-246A-034F-B635-DE62B5FCF3A6}" dt="2023-05-27T07:52:42.576" v="370"/>
          <ac:inkMkLst>
            <pc:docMk/>
            <pc:sldMk cId="565897562" sldId="313"/>
            <ac:inkMk id="85" creationId="{B0657176-8E73-0557-1218-9A8838F0D829}"/>
          </ac:inkMkLst>
        </pc:inkChg>
        <pc:inkChg chg="add mod">
          <ac:chgData name="Aniket Chhabra" userId="598e0514-bef3-4e71-b6aa-f2edd6441cff" providerId="ADAL" clId="{FFB5BFD2-246A-034F-B635-DE62B5FCF3A6}" dt="2023-05-27T07:52:42.576" v="370"/>
          <ac:inkMkLst>
            <pc:docMk/>
            <pc:sldMk cId="565897562" sldId="313"/>
            <ac:inkMk id="86" creationId="{39840809-2906-D9E1-3E93-CD77D96F89C9}"/>
          </ac:inkMkLst>
        </pc:inkChg>
        <pc:inkChg chg="add mod">
          <ac:chgData name="Aniket Chhabra" userId="598e0514-bef3-4e71-b6aa-f2edd6441cff" providerId="ADAL" clId="{FFB5BFD2-246A-034F-B635-DE62B5FCF3A6}" dt="2023-05-27T07:52:42.576" v="370"/>
          <ac:inkMkLst>
            <pc:docMk/>
            <pc:sldMk cId="565897562" sldId="313"/>
            <ac:inkMk id="87" creationId="{43254E74-C17D-8E06-6925-4A860527A203}"/>
          </ac:inkMkLst>
        </pc:inkChg>
        <pc:inkChg chg="add mod">
          <ac:chgData name="Aniket Chhabra" userId="598e0514-bef3-4e71-b6aa-f2edd6441cff" providerId="ADAL" clId="{FFB5BFD2-246A-034F-B635-DE62B5FCF3A6}" dt="2023-05-27T07:52:42.576" v="370"/>
          <ac:inkMkLst>
            <pc:docMk/>
            <pc:sldMk cId="565897562" sldId="313"/>
            <ac:inkMk id="88" creationId="{84504AFA-74EA-761A-9F0E-7E7DA2A40F53}"/>
          </ac:inkMkLst>
        </pc:inkChg>
        <pc:inkChg chg="add mod">
          <ac:chgData name="Aniket Chhabra" userId="598e0514-bef3-4e71-b6aa-f2edd6441cff" providerId="ADAL" clId="{FFB5BFD2-246A-034F-B635-DE62B5FCF3A6}" dt="2023-05-27T07:52:42.576" v="370"/>
          <ac:inkMkLst>
            <pc:docMk/>
            <pc:sldMk cId="565897562" sldId="313"/>
            <ac:inkMk id="89" creationId="{76B7D11B-9E6F-FE6C-B8DB-5E82EFFED29D}"/>
          </ac:inkMkLst>
        </pc:inkChg>
        <pc:inkChg chg="add mod">
          <ac:chgData name="Aniket Chhabra" userId="598e0514-bef3-4e71-b6aa-f2edd6441cff" providerId="ADAL" clId="{FFB5BFD2-246A-034F-B635-DE62B5FCF3A6}" dt="2023-05-27T07:52:42.576" v="370"/>
          <ac:inkMkLst>
            <pc:docMk/>
            <pc:sldMk cId="565897562" sldId="313"/>
            <ac:inkMk id="90" creationId="{590294C6-4298-FB82-92A0-95B0F1C8BAD0}"/>
          </ac:inkMkLst>
        </pc:inkChg>
        <pc:inkChg chg="add mod">
          <ac:chgData name="Aniket Chhabra" userId="598e0514-bef3-4e71-b6aa-f2edd6441cff" providerId="ADAL" clId="{FFB5BFD2-246A-034F-B635-DE62B5FCF3A6}" dt="2023-05-27T07:52:42.576" v="370"/>
          <ac:inkMkLst>
            <pc:docMk/>
            <pc:sldMk cId="565897562" sldId="313"/>
            <ac:inkMk id="91" creationId="{48C386F8-5B2A-2E26-A919-C2D75E1FB0FC}"/>
          </ac:inkMkLst>
        </pc:inkChg>
        <pc:inkChg chg="add mod">
          <ac:chgData name="Aniket Chhabra" userId="598e0514-bef3-4e71-b6aa-f2edd6441cff" providerId="ADAL" clId="{FFB5BFD2-246A-034F-B635-DE62B5FCF3A6}" dt="2023-05-27T07:52:42.576" v="370"/>
          <ac:inkMkLst>
            <pc:docMk/>
            <pc:sldMk cId="565897562" sldId="313"/>
            <ac:inkMk id="93" creationId="{A2119CB4-5FE0-A8C1-9F22-B1D890C4EB9F}"/>
          </ac:inkMkLst>
        </pc:inkChg>
        <pc:inkChg chg="add mod">
          <ac:chgData name="Aniket Chhabra" userId="598e0514-bef3-4e71-b6aa-f2edd6441cff" providerId="ADAL" clId="{FFB5BFD2-246A-034F-B635-DE62B5FCF3A6}" dt="2023-05-27T07:52:42.576" v="370"/>
          <ac:inkMkLst>
            <pc:docMk/>
            <pc:sldMk cId="565897562" sldId="313"/>
            <ac:inkMk id="94" creationId="{CC97618D-E312-50C2-D3F9-A6B3B4C3D4E0}"/>
          </ac:inkMkLst>
        </pc:inkChg>
        <pc:inkChg chg="add mod">
          <ac:chgData name="Aniket Chhabra" userId="598e0514-bef3-4e71-b6aa-f2edd6441cff" providerId="ADAL" clId="{FFB5BFD2-246A-034F-B635-DE62B5FCF3A6}" dt="2023-05-27T07:52:42.576" v="370"/>
          <ac:inkMkLst>
            <pc:docMk/>
            <pc:sldMk cId="565897562" sldId="313"/>
            <ac:inkMk id="95" creationId="{7CC9B16A-3F6F-2854-B352-C59EB195F2FB}"/>
          </ac:inkMkLst>
        </pc:inkChg>
        <pc:inkChg chg="add mod">
          <ac:chgData name="Aniket Chhabra" userId="598e0514-bef3-4e71-b6aa-f2edd6441cff" providerId="ADAL" clId="{FFB5BFD2-246A-034F-B635-DE62B5FCF3A6}" dt="2023-05-27T07:52:42.576" v="370"/>
          <ac:inkMkLst>
            <pc:docMk/>
            <pc:sldMk cId="565897562" sldId="313"/>
            <ac:inkMk id="96" creationId="{08276B6D-69CB-B90A-FCFE-050A76F6F1C7}"/>
          </ac:inkMkLst>
        </pc:inkChg>
        <pc:inkChg chg="add mod">
          <ac:chgData name="Aniket Chhabra" userId="598e0514-bef3-4e71-b6aa-f2edd6441cff" providerId="ADAL" clId="{FFB5BFD2-246A-034F-B635-DE62B5FCF3A6}" dt="2023-05-27T07:52:42.576" v="370"/>
          <ac:inkMkLst>
            <pc:docMk/>
            <pc:sldMk cId="565897562" sldId="313"/>
            <ac:inkMk id="97" creationId="{04B4CAA0-47F6-C981-3620-50F534C306A5}"/>
          </ac:inkMkLst>
        </pc:inkChg>
        <pc:inkChg chg="add mod">
          <ac:chgData name="Aniket Chhabra" userId="598e0514-bef3-4e71-b6aa-f2edd6441cff" providerId="ADAL" clId="{FFB5BFD2-246A-034F-B635-DE62B5FCF3A6}" dt="2023-05-27T07:52:42.576" v="370"/>
          <ac:inkMkLst>
            <pc:docMk/>
            <pc:sldMk cId="565897562" sldId="313"/>
            <ac:inkMk id="98" creationId="{D136A39E-D45C-B502-1FD9-F25D39C387CC}"/>
          </ac:inkMkLst>
        </pc:inkChg>
        <pc:inkChg chg="add mod">
          <ac:chgData name="Aniket Chhabra" userId="598e0514-bef3-4e71-b6aa-f2edd6441cff" providerId="ADAL" clId="{FFB5BFD2-246A-034F-B635-DE62B5FCF3A6}" dt="2023-05-27T07:52:42.576" v="370"/>
          <ac:inkMkLst>
            <pc:docMk/>
            <pc:sldMk cId="565897562" sldId="313"/>
            <ac:inkMk id="99" creationId="{16A3D7BF-FB71-BC0D-C8D6-67A78DD04C29}"/>
          </ac:inkMkLst>
        </pc:inkChg>
        <pc:inkChg chg="add mod">
          <ac:chgData name="Aniket Chhabra" userId="598e0514-bef3-4e71-b6aa-f2edd6441cff" providerId="ADAL" clId="{FFB5BFD2-246A-034F-B635-DE62B5FCF3A6}" dt="2023-05-27T07:52:42.576" v="370"/>
          <ac:inkMkLst>
            <pc:docMk/>
            <pc:sldMk cId="565897562" sldId="313"/>
            <ac:inkMk id="100" creationId="{F4815D15-C63C-57FE-08E6-922516DD59C9}"/>
          </ac:inkMkLst>
        </pc:inkChg>
        <pc:inkChg chg="add mod">
          <ac:chgData name="Aniket Chhabra" userId="598e0514-bef3-4e71-b6aa-f2edd6441cff" providerId="ADAL" clId="{FFB5BFD2-246A-034F-B635-DE62B5FCF3A6}" dt="2023-05-27T07:52:42.576" v="370"/>
          <ac:inkMkLst>
            <pc:docMk/>
            <pc:sldMk cId="565897562" sldId="313"/>
            <ac:inkMk id="101" creationId="{68E19C76-90E6-47BE-83BD-2C03F5EC1339}"/>
          </ac:inkMkLst>
        </pc:inkChg>
        <pc:inkChg chg="add mod">
          <ac:chgData name="Aniket Chhabra" userId="598e0514-bef3-4e71-b6aa-f2edd6441cff" providerId="ADAL" clId="{FFB5BFD2-246A-034F-B635-DE62B5FCF3A6}" dt="2023-05-27T07:52:42.576" v="370"/>
          <ac:inkMkLst>
            <pc:docMk/>
            <pc:sldMk cId="565897562" sldId="313"/>
            <ac:inkMk id="102" creationId="{E5C85562-AE39-4FC4-D499-D3E1137A08DD}"/>
          </ac:inkMkLst>
        </pc:inkChg>
        <pc:inkChg chg="add mod">
          <ac:chgData name="Aniket Chhabra" userId="598e0514-bef3-4e71-b6aa-f2edd6441cff" providerId="ADAL" clId="{FFB5BFD2-246A-034F-B635-DE62B5FCF3A6}" dt="2023-05-27T07:52:42.576" v="370"/>
          <ac:inkMkLst>
            <pc:docMk/>
            <pc:sldMk cId="565897562" sldId="313"/>
            <ac:inkMk id="103" creationId="{B1B8351C-A74A-5560-B643-0D429A4C1EFE}"/>
          </ac:inkMkLst>
        </pc:inkChg>
        <pc:inkChg chg="add mod">
          <ac:chgData name="Aniket Chhabra" userId="598e0514-bef3-4e71-b6aa-f2edd6441cff" providerId="ADAL" clId="{FFB5BFD2-246A-034F-B635-DE62B5FCF3A6}" dt="2023-05-27T07:52:42.576" v="370"/>
          <ac:inkMkLst>
            <pc:docMk/>
            <pc:sldMk cId="565897562" sldId="313"/>
            <ac:inkMk id="105" creationId="{F7F9D09E-3D95-62AF-0C8B-F85530DE0D65}"/>
          </ac:inkMkLst>
        </pc:inkChg>
        <pc:inkChg chg="add mod">
          <ac:chgData name="Aniket Chhabra" userId="598e0514-bef3-4e71-b6aa-f2edd6441cff" providerId="ADAL" clId="{FFB5BFD2-246A-034F-B635-DE62B5FCF3A6}" dt="2023-05-27T07:52:42.576" v="370"/>
          <ac:inkMkLst>
            <pc:docMk/>
            <pc:sldMk cId="565897562" sldId="313"/>
            <ac:inkMk id="106" creationId="{A8B871C6-D9C2-2E31-BFF7-955AD0677ABE}"/>
          </ac:inkMkLst>
        </pc:inkChg>
        <pc:inkChg chg="add mod">
          <ac:chgData name="Aniket Chhabra" userId="598e0514-bef3-4e71-b6aa-f2edd6441cff" providerId="ADAL" clId="{FFB5BFD2-246A-034F-B635-DE62B5FCF3A6}" dt="2023-05-27T07:52:42.576" v="370"/>
          <ac:inkMkLst>
            <pc:docMk/>
            <pc:sldMk cId="565897562" sldId="313"/>
            <ac:inkMk id="107" creationId="{21359D19-6445-29A4-9D9A-8739879B75CC}"/>
          </ac:inkMkLst>
        </pc:inkChg>
        <pc:inkChg chg="add mod">
          <ac:chgData name="Aniket Chhabra" userId="598e0514-bef3-4e71-b6aa-f2edd6441cff" providerId="ADAL" clId="{FFB5BFD2-246A-034F-B635-DE62B5FCF3A6}" dt="2023-05-27T07:52:42.576" v="370"/>
          <ac:inkMkLst>
            <pc:docMk/>
            <pc:sldMk cId="565897562" sldId="313"/>
            <ac:inkMk id="108" creationId="{F633F4C3-D794-08C5-8332-1BAB816D051F}"/>
          </ac:inkMkLst>
        </pc:inkChg>
        <pc:inkChg chg="add mod">
          <ac:chgData name="Aniket Chhabra" userId="598e0514-bef3-4e71-b6aa-f2edd6441cff" providerId="ADAL" clId="{FFB5BFD2-246A-034F-B635-DE62B5FCF3A6}" dt="2023-05-27T07:52:42.576" v="370"/>
          <ac:inkMkLst>
            <pc:docMk/>
            <pc:sldMk cId="565897562" sldId="313"/>
            <ac:inkMk id="109" creationId="{4605B184-231D-0E0B-23C1-9D9A4DA20191}"/>
          </ac:inkMkLst>
        </pc:inkChg>
        <pc:inkChg chg="add mod">
          <ac:chgData name="Aniket Chhabra" userId="598e0514-bef3-4e71-b6aa-f2edd6441cff" providerId="ADAL" clId="{FFB5BFD2-246A-034F-B635-DE62B5FCF3A6}" dt="2023-05-27T07:52:42.576" v="370"/>
          <ac:inkMkLst>
            <pc:docMk/>
            <pc:sldMk cId="565897562" sldId="313"/>
            <ac:inkMk id="110" creationId="{A7FC9C38-4FC7-BB34-C3E2-8E9CC6862E5C}"/>
          </ac:inkMkLst>
        </pc:inkChg>
        <pc:inkChg chg="add mod">
          <ac:chgData name="Aniket Chhabra" userId="598e0514-bef3-4e71-b6aa-f2edd6441cff" providerId="ADAL" clId="{FFB5BFD2-246A-034F-B635-DE62B5FCF3A6}" dt="2023-05-27T07:52:42.576" v="370"/>
          <ac:inkMkLst>
            <pc:docMk/>
            <pc:sldMk cId="565897562" sldId="313"/>
            <ac:inkMk id="111" creationId="{773C3456-8404-C272-96FF-B42287DE1726}"/>
          </ac:inkMkLst>
        </pc:inkChg>
        <pc:inkChg chg="add mod">
          <ac:chgData name="Aniket Chhabra" userId="598e0514-bef3-4e71-b6aa-f2edd6441cff" providerId="ADAL" clId="{FFB5BFD2-246A-034F-B635-DE62B5FCF3A6}" dt="2023-05-27T07:52:42.576" v="370"/>
          <ac:inkMkLst>
            <pc:docMk/>
            <pc:sldMk cId="565897562" sldId="313"/>
            <ac:inkMk id="112" creationId="{B76C5C99-B73A-D553-1358-14D3CB811CB6}"/>
          </ac:inkMkLst>
        </pc:inkChg>
        <pc:inkChg chg="add mod">
          <ac:chgData name="Aniket Chhabra" userId="598e0514-bef3-4e71-b6aa-f2edd6441cff" providerId="ADAL" clId="{FFB5BFD2-246A-034F-B635-DE62B5FCF3A6}" dt="2023-05-27T07:52:42.576" v="370"/>
          <ac:inkMkLst>
            <pc:docMk/>
            <pc:sldMk cId="565897562" sldId="313"/>
            <ac:inkMk id="113" creationId="{B0CD3DF8-A254-ED65-5320-2ED61A46910D}"/>
          </ac:inkMkLst>
        </pc:inkChg>
        <pc:inkChg chg="add mod">
          <ac:chgData name="Aniket Chhabra" userId="598e0514-bef3-4e71-b6aa-f2edd6441cff" providerId="ADAL" clId="{FFB5BFD2-246A-034F-B635-DE62B5FCF3A6}" dt="2023-05-27T07:52:42.576" v="370"/>
          <ac:inkMkLst>
            <pc:docMk/>
            <pc:sldMk cId="565897562" sldId="313"/>
            <ac:inkMk id="114" creationId="{1E45BA61-35B5-6EF9-B518-8F1CDBCF34F2}"/>
          </ac:inkMkLst>
        </pc:inkChg>
        <pc:inkChg chg="add mod">
          <ac:chgData name="Aniket Chhabra" userId="598e0514-bef3-4e71-b6aa-f2edd6441cff" providerId="ADAL" clId="{FFB5BFD2-246A-034F-B635-DE62B5FCF3A6}" dt="2023-05-27T07:52:48.317" v="377"/>
          <ac:inkMkLst>
            <pc:docMk/>
            <pc:sldMk cId="565897562" sldId="313"/>
            <ac:inkMk id="116" creationId="{905ECCF8-B65C-1F53-82EC-DB31AF80DCD8}"/>
          </ac:inkMkLst>
        </pc:inkChg>
        <pc:inkChg chg="add mod">
          <ac:chgData name="Aniket Chhabra" userId="598e0514-bef3-4e71-b6aa-f2edd6441cff" providerId="ADAL" clId="{FFB5BFD2-246A-034F-B635-DE62B5FCF3A6}" dt="2023-05-27T07:52:48.317" v="377"/>
          <ac:inkMkLst>
            <pc:docMk/>
            <pc:sldMk cId="565897562" sldId="313"/>
            <ac:inkMk id="117" creationId="{E6DC1373-3080-ACAD-38A3-066BF08F67BA}"/>
          </ac:inkMkLst>
        </pc:inkChg>
        <pc:inkChg chg="add mod">
          <ac:chgData name="Aniket Chhabra" userId="598e0514-bef3-4e71-b6aa-f2edd6441cff" providerId="ADAL" clId="{FFB5BFD2-246A-034F-B635-DE62B5FCF3A6}" dt="2023-05-27T07:52:48.317" v="377"/>
          <ac:inkMkLst>
            <pc:docMk/>
            <pc:sldMk cId="565897562" sldId="313"/>
            <ac:inkMk id="118" creationId="{67005480-1DC8-BFAB-E9F1-1797FBACC594}"/>
          </ac:inkMkLst>
        </pc:inkChg>
        <pc:inkChg chg="add mod">
          <ac:chgData name="Aniket Chhabra" userId="598e0514-bef3-4e71-b6aa-f2edd6441cff" providerId="ADAL" clId="{FFB5BFD2-246A-034F-B635-DE62B5FCF3A6}" dt="2023-05-27T07:52:48.317" v="377"/>
          <ac:inkMkLst>
            <pc:docMk/>
            <pc:sldMk cId="565897562" sldId="313"/>
            <ac:inkMk id="119" creationId="{6C0D39CA-6135-B940-C277-5482B2FE71A0}"/>
          </ac:inkMkLst>
        </pc:inkChg>
        <pc:inkChg chg="add mod">
          <ac:chgData name="Aniket Chhabra" userId="598e0514-bef3-4e71-b6aa-f2edd6441cff" providerId="ADAL" clId="{FFB5BFD2-246A-034F-B635-DE62B5FCF3A6}" dt="2023-05-27T07:52:48.317" v="377"/>
          <ac:inkMkLst>
            <pc:docMk/>
            <pc:sldMk cId="565897562" sldId="313"/>
            <ac:inkMk id="120" creationId="{3EA65B80-28E8-0D50-E8D5-B02C3F967C8C}"/>
          </ac:inkMkLst>
        </pc:inkChg>
        <pc:inkChg chg="add mod">
          <ac:chgData name="Aniket Chhabra" userId="598e0514-bef3-4e71-b6aa-f2edd6441cff" providerId="ADAL" clId="{FFB5BFD2-246A-034F-B635-DE62B5FCF3A6}" dt="2023-05-27T07:52:48.317" v="377"/>
          <ac:inkMkLst>
            <pc:docMk/>
            <pc:sldMk cId="565897562" sldId="313"/>
            <ac:inkMk id="121" creationId="{0D7C8536-53DB-A5FC-C6C9-7DA5B38F44BE}"/>
          </ac:inkMkLst>
        </pc:inkChg>
      </pc:sldChg>
      <pc:sldChg chg="addSp delSp modSp new del mod">
        <pc:chgData name="Aniket Chhabra" userId="598e0514-bef3-4e71-b6aa-f2edd6441cff" providerId="ADAL" clId="{FFB5BFD2-246A-034F-B635-DE62B5FCF3A6}" dt="2023-06-17T12:41:51.199" v="1598" actId="2696"/>
        <pc:sldMkLst>
          <pc:docMk/>
          <pc:sldMk cId="3198530772" sldId="313"/>
        </pc:sldMkLst>
        <pc:grpChg chg="del mod">
          <ac:chgData name="Aniket Chhabra" userId="598e0514-bef3-4e71-b6aa-f2edd6441cff" providerId="ADAL" clId="{FFB5BFD2-246A-034F-B635-DE62B5FCF3A6}" dt="2023-05-27T12:12:49.474" v="703"/>
          <ac:grpSpMkLst>
            <pc:docMk/>
            <pc:sldMk cId="3198530772" sldId="313"/>
            <ac:grpSpMk id="9" creationId="{6F7BE156-C0BB-F5DC-06AA-0537FCC652B5}"/>
          </ac:grpSpMkLst>
        </pc:grpChg>
        <pc:grpChg chg="del mod">
          <ac:chgData name="Aniket Chhabra" userId="598e0514-bef3-4e71-b6aa-f2edd6441cff" providerId="ADAL" clId="{FFB5BFD2-246A-034F-B635-DE62B5FCF3A6}" dt="2023-05-27T12:12:49.474" v="703"/>
          <ac:grpSpMkLst>
            <pc:docMk/>
            <pc:sldMk cId="3198530772" sldId="313"/>
            <ac:grpSpMk id="17" creationId="{D9E213C0-7465-E274-A032-FC4D0AE9AEEC}"/>
          </ac:grpSpMkLst>
        </pc:grpChg>
        <pc:grpChg chg="del mod">
          <ac:chgData name="Aniket Chhabra" userId="598e0514-bef3-4e71-b6aa-f2edd6441cff" providerId="ADAL" clId="{FFB5BFD2-246A-034F-B635-DE62B5FCF3A6}" dt="2023-05-27T12:12:28.277" v="674"/>
          <ac:grpSpMkLst>
            <pc:docMk/>
            <pc:sldMk cId="3198530772" sldId="313"/>
            <ac:grpSpMk id="36" creationId="{1960BE98-25B8-7897-098C-B4C5FFAF1F41}"/>
          </ac:grpSpMkLst>
        </pc:grpChg>
        <pc:grpChg chg="mod">
          <ac:chgData name="Aniket Chhabra" userId="598e0514-bef3-4e71-b6aa-f2edd6441cff" providerId="ADAL" clId="{FFB5BFD2-246A-034F-B635-DE62B5FCF3A6}" dt="2023-06-03T15:45:38.518" v="1456"/>
          <ac:grpSpMkLst>
            <pc:docMk/>
            <pc:sldMk cId="3198530772" sldId="313"/>
            <ac:grpSpMk id="36" creationId="{5AEB74DE-7DDA-4888-C6E9-0C88CE47DEBB}"/>
          </ac:grpSpMkLst>
        </pc:grpChg>
        <pc:grpChg chg="del mod">
          <ac:chgData name="Aniket Chhabra" userId="598e0514-bef3-4e71-b6aa-f2edd6441cff" providerId="ADAL" clId="{FFB5BFD2-246A-034F-B635-DE62B5FCF3A6}" dt="2023-05-27T12:13:03.869" v="723"/>
          <ac:grpSpMkLst>
            <pc:docMk/>
            <pc:sldMk cId="3198530772" sldId="313"/>
            <ac:grpSpMk id="37" creationId="{5A230938-C0CB-B0D6-09A1-541DC523AB94}"/>
          </ac:grpSpMkLst>
        </pc:grpChg>
        <pc:grpChg chg="del mod">
          <ac:chgData name="Aniket Chhabra" userId="598e0514-bef3-4e71-b6aa-f2edd6441cff" providerId="ADAL" clId="{FFB5BFD2-246A-034F-B635-DE62B5FCF3A6}" dt="2023-05-27T12:12:39.862" v="690"/>
          <ac:grpSpMkLst>
            <pc:docMk/>
            <pc:sldMk cId="3198530772" sldId="313"/>
            <ac:grpSpMk id="44" creationId="{F6D17907-E967-0D75-AE3E-11BD245F82DE}"/>
          </ac:grpSpMkLst>
        </pc:grpChg>
        <pc:grpChg chg="del mod">
          <ac:chgData name="Aniket Chhabra" userId="598e0514-bef3-4e71-b6aa-f2edd6441cff" providerId="ADAL" clId="{FFB5BFD2-246A-034F-B635-DE62B5FCF3A6}" dt="2023-05-27T12:12:39.862" v="690"/>
          <ac:grpSpMkLst>
            <pc:docMk/>
            <pc:sldMk cId="3198530772" sldId="313"/>
            <ac:grpSpMk id="53" creationId="{4C47544F-5988-B76B-3AA2-77C311782DD5}"/>
          </ac:grpSpMkLst>
        </pc:grpChg>
        <pc:grpChg chg="del mod">
          <ac:chgData name="Aniket Chhabra" userId="598e0514-bef3-4e71-b6aa-f2edd6441cff" providerId="ADAL" clId="{FFB5BFD2-246A-034F-B635-DE62B5FCF3A6}" dt="2023-05-27T12:13:06.180" v="726"/>
          <ac:grpSpMkLst>
            <pc:docMk/>
            <pc:sldMk cId="3198530772" sldId="313"/>
            <ac:grpSpMk id="54" creationId="{B36B632A-38EE-2C36-7434-96BD014E2F35}"/>
          </ac:grpSpMkLst>
        </pc:grpChg>
        <pc:grpChg chg="del mod">
          <ac:chgData name="Aniket Chhabra" userId="598e0514-bef3-4e71-b6aa-f2edd6441cff" providerId="ADAL" clId="{FFB5BFD2-246A-034F-B635-DE62B5FCF3A6}" dt="2023-06-03T15:45:59.959" v="1471"/>
          <ac:grpSpMkLst>
            <pc:docMk/>
            <pc:sldMk cId="3198530772" sldId="313"/>
            <ac:grpSpMk id="54" creationId="{F4CEB154-CBD3-A092-59A8-6F60CF5AADDB}"/>
          </ac:grpSpMkLst>
        </pc:grpChg>
        <pc:grpChg chg="del mod">
          <ac:chgData name="Aniket Chhabra" userId="598e0514-bef3-4e71-b6aa-f2edd6441cff" providerId="ADAL" clId="{FFB5BFD2-246A-034F-B635-DE62B5FCF3A6}" dt="2023-05-27T12:13:06.180" v="726"/>
          <ac:grpSpMkLst>
            <pc:docMk/>
            <pc:sldMk cId="3198530772" sldId="313"/>
            <ac:grpSpMk id="61" creationId="{D53CC68D-C946-AC3C-E233-CFEFD75C0CA8}"/>
          </ac:grpSpMkLst>
        </pc:grpChg>
        <pc:grpChg chg="del mod">
          <ac:chgData name="Aniket Chhabra" userId="598e0514-bef3-4e71-b6aa-f2edd6441cff" providerId="ADAL" clId="{FFB5BFD2-246A-034F-B635-DE62B5FCF3A6}" dt="2023-05-27T12:12:49.474" v="703"/>
          <ac:grpSpMkLst>
            <pc:docMk/>
            <pc:sldMk cId="3198530772" sldId="313"/>
            <ac:grpSpMk id="62" creationId="{F2155721-53E2-0D95-763C-1612E565C27C}"/>
          </ac:grpSpMkLst>
        </pc:grpChg>
        <pc:grpChg chg="del mod">
          <ac:chgData name="Aniket Chhabra" userId="598e0514-bef3-4e71-b6aa-f2edd6441cff" providerId="ADAL" clId="{FFB5BFD2-246A-034F-B635-DE62B5FCF3A6}" dt="2023-05-27T12:13:03.869" v="723"/>
          <ac:grpSpMkLst>
            <pc:docMk/>
            <pc:sldMk cId="3198530772" sldId="313"/>
            <ac:grpSpMk id="68" creationId="{5AD57922-B4B0-04E9-0A72-A3A2F5906753}"/>
          </ac:grpSpMkLst>
        </pc:grpChg>
        <pc:grpChg chg="mod">
          <ac:chgData name="Aniket Chhabra" userId="598e0514-bef3-4e71-b6aa-f2edd6441cff" providerId="ADAL" clId="{FFB5BFD2-246A-034F-B635-DE62B5FCF3A6}" dt="2023-06-03T15:46:09.887" v="1475"/>
          <ac:grpSpMkLst>
            <pc:docMk/>
            <pc:sldMk cId="3198530772" sldId="313"/>
            <ac:grpSpMk id="68" creationId="{FBCD9937-17B6-5692-9934-A448AE20471F}"/>
          </ac:grpSpMkLst>
        </pc:grpChg>
        <pc:grpChg chg="add del mod">
          <ac:chgData name="Aniket Chhabra" userId="598e0514-bef3-4e71-b6aa-f2edd6441cff" providerId="ADAL" clId="{FFB5BFD2-246A-034F-B635-DE62B5FCF3A6}" dt="2023-05-27T12:13:03.869" v="723"/>
          <ac:grpSpMkLst>
            <pc:docMk/>
            <pc:sldMk cId="3198530772" sldId="313"/>
            <ac:grpSpMk id="77" creationId="{9E95B6BF-E95B-DAED-9BB1-F4D2183C2218}"/>
          </ac:grpSpMkLst>
        </pc:grpChg>
        <pc:grpChg chg="add del mod">
          <ac:chgData name="Aniket Chhabra" userId="598e0514-bef3-4e71-b6aa-f2edd6441cff" providerId="ADAL" clId="{FFB5BFD2-246A-034F-B635-DE62B5FCF3A6}" dt="2023-05-27T12:13:03.869" v="723"/>
          <ac:grpSpMkLst>
            <pc:docMk/>
            <pc:sldMk cId="3198530772" sldId="313"/>
            <ac:grpSpMk id="78" creationId="{5007561B-F18F-EA37-FDFB-7E9A1BC3C8D7}"/>
          </ac:grpSpMkLst>
        </pc:grpChg>
        <pc:grpChg chg="mod">
          <ac:chgData name="Aniket Chhabra" userId="598e0514-bef3-4e71-b6aa-f2edd6441cff" providerId="ADAL" clId="{FFB5BFD2-246A-034F-B635-DE62B5FCF3A6}" dt="2023-06-03T15:46:28.443" v="1478"/>
          <ac:grpSpMkLst>
            <pc:docMk/>
            <pc:sldMk cId="3198530772" sldId="313"/>
            <ac:grpSpMk id="82" creationId="{2BA7F561-4BB4-F3D7-947B-578DC37B9294}"/>
          </ac:grpSpMkLst>
        </pc:grpChg>
        <pc:grpChg chg="add del mod">
          <ac:chgData name="Aniket Chhabra" userId="598e0514-bef3-4e71-b6aa-f2edd6441cff" providerId="ADAL" clId="{FFB5BFD2-246A-034F-B635-DE62B5FCF3A6}" dt="2023-05-27T12:12:59.923" v="720"/>
          <ac:grpSpMkLst>
            <pc:docMk/>
            <pc:sldMk cId="3198530772" sldId="313"/>
            <ac:grpSpMk id="84" creationId="{91FA7CE1-9AFC-9EB0-E2A8-B774EB190C1B}"/>
          </ac:grpSpMkLst>
        </pc:grpChg>
        <pc:grpChg chg="add del mod">
          <ac:chgData name="Aniket Chhabra" userId="598e0514-bef3-4e71-b6aa-f2edd6441cff" providerId="ADAL" clId="{FFB5BFD2-246A-034F-B635-DE62B5FCF3A6}" dt="2023-05-27T12:12:59.923" v="720"/>
          <ac:grpSpMkLst>
            <pc:docMk/>
            <pc:sldMk cId="3198530772" sldId="313"/>
            <ac:grpSpMk id="85" creationId="{F12250DD-9470-7DB4-118E-36D08F9B61CE}"/>
          </ac:grpSpMkLst>
        </pc:grpChg>
        <pc:grpChg chg="del mod">
          <ac:chgData name="Aniket Chhabra" userId="598e0514-bef3-4e71-b6aa-f2edd6441cff" providerId="ADAL" clId="{FFB5BFD2-246A-034F-B635-DE62B5FCF3A6}" dt="2023-06-03T15:46:51.763" v="1486"/>
          <ac:grpSpMkLst>
            <pc:docMk/>
            <pc:sldMk cId="3198530772" sldId="313"/>
            <ac:grpSpMk id="85" creationId="{FEB55388-9BAE-8186-715B-1DA343AF17C4}"/>
          </ac:grpSpMkLst>
        </pc:grpChg>
        <pc:grpChg chg="add del mod">
          <ac:chgData name="Aniket Chhabra" userId="598e0514-bef3-4e71-b6aa-f2edd6441cff" providerId="ADAL" clId="{FFB5BFD2-246A-034F-B635-DE62B5FCF3A6}" dt="2023-05-27T12:12:59.923" v="720"/>
          <ac:grpSpMkLst>
            <pc:docMk/>
            <pc:sldMk cId="3198530772" sldId="313"/>
            <ac:grpSpMk id="86" creationId="{FF6FCD8F-C684-0DFE-D09C-D84E57184252}"/>
          </ac:grpSpMkLst>
        </pc:grpChg>
        <pc:grpChg chg="mod">
          <ac:chgData name="Aniket Chhabra" userId="598e0514-bef3-4e71-b6aa-f2edd6441cff" providerId="ADAL" clId="{FFB5BFD2-246A-034F-B635-DE62B5FCF3A6}" dt="2023-05-27T12:12:59.923" v="720"/>
          <ac:grpSpMkLst>
            <pc:docMk/>
            <pc:sldMk cId="3198530772" sldId="313"/>
            <ac:grpSpMk id="87" creationId="{1A5B5694-348B-7FF2-5F4A-997EDD8C7A95}"/>
          </ac:grpSpMkLst>
        </pc:grpChg>
        <pc:grpChg chg="del mod">
          <ac:chgData name="Aniket Chhabra" userId="598e0514-bef3-4e71-b6aa-f2edd6441cff" providerId="ADAL" clId="{FFB5BFD2-246A-034F-B635-DE62B5FCF3A6}" dt="2023-05-27T12:13:06.180" v="726"/>
          <ac:grpSpMkLst>
            <pc:docMk/>
            <pc:sldMk cId="3198530772" sldId="313"/>
            <ac:grpSpMk id="89" creationId="{29E2C691-0EFA-3309-8524-27162CA28739}"/>
          </ac:grpSpMkLst>
        </pc:grpChg>
        <pc:grpChg chg="mod">
          <ac:chgData name="Aniket Chhabra" userId="598e0514-bef3-4e71-b6aa-f2edd6441cff" providerId="ADAL" clId="{FFB5BFD2-246A-034F-B635-DE62B5FCF3A6}" dt="2023-05-27T12:13:06.180" v="726"/>
          <ac:grpSpMkLst>
            <pc:docMk/>
            <pc:sldMk cId="3198530772" sldId="313"/>
            <ac:grpSpMk id="92" creationId="{92C10765-6914-372E-F809-01FC7C1EE07E}"/>
          </ac:grpSpMkLst>
        </pc:grpChg>
        <pc:grpChg chg="del mod">
          <ac:chgData name="Aniket Chhabra" userId="598e0514-bef3-4e71-b6aa-f2edd6441cff" providerId="ADAL" clId="{FFB5BFD2-246A-034F-B635-DE62B5FCF3A6}" dt="2023-05-27T12:16:02.015" v="825"/>
          <ac:grpSpMkLst>
            <pc:docMk/>
            <pc:sldMk cId="3198530772" sldId="313"/>
            <ac:grpSpMk id="103" creationId="{339A4474-1DC4-E95B-9D2E-5A364C3145D9}"/>
          </ac:grpSpMkLst>
        </pc:grpChg>
        <pc:grpChg chg="mod">
          <ac:chgData name="Aniket Chhabra" userId="598e0514-bef3-4e71-b6aa-f2edd6441cff" providerId="ADAL" clId="{FFB5BFD2-246A-034F-B635-DE62B5FCF3A6}" dt="2023-05-27T12:14:00.275" v="741"/>
          <ac:grpSpMkLst>
            <pc:docMk/>
            <pc:sldMk cId="3198530772" sldId="313"/>
            <ac:grpSpMk id="107" creationId="{4B465B6A-C158-8018-DE4D-58EF891E6699}"/>
          </ac:grpSpMkLst>
        </pc:grpChg>
        <pc:grpChg chg="del mod">
          <ac:chgData name="Aniket Chhabra" userId="598e0514-bef3-4e71-b6aa-f2edd6441cff" providerId="ADAL" clId="{FFB5BFD2-246A-034F-B635-DE62B5FCF3A6}" dt="2023-05-27T12:14:06.792" v="747"/>
          <ac:grpSpMkLst>
            <pc:docMk/>
            <pc:sldMk cId="3198530772" sldId="313"/>
            <ac:grpSpMk id="111" creationId="{CE8A7330-B194-198F-ACB0-AE4D80F54ECD}"/>
          </ac:grpSpMkLst>
        </pc:grpChg>
        <pc:grpChg chg="del mod">
          <ac:chgData name="Aniket Chhabra" userId="598e0514-bef3-4e71-b6aa-f2edd6441cff" providerId="ADAL" clId="{FFB5BFD2-246A-034F-B635-DE62B5FCF3A6}" dt="2023-06-03T15:46:54.193" v="1493"/>
          <ac:grpSpMkLst>
            <pc:docMk/>
            <pc:sldMk cId="3198530772" sldId="313"/>
            <ac:grpSpMk id="111" creationId="{F171E25E-33C1-DF00-130C-575FB8234BE3}"/>
          </ac:grpSpMkLst>
        </pc:grpChg>
        <pc:grpChg chg="del mod">
          <ac:chgData name="Aniket Chhabra" userId="598e0514-bef3-4e71-b6aa-f2edd6441cff" providerId="ADAL" clId="{FFB5BFD2-246A-034F-B635-DE62B5FCF3A6}" dt="2023-05-27T12:14:13.723" v="749"/>
          <ac:grpSpMkLst>
            <pc:docMk/>
            <pc:sldMk cId="3198530772" sldId="313"/>
            <ac:grpSpMk id="113" creationId="{EA69A7CF-164D-B894-FFF5-31ED19132F8C}"/>
          </ac:grpSpMkLst>
        </pc:grpChg>
        <pc:grpChg chg="del mod">
          <ac:chgData name="Aniket Chhabra" userId="598e0514-bef3-4e71-b6aa-f2edd6441cff" providerId="ADAL" clId="{FFB5BFD2-246A-034F-B635-DE62B5FCF3A6}" dt="2023-05-27T12:14:16.226" v="751"/>
          <ac:grpSpMkLst>
            <pc:docMk/>
            <pc:sldMk cId="3198530772" sldId="313"/>
            <ac:grpSpMk id="115" creationId="{333034F5-5D4D-04B1-2127-F82D82FB5C9E}"/>
          </ac:grpSpMkLst>
        </pc:grpChg>
        <pc:grpChg chg="del mod">
          <ac:chgData name="Aniket Chhabra" userId="598e0514-bef3-4e71-b6aa-f2edd6441cff" providerId="ADAL" clId="{FFB5BFD2-246A-034F-B635-DE62B5FCF3A6}" dt="2023-05-27T12:14:19.145" v="753"/>
          <ac:grpSpMkLst>
            <pc:docMk/>
            <pc:sldMk cId="3198530772" sldId="313"/>
            <ac:grpSpMk id="117" creationId="{020E7719-6607-C659-9186-3728D17B15B9}"/>
          </ac:grpSpMkLst>
        </pc:grpChg>
        <pc:grpChg chg="del mod">
          <ac:chgData name="Aniket Chhabra" userId="598e0514-bef3-4e71-b6aa-f2edd6441cff" providerId="ADAL" clId="{FFB5BFD2-246A-034F-B635-DE62B5FCF3A6}" dt="2023-05-27T12:14:20.758" v="756"/>
          <ac:grpSpMkLst>
            <pc:docMk/>
            <pc:sldMk cId="3198530772" sldId="313"/>
            <ac:grpSpMk id="119" creationId="{E3D37B05-0E26-3C9A-11B3-9F5CBDD6F16A}"/>
          </ac:grpSpMkLst>
        </pc:grpChg>
        <pc:grpChg chg="del mod">
          <ac:chgData name="Aniket Chhabra" userId="598e0514-bef3-4e71-b6aa-f2edd6441cff" providerId="ADAL" clId="{FFB5BFD2-246A-034F-B635-DE62B5FCF3A6}" dt="2023-05-27T12:14:24.032" v="762"/>
          <ac:grpSpMkLst>
            <pc:docMk/>
            <pc:sldMk cId="3198530772" sldId="313"/>
            <ac:grpSpMk id="122" creationId="{8239093E-F4C5-5AF7-0019-CA8BB61B1ECC}"/>
          </ac:grpSpMkLst>
        </pc:grpChg>
        <pc:grpChg chg="del mod">
          <ac:chgData name="Aniket Chhabra" userId="598e0514-bef3-4e71-b6aa-f2edd6441cff" providerId="ADAL" clId="{FFB5BFD2-246A-034F-B635-DE62B5FCF3A6}" dt="2023-05-27T12:14:24.032" v="762"/>
          <ac:grpSpMkLst>
            <pc:docMk/>
            <pc:sldMk cId="3198530772" sldId="313"/>
            <ac:grpSpMk id="126" creationId="{FB5AF542-3DC1-D2AB-58E1-78D4482A6B64}"/>
          </ac:grpSpMkLst>
        </pc:grpChg>
        <pc:grpChg chg="mod">
          <ac:chgData name="Aniket Chhabra" userId="598e0514-bef3-4e71-b6aa-f2edd6441cff" providerId="ADAL" clId="{FFB5BFD2-246A-034F-B635-DE62B5FCF3A6}" dt="2023-06-03T15:45:59.959" v="1470"/>
          <ac:grpSpMkLst>
            <pc:docMk/>
            <pc:sldMk cId="3198530772" sldId="313"/>
            <ac:grpSpMk id="128" creationId="{5CCE0057-DB56-489B-2D81-EF380F4130EC}"/>
          </ac:grpSpMkLst>
        </pc:grpChg>
        <pc:grpChg chg="del mod">
          <ac:chgData name="Aniket Chhabra" userId="598e0514-bef3-4e71-b6aa-f2edd6441cff" providerId="ADAL" clId="{FFB5BFD2-246A-034F-B635-DE62B5FCF3A6}" dt="2023-05-27T12:14:33.828" v="775"/>
          <ac:grpSpMkLst>
            <pc:docMk/>
            <pc:sldMk cId="3198530772" sldId="313"/>
            <ac:grpSpMk id="139" creationId="{6D7149F6-A443-A7C8-F4BB-CB9536EDB2F4}"/>
          </ac:grpSpMkLst>
        </pc:grpChg>
        <pc:grpChg chg="mod">
          <ac:chgData name="Aniket Chhabra" userId="598e0514-bef3-4e71-b6aa-f2edd6441cff" providerId="ADAL" clId="{FFB5BFD2-246A-034F-B635-DE62B5FCF3A6}" dt="2023-06-03T15:46:54.193" v="1493"/>
          <ac:grpSpMkLst>
            <pc:docMk/>
            <pc:sldMk cId="3198530772" sldId="313"/>
            <ac:grpSpMk id="139" creationId="{FD370554-21DB-06D5-1477-6A93BC64E796}"/>
          </ac:grpSpMkLst>
        </pc:grpChg>
        <pc:grpChg chg="del mod">
          <ac:chgData name="Aniket Chhabra" userId="598e0514-bef3-4e71-b6aa-f2edd6441cff" providerId="ADAL" clId="{FFB5BFD2-246A-034F-B635-DE62B5FCF3A6}" dt="2023-05-27T12:14:34.874" v="777"/>
          <ac:grpSpMkLst>
            <pc:docMk/>
            <pc:sldMk cId="3198530772" sldId="313"/>
            <ac:grpSpMk id="141" creationId="{FAD37266-0E95-3A14-76CF-632275E80D75}"/>
          </ac:grpSpMkLst>
        </pc:grpChg>
        <pc:grpChg chg="del mod">
          <ac:chgData name="Aniket Chhabra" userId="598e0514-bef3-4e71-b6aa-f2edd6441cff" providerId="ADAL" clId="{FFB5BFD2-246A-034F-B635-DE62B5FCF3A6}" dt="2023-05-27T12:17:59.131" v="921"/>
          <ac:grpSpMkLst>
            <pc:docMk/>
            <pc:sldMk cId="3198530772" sldId="313"/>
            <ac:grpSpMk id="143" creationId="{BBABE445-D1D7-B345-82D3-31E5A76641B2}"/>
          </ac:grpSpMkLst>
        </pc:grpChg>
        <pc:grpChg chg="del mod">
          <ac:chgData name="Aniket Chhabra" userId="598e0514-bef3-4e71-b6aa-f2edd6441cff" providerId="ADAL" clId="{FFB5BFD2-246A-034F-B635-DE62B5FCF3A6}" dt="2023-05-27T12:18:07.187" v="928"/>
          <ac:grpSpMkLst>
            <pc:docMk/>
            <pc:sldMk cId="3198530772" sldId="313"/>
            <ac:grpSpMk id="148" creationId="{0A86CBD7-2E78-FAE6-80A9-776772424F54}"/>
          </ac:grpSpMkLst>
        </pc:grpChg>
        <pc:grpChg chg="del mod">
          <ac:chgData name="Aniket Chhabra" userId="598e0514-bef3-4e71-b6aa-f2edd6441cff" providerId="ADAL" clId="{FFB5BFD2-246A-034F-B635-DE62B5FCF3A6}" dt="2023-05-27T12:15:24.062" v="805"/>
          <ac:grpSpMkLst>
            <pc:docMk/>
            <pc:sldMk cId="3198530772" sldId="313"/>
            <ac:grpSpMk id="166" creationId="{FF0E5D3F-FDFB-67E1-43A7-77DC8666CE47}"/>
          </ac:grpSpMkLst>
        </pc:grpChg>
        <pc:grpChg chg="del mod">
          <ac:chgData name="Aniket Chhabra" userId="598e0514-bef3-4e71-b6aa-f2edd6441cff" providerId="ADAL" clId="{FFB5BFD2-246A-034F-B635-DE62B5FCF3A6}" dt="2023-05-27T12:15:27.445" v="810"/>
          <ac:grpSpMkLst>
            <pc:docMk/>
            <pc:sldMk cId="3198530772" sldId="313"/>
            <ac:grpSpMk id="171" creationId="{2832021D-FF01-26C3-0766-2A9D48E41D03}"/>
          </ac:grpSpMkLst>
        </pc:grpChg>
        <pc:grpChg chg="mod">
          <ac:chgData name="Aniket Chhabra" userId="598e0514-bef3-4e71-b6aa-f2edd6441cff" providerId="ADAL" clId="{FFB5BFD2-246A-034F-B635-DE62B5FCF3A6}" dt="2023-05-27T12:15:27.445" v="810"/>
          <ac:grpSpMkLst>
            <pc:docMk/>
            <pc:sldMk cId="3198530772" sldId="313"/>
            <ac:grpSpMk id="176" creationId="{19953B1B-A54E-C389-4F0F-376F600A9D61}"/>
          </ac:grpSpMkLst>
        </pc:grpChg>
        <pc:grpChg chg="del mod">
          <ac:chgData name="Aniket Chhabra" userId="598e0514-bef3-4e71-b6aa-f2edd6441cff" providerId="ADAL" clId="{FFB5BFD2-246A-034F-B635-DE62B5FCF3A6}" dt="2023-05-27T12:15:35.778" v="823"/>
          <ac:grpSpMkLst>
            <pc:docMk/>
            <pc:sldMk cId="3198530772" sldId="313"/>
            <ac:grpSpMk id="184" creationId="{0EB47E11-80BF-83B2-61DB-21087E69D099}"/>
          </ac:grpSpMkLst>
        </pc:grpChg>
        <pc:grpChg chg="mod">
          <ac:chgData name="Aniket Chhabra" userId="598e0514-bef3-4e71-b6aa-f2edd6441cff" providerId="ADAL" clId="{FFB5BFD2-246A-034F-B635-DE62B5FCF3A6}" dt="2023-05-27T12:15:35.778" v="823"/>
          <ac:grpSpMkLst>
            <pc:docMk/>
            <pc:sldMk cId="3198530772" sldId="313"/>
            <ac:grpSpMk id="189" creationId="{CB8F4B85-6B22-2213-5E84-15E4F063170C}"/>
          </ac:grpSpMkLst>
        </pc:grpChg>
        <pc:grpChg chg="del mod">
          <ac:chgData name="Aniket Chhabra" userId="598e0514-bef3-4e71-b6aa-f2edd6441cff" providerId="ADAL" clId="{FFB5BFD2-246A-034F-B635-DE62B5FCF3A6}" dt="2023-05-27T12:16:03.014" v="827"/>
          <ac:grpSpMkLst>
            <pc:docMk/>
            <pc:sldMk cId="3198530772" sldId="313"/>
            <ac:grpSpMk id="191" creationId="{EDBA231D-A6DB-BE91-0724-FAD6AD824B8B}"/>
          </ac:grpSpMkLst>
        </pc:grpChg>
        <pc:grpChg chg="mod">
          <ac:chgData name="Aniket Chhabra" userId="598e0514-bef3-4e71-b6aa-f2edd6441cff" providerId="ADAL" clId="{FFB5BFD2-246A-034F-B635-DE62B5FCF3A6}" dt="2023-05-27T12:16:03.014" v="827"/>
          <ac:grpSpMkLst>
            <pc:docMk/>
            <pc:sldMk cId="3198530772" sldId="313"/>
            <ac:grpSpMk id="193" creationId="{1628A5F1-A976-6958-99C8-462B9FD64081}"/>
          </ac:grpSpMkLst>
        </pc:grpChg>
        <pc:grpChg chg="mod">
          <ac:chgData name="Aniket Chhabra" userId="598e0514-bef3-4e71-b6aa-f2edd6441cff" providerId="ADAL" clId="{FFB5BFD2-246A-034F-B635-DE62B5FCF3A6}" dt="2023-05-27T12:16:09.934" v="838"/>
          <ac:grpSpMkLst>
            <pc:docMk/>
            <pc:sldMk cId="3198530772" sldId="313"/>
            <ac:grpSpMk id="204" creationId="{4E164F59-038D-8CEA-AFD1-88447DB2B7D3}"/>
          </ac:grpSpMkLst>
        </pc:grpChg>
        <pc:grpChg chg="del mod">
          <ac:chgData name="Aniket Chhabra" userId="598e0514-bef3-4e71-b6aa-f2edd6441cff" providerId="ADAL" clId="{FFB5BFD2-246A-034F-B635-DE62B5FCF3A6}" dt="2023-05-27T12:16:18.384" v="856"/>
          <ac:grpSpMkLst>
            <pc:docMk/>
            <pc:sldMk cId="3198530772" sldId="313"/>
            <ac:grpSpMk id="222" creationId="{8DAC11F7-B4BB-2A27-C665-5D65FAB6B4C4}"/>
          </ac:grpSpMkLst>
        </pc:grpChg>
        <pc:grpChg chg="mod">
          <ac:chgData name="Aniket Chhabra" userId="598e0514-bef3-4e71-b6aa-f2edd6441cff" providerId="ADAL" clId="{FFB5BFD2-246A-034F-B635-DE62B5FCF3A6}" dt="2023-05-27T12:16:18.384" v="856"/>
          <ac:grpSpMkLst>
            <pc:docMk/>
            <pc:sldMk cId="3198530772" sldId="313"/>
            <ac:grpSpMk id="223" creationId="{9A144FA7-38D9-4AF8-C2B9-A122C310707B}"/>
          </ac:grpSpMkLst>
        </pc:grpChg>
        <pc:grpChg chg="del mod">
          <ac:chgData name="Aniket Chhabra" userId="598e0514-bef3-4e71-b6aa-f2edd6441cff" providerId="ADAL" clId="{FFB5BFD2-246A-034F-B635-DE62B5FCF3A6}" dt="2023-05-27T12:17:14.448" v="877"/>
          <ac:grpSpMkLst>
            <pc:docMk/>
            <pc:sldMk cId="3198530772" sldId="313"/>
            <ac:grpSpMk id="244" creationId="{75E76718-F3C7-95A7-011D-D8A87E71A6AE}"/>
          </ac:grpSpMkLst>
        </pc:grpChg>
        <pc:grpChg chg="del mod">
          <ac:chgData name="Aniket Chhabra" userId="598e0514-bef3-4e71-b6aa-f2edd6441cff" providerId="ADAL" clId="{FFB5BFD2-246A-034F-B635-DE62B5FCF3A6}" dt="2023-05-27T12:17:17.626" v="886"/>
          <ac:grpSpMkLst>
            <pc:docMk/>
            <pc:sldMk cId="3198530772" sldId="313"/>
            <ac:grpSpMk id="245" creationId="{80A1807F-ACC3-138A-101C-1A7815A3F160}"/>
          </ac:grpSpMkLst>
        </pc:grpChg>
        <pc:grpChg chg="del mod">
          <ac:chgData name="Aniket Chhabra" userId="598e0514-bef3-4e71-b6aa-f2edd6441cff" providerId="ADAL" clId="{FFB5BFD2-246A-034F-B635-DE62B5FCF3A6}" dt="2023-05-27T12:17:25.639" v="889"/>
          <ac:grpSpMkLst>
            <pc:docMk/>
            <pc:sldMk cId="3198530772" sldId="313"/>
            <ac:grpSpMk id="246" creationId="{541EFAAF-9AD5-22C8-FB8A-36380783A1AD}"/>
          </ac:grpSpMkLst>
        </pc:grpChg>
        <pc:grpChg chg="del mod">
          <ac:chgData name="Aniket Chhabra" userId="598e0514-bef3-4e71-b6aa-f2edd6441cff" providerId="ADAL" clId="{FFB5BFD2-246A-034F-B635-DE62B5FCF3A6}" dt="2023-05-27T12:17:29.397" v="891"/>
          <ac:grpSpMkLst>
            <pc:docMk/>
            <pc:sldMk cId="3198530772" sldId="313"/>
            <ac:grpSpMk id="255" creationId="{403645B4-77EB-C731-0F9C-DA72D8EBB319}"/>
          </ac:grpSpMkLst>
        </pc:grpChg>
        <pc:grpChg chg="del mod">
          <ac:chgData name="Aniket Chhabra" userId="598e0514-bef3-4e71-b6aa-f2edd6441cff" providerId="ADAL" clId="{FFB5BFD2-246A-034F-B635-DE62B5FCF3A6}" dt="2023-05-27T12:17:32.578" v="895"/>
          <ac:grpSpMkLst>
            <pc:docMk/>
            <pc:sldMk cId="3198530772" sldId="313"/>
            <ac:grpSpMk id="257" creationId="{2DBC96DF-9326-B508-B98B-59D10860615E}"/>
          </ac:grpSpMkLst>
        </pc:grpChg>
        <pc:grpChg chg="del mod">
          <ac:chgData name="Aniket Chhabra" userId="598e0514-bef3-4e71-b6aa-f2edd6441cff" providerId="ADAL" clId="{FFB5BFD2-246A-034F-B635-DE62B5FCF3A6}" dt="2023-05-27T12:17:32.578" v="895"/>
          <ac:grpSpMkLst>
            <pc:docMk/>
            <pc:sldMk cId="3198530772" sldId="313"/>
            <ac:grpSpMk id="259" creationId="{346328C0-EACE-5D0C-BAE2-4A1220B6BDCC}"/>
          </ac:grpSpMkLst>
        </pc:grpChg>
        <pc:grpChg chg="del mod">
          <ac:chgData name="Aniket Chhabra" userId="598e0514-bef3-4e71-b6aa-f2edd6441cff" providerId="ADAL" clId="{FFB5BFD2-246A-034F-B635-DE62B5FCF3A6}" dt="2023-05-27T12:17:33.948" v="897"/>
          <ac:grpSpMkLst>
            <pc:docMk/>
            <pc:sldMk cId="3198530772" sldId="313"/>
            <ac:grpSpMk id="263" creationId="{F183FBC5-C059-D956-C4A6-089072EACFA8}"/>
          </ac:grpSpMkLst>
        </pc:grpChg>
        <pc:grpChg chg="mod">
          <ac:chgData name="Aniket Chhabra" userId="598e0514-bef3-4e71-b6aa-f2edd6441cff" providerId="ADAL" clId="{FFB5BFD2-246A-034F-B635-DE62B5FCF3A6}" dt="2023-05-27T12:17:33.948" v="897"/>
          <ac:grpSpMkLst>
            <pc:docMk/>
            <pc:sldMk cId="3198530772" sldId="313"/>
            <ac:grpSpMk id="265" creationId="{20DC7694-EA9A-914D-19A0-6074E8BB7E3D}"/>
          </ac:grpSpMkLst>
        </pc:grpChg>
        <pc:grpChg chg="del mod">
          <ac:chgData name="Aniket Chhabra" userId="598e0514-bef3-4e71-b6aa-f2edd6441cff" providerId="ADAL" clId="{FFB5BFD2-246A-034F-B635-DE62B5FCF3A6}" dt="2023-05-27T12:17:46.557" v="907"/>
          <ac:grpSpMkLst>
            <pc:docMk/>
            <pc:sldMk cId="3198530772" sldId="313"/>
            <ac:grpSpMk id="271" creationId="{D73318DB-0917-D41C-6368-D3AB8E9CFC8E}"/>
          </ac:grpSpMkLst>
        </pc:grpChg>
        <pc:grpChg chg="del mod">
          <ac:chgData name="Aniket Chhabra" userId="598e0514-bef3-4e71-b6aa-f2edd6441cff" providerId="ADAL" clId="{FFB5BFD2-246A-034F-B635-DE62B5FCF3A6}" dt="2023-05-27T12:17:56.477" v="919"/>
          <ac:grpSpMkLst>
            <pc:docMk/>
            <pc:sldMk cId="3198530772" sldId="313"/>
            <ac:grpSpMk id="275" creationId="{D1516547-03C2-2FC0-5C42-77DB9E9576A1}"/>
          </ac:grpSpMkLst>
        </pc:grpChg>
        <pc:grpChg chg="mod">
          <ac:chgData name="Aniket Chhabra" userId="598e0514-bef3-4e71-b6aa-f2edd6441cff" providerId="ADAL" clId="{FFB5BFD2-246A-034F-B635-DE62B5FCF3A6}" dt="2023-05-27T12:17:50.326" v="916"/>
          <ac:grpSpMkLst>
            <pc:docMk/>
            <pc:sldMk cId="3198530772" sldId="313"/>
            <ac:grpSpMk id="284" creationId="{ED96B6E7-8A00-E05D-035F-560C696B77DA}"/>
          </ac:grpSpMkLst>
        </pc:grpChg>
        <pc:grpChg chg="del mod">
          <ac:chgData name="Aniket Chhabra" userId="598e0514-bef3-4e71-b6aa-f2edd6441cff" providerId="ADAL" clId="{FFB5BFD2-246A-034F-B635-DE62B5FCF3A6}" dt="2023-05-27T12:18:00.205" v="923"/>
          <ac:grpSpMkLst>
            <pc:docMk/>
            <pc:sldMk cId="3198530772" sldId="313"/>
            <ac:grpSpMk id="287" creationId="{71C6EA57-99F8-B615-D168-A34DEEE0AFF8}"/>
          </ac:grpSpMkLst>
        </pc:grpChg>
        <pc:grpChg chg="del mod">
          <ac:chgData name="Aniket Chhabra" userId="598e0514-bef3-4e71-b6aa-f2edd6441cff" providerId="ADAL" clId="{FFB5BFD2-246A-034F-B635-DE62B5FCF3A6}" dt="2023-05-27T12:18:07.187" v="928"/>
          <ac:grpSpMkLst>
            <pc:docMk/>
            <pc:sldMk cId="3198530772" sldId="313"/>
            <ac:grpSpMk id="289" creationId="{263BB5FD-BE98-930E-8E8D-F32206C42F59}"/>
          </ac:grpSpMkLst>
        </pc:grpChg>
        <pc:grpChg chg="mod">
          <ac:chgData name="Aniket Chhabra" userId="598e0514-bef3-4e71-b6aa-f2edd6441cff" providerId="ADAL" clId="{FFB5BFD2-246A-034F-B635-DE62B5FCF3A6}" dt="2023-05-27T12:18:00.205" v="923"/>
          <ac:grpSpMkLst>
            <pc:docMk/>
            <pc:sldMk cId="3198530772" sldId="313"/>
            <ac:grpSpMk id="291" creationId="{0FFA51B2-1442-82B7-327A-EE538DF63DB2}"/>
          </ac:grpSpMkLst>
        </pc:grpChg>
        <pc:grpChg chg="mod">
          <ac:chgData name="Aniket Chhabra" userId="598e0514-bef3-4e71-b6aa-f2edd6441cff" providerId="ADAL" clId="{FFB5BFD2-246A-034F-B635-DE62B5FCF3A6}" dt="2023-05-27T12:18:04.029" v="926"/>
          <ac:grpSpMkLst>
            <pc:docMk/>
            <pc:sldMk cId="3198530772" sldId="313"/>
            <ac:grpSpMk id="294" creationId="{FBF514B4-7F97-DA9D-52ED-7A6A65AB2676}"/>
          </ac:grpSpMkLst>
        </pc:grpChg>
        <pc:grpChg chg="del mod">
          <ac:chgData name="Aniket Chhabra" userId="598e0514-bef3-4e71-b6aa-f2edd6441cff" providerId="ADAL" clId="{FFB5BFD2-246A-034F-B635-DE62B5FCF3A6}" dt="2023-05-27T12:18:08.376" v="930"/>
          <ac:grpSpMkLst>
            <pc:docMk/>
            <pc:sldMk cId="3198530772" sldId="313"/>
            <ac:grpSpMk id="296" creationId="{CACF51CF-940B-92AB-A5F5-B817F8812018}"/>
          </ac:grpSpMkLst>
        </pc:grpChg>
        <pc:grpChg chg="mod">
          <ac:chgData name="Aniket Chhabra" userId="598e0514-bef3-4e71-b6aa-f2edd6441cff" providerId="ADAL" clId="{FFB5BFD2-246A-034F-B635-DE62B5FCF3A6}" dt="2023-06-03T15:45:59.959" v="1472"/>
          <ac:grpSpMkLst>
            <pc:docMk/>
            <pc:sldMk cId="3198530772" sldId="313"/>
            <ac:grpSpMk id="298" creationId="{08F4EDBA-D5DE-FE60-9C71-802F590604FA}"/>
          </ac:grpSpMkLst>
        </pc:grpChg>
        <pc:grpChg chg="del mod">
          <ac:chgData name="Aniket Chhabra" userId="598e0514-bef3-4e71-b6aa-f2edd6441cff" providerId="ADAL" clId="{FFB5BFD2-246A-034F-B635-DE62B5FCF3A6}" dt="2023-05-27T12:19:46.818" v="967"/>
          <ac:grpSpMkLst>
            <pc:docMk/>
            <pc:sldMk cId="3198530772" sldId="313"/>
            <ac:grpSpMk id="308" creationId="{55C8807A-A675-FF4E-5F99-41D9696D88FC}"/>
          </ac:grpSpMkLst>
        </pc:grpChg>
        <pc:grpChg chg="del mod">
          <ac:chgData name="Aniket Chhabra" userId="598e0514-bef3-4e71-b6aa-f2edd6441cff" providerId="ADAL" clId="{FFB5BFD2-246A-034F-B635-DE62B5FCF3A6}" dt="2023-05-27T12:19:46.818" v="967"/>
          <ac:grpSpMkLst>
            <pc:docMk/>
            <pc:sldMk cId="3198530772" sldId="313"/>
            <ac:grpSpMk id="323" creationId="{E611B320-F319-E5C0-258F-B19441A48C04}"/>
          </ac:grpSpMkLst>
        </pc:grpChg>
        <pc:grpChg chg="mod">
          <ac:chgData name="Aniket Chhabra" userId="598e0514-bef3-4e71-b6aa-f2edd6441cff" providerId="ADAL" clId="{FFB5BFD2-246A-034F-B635-DE62B5FCF3A6}" dt="2023-05-27T12:19:46.818" v="967"/>
          <ac:grpSpMkLst>
            <pc:docMk/>
            <pc:sldMk cId="3198530772" sldId="313"/>
            <ac:grpSpMk id="324" creationId="{8D6B3483-7328-662E-B530-3C37C68AB2EA}"/>
          </ac:grpSpMkLst>
        </pc:grpChg>
        <pc:grpChg chg="mod">
          <ac:chgData name="Aniket Chhabra" userId="598e0514-bef3-4e71-b6aa-f2edd6441cff" providerId="ADAL" clId="{FFB5BFD2-246A-034F-B635-DE62B5FCF3A6}" dt="2023-05-27T12:19:50.909" v="971"/>
          <ac:grpSpMkLst>
            <pc:docMk/>
            <pc:sldMk cId="3198530772" sldId="313"/>
            <ac:grpSpMk id="328" creationId="{6E422679-A0EE-4508-5622-E4E1B198C694}"/>
          </ac:grpSpMkLst>
        </pc:grpChg>
        <pc:inkChg chg="add mod">
          <ac:chgData name="Aniket Chhabra" userId="598e0514-bef3-4e71-b6aa-f2edd6441cff" providerId="ADAL" clId="{FFB5BFD2-246A-034F-B635-DE62B5FCF3A6}" dt="2023-05-27T12:13:06.180" v="726"/>
          <ac:inkMkLst>
            <pc:docMk/>
            <pc:sldMk cId="3198530772" sldId="313"/>
            <ac:inkMk id="2" creationId="{645009E7-4EDA-67A5-463C-2131DE313BEB}"/>
          </ac:inkMkLst>
        </pc:inkChg>
        <pc:inkChg chg="add mod">
          <ac:chgData name="Aniket Chhabra" userId="598e0514-bef3-4e71-b6aa-f2edd6441cff" providerId="ADAL" clId="{FFB5BFD2-246A-034F-B635-DE62B5FCF3A6}" dt="2023-05-27T12:13:06.180" v="726"/>
          <ac:inkMkLst>
            <pc:docMk/>
            <pc:sldMk cId="3198530772" sldId="313"/>
            <ac:inkMk id="3" creationId="{0C0F9C33-95F9-0187-FFFF-2F738D12DBE1}"/>
          </ac:inkMkLst>
        </pc:inkChg>
        <pc:inkChg chg="add mod">
          <ac:chgData name="Aniket Chhabra" userId="598e0514-bef3-4e71-b6aa-f2edd6441cff" providerId="ADAL" clId="{FFB5BFD2-246A-034F-B635-DE62B5FCF3A6}" dt="2023-05-27T12:13:06.180" v="726"/>
          <ac:inkMkLst>
            <pc:docMk/>
            <pc:sldMk cId="3198530772" sldId="313"/>
            <ac:inkMk id="4" creationId="{E1E91AF2-F0F6-037C-2DAF-CEE178C84EAE}"/>
          </ac:inkMkLst>
        </pc:inkChg>
        <pc:inkChg chg="add mod">
          <ac:chgData name="Aniket Chhabra" userId="598e0514-bef3-4e71-b6aa-f2edd6441cff" providerId="ADAL" clId="{FFB5BFD2-246A-034F-B635-DE62B5FCF3A6}" dt="2023-05-27T12:13:06.180" v="726"/>
          <ac:inkMkLst>
            <pc:docMk/>
            <pc:sldMk cId="3198530772" sldId="313"/>
            <ac:inkMk id="5" creationId="{79F7E85B-51D3-74E4-3893-D041BFCB88E7}"/>
          </ac:inkMkLst>
        </pc:inkChg>
        <pc:inkChg chg="add mod">
          <ac:chgData name="Aniket Chhabra" userId="598e0514-bef3-4e71-b6aa-f2edd6441cff" providerId="ADAL" clId="{FFB5BFD2-246A-034F-B635-DE62B5FCF3A6}" dt="2023-05-27T12:13:06.180" v="726"/>
          <ac:inkMkLst>
            <pc:docMk/>
            <pc:sldMk cId="3198530772" sldId="313"/>
            <ac:inkMk id="6" creationId="{EC73FA7A-64FF-27AD-2E62-12B5D09E42FD}"/>
          </ac:inkMkLst>
        </pc:inkChg>
        <pc:inkChg chg="add mod">
          <ac:chgData name="Aniket Chhabra" userId="598e0514-bef3-4e71-b6aa-f2edd6441cff" providerId="ADAL" clId="{FFB5BFD2-246A-034F-B635-DE62B5FCF3A6}" dt="2023-05-27T12:13:06.180" v="726"/>
          <ac:inkMkLst>
            <pc:docMk/>
            <pc:sldMk cId="3198530772" sldId="313"/>
            <ac:inkMk id="7" creationId="{F89FC696-EBF2-F9C7-5553-26E577BF06D5}"/>
          </ac:inkMkLst>
        </pc:inkChg>
        <pc:inkChg chg="add mod">
          <ac:chgData name="Aniket Chhabra" userId="598e0514-bef3-4e71-b6aa-f2edd6441cff" providerId="ADAL" clId="{FFB5BFD2-246A-034F-B635-DE62B5FCF3A6}" dt="2023-05-27T12:13:06.180" v="726"/>
          <ac:inkMkLst>
            <pc:docMk/>
            <pc:sldMk cId="3198530772" sldId="313"/>
            <ac:inkMk id="8" creationId="{28C92E4A-F53E-D9EF-9A0F-69EA6E504DF4}"/>
          </ac:inkMkLst>
        </pc:inkChg>
        <pc:inkChg chg="add mod">
          <ac:chgData name="Aniket Chhabra" userId="598e0514-bef3-4e71-b6aa-f2edd6441cff" providerId="ADAL" clId="{FFB5BFD2-246A-034F-B635-DE62B5FCF3A6}" dt="2023-06-03T15:45:38.518" v="1456"/>
          <ac:inkMkLst>
            <pc:docMk/>
            <pc:sldMk cId="3198530772" sldId="313"/>
            <ac:inkMk id="9" creationId="{4E81476D-ADFC-5787-B5BA-19A158956375}"/>
          </ac:inkMkLst>
        </pc:inkChg>
        <pc:inkChg chg="add mod">
          <ac:chgData name="Aniket Chhabra" userId="598e0514-bef3-4e71-b6aa-f2edd6441cff" providerId="ADAL" clId="{FFB5BFD2-246A-034F-B635-DE62B5FCF3A6}" dt="2023-05-27T12:13:06.180" v="726"/>
          <ac:inkMkLst>
            <pc:docMk/>
            <pc:sldMk cId="3198530772" sldId="313"/>
            <ac:inkMk id="10" creationId="{9FA2837C-78ED-F605-E501-5EA3997F4530}"/>
          </ac:inkMkLst>
        </pc:inkChg>
        <pc:inkChg chg="add mod">
          <ac:chgData name="Aniket Chhabra" userId="598e0514-bef3-4e71-b6aa-f2edd6441cff" providerId="ADAL" clId="{FFB5BFD2-246A-034F-B635-DE62B5FCF3A6}" dt="2023-05-27T12:13:06.180" v="726"/>
          <ac:inkMkLst>
            <pc:docMk/>
            <pc:sldMk cId="3198530772" sldId="313"/>
            <ac:inkMk id="11" creationId="{19D67593-8A5F-6940-6352-8ED0075C892A}"/>
          </ac:inkMkLst>
        </pc:inkChg>
        <pc:inkChg chg="add mod">
          <ac:chgData name="Aniket Chhabra" userId="598e0514-bef3-4e71-b6aa-f2edd6441cff" providerId="ADAL" clId="{FFB5BFD2-246A-034F-B635-DE62B5FCF3A6}" dt="2023-05-27T12:13:06.180" v="726"/>
          <ac:inkMkLst>
            <pc:docMk/>
            <pc:sldMk cId="3198530772" sldId="313"/>
            <ac:inkMk id="12" creationId="{DC3B5770-8D22-94D7-BD59-39743F51A528}"/>
          </ac:inkMkLst>
        </pc:inkChg>
        <pc:inkChg chg="add mod">
          <ac:chgData name="Aniket Chhabra" userId="598e0514-bef3-4e71-b6aa-f2edd6441cff" providerId="ADAL" clId="{FFB5BFD2-246A-034F-B635-DE62B5FCF3A6}" dt="2023-05-27T12:13:06.180" v="726"/>
          <ac:inkMkLst>
            <pc:docMk/>
            <pc:sldMk cId="3198530772" sldId="313"/>
            <ac:inkMk id="13" creationId="{D6501DEC-895F-4256-D8A9-907B745860A1}"/>
          </ac:inkMkLst>
        </pc:inkChg>
        <pc:inkChg chg="add mod">
          <ac:chgData name="Aniket Chhabra" userId="598e0514-bef3-4e71-b6aa-f2edd6441cff" providerId="ADAL" clId="{FFB5BFD2-246A-034F-B635-DE62B5FCF3A6}" dt="2023-05-27T12:13:06.180" v="726"/>
          <ac:inkMkLst>
            <pc:docMk/>
            <pc:sldMk cId="3198530772" sldId="313"/>
            <ac:inkMk id="14" creationId="{6822A21B-401E-4E29-28D7-9E5F4100305C}"/>
          </ac:inkMkLst>
        </pc:inkChg>
        <pc:inkChg chg="add mod">
          <ac:chgData name="Aniket Chhabra" userId="598e0514-bef3-4e71-b6aa-f2edd6441cff" providerId="ADAL" clId="{FFB5BFD2-246A-034F-B635-DE62B5FCF3A6}" dt="2023-05-27T12:13:06.180" v="726"/>
          <ac:inkMkLst>
            <pc:docMk/>
            <pc:sldMk cId="3198530772" sldId="313"/>
            <ac:inkMk id="15" creationId="{26050B19-B924-9AEA-8642-EF284C116079}"/>
          </ac:inkMkLst>
        </pc:inkChg>
        <pc:inkChg chg="add mod">
          <ac:chgData name="Aniket Chhabra" userId="598e0514-bef3-4e71-b6aa-f2edd6441cff" providerId="ADAL" clId="{FFB5BFD2-246A-034F-B635-DE62B5FCF3A6}" dt="2023-05-27T12:13:06.180" v="726"/>
          <ac:inkMkLst>
            <pc:docMk/>
            <pc:sldMk cId="3198530772" sldId="313"/>
            <ac:inkMk id="16" creationId="{42178CFE-BBB7-52CA-CB43-F49564EDBF57}"/>
          </ac:inkMkLst>
        </pc:inkChg>
        <pc:inkChg chg="add mod">
          <ac:chgData name="Aniket Chhabra" userId="598e0514-bef3-4e71-b6aa-f2edd6441cff" providerId="ADAL" clId="{FFB5BFD2-246A-034F-B635-DE62B5FCF3A6}" dt="2023-06-03T15:45:38.518" v="1456"/>
          <ac:inkMkLst>
            <pc:docMk/>
            <pc:sldMk cId="3198530772" sldId="313"/>
            <ac:inkMk id="17" creationId="{5F034692-F702-3062-6A61-D3A54160A44D}"/>
          </ac:inkMkLst>
        </pc:inkChg>
        <pc:inkChg chg="add mod">
          <ac:chgData name="Aniket Chhabra" userId="598e0514-bef3-4e71-b6aa-f2edd6441cff" providerId="ADAL" clId="{FFB5BFD2-246A-034F-B635-DE62B5FCF3A6}" dt="2023-05-27T12:13:06.180" v="726"/>
          <ac:inkMkLst>
            <pc:docMk/>
            <pc:sldMk cId="3198530772" sldId="313"/>
            <ac:inkMk id="18" creationId="{F9CA594F-1B83-DBEA-7AE3-4E6137F04535}"/>
          </ac:inkMkLst>
        </pc:inkChg>
        <pc:inkChg chg="add mod">
          <ac:chgData name="Aniket Chhabra" userId="598e0514-bef3-4e71-b6aa-f2edd6441cff" providerId="ADAL" clId="{FFB5BFD2-246A-034F-B635-DE62B5FCF3A6}" dt="2023-05-27T12:13:06.180" v="726"/>
          <ac:inkMkLst>
            <pc:docMk/>
            <pc:sldMk cId="3198530772" sldId="313"/>
            <ac:inkMk id="19" creationId="{224AA3D8-28BA-F563-DD86-0A010B200520}"/>
          </ac:inkMkLst>
        </pc:inkChg>
        <pc:inkChg chg="add mod">
          <ac:chgData name="Aniket Chhabra" userId="598e0514-bef3-4e71-b6aa-f2edd6441cff" providerId="ADAL" clId="{FFB5BFD2-246A-034F-B635-DE62B5FCF3A6}" dt="2023-05-27T12:13:06.180" v="726"/>
          <ac:inkMkLst>
            <pc:docMk/>
            <pc:sldMk cId="3198530772" sldId="313"/>
            <ac:inkMk id="20" creationId="{DC6FEB0A-9EB6-9F96-3910-452B115E74EE}"/>
          </ac:inkMkLst>
        </pc:inkChg>
        <pc:inkChg chg="add mod">
          <ac:chgData name="Aniket Chhabra" userId="598e0514-bef3-4e71-b6aa-f2edd6441cff" providerId="ADAL" clId="{FFB5BFD2-246A-034F-B635-DE62B5FCF3A6}" dt="2023-05-27T12:13:06.180" v="726"/>
          <ac:inkMkLst>
            <pc:docMk/>
            <pc:sldMk cId="3198530772" sldId="313"/>
            <ac:inkMk id="21" creationId="{944B3FFD-8B82-B68C-06FF-2D19F6DC7249}"/>
          </ac:inkMkLst>
        </pc:inkChg>
        <pc:inkChg chg="add mod">
          <ac:chgData name="Aniket Chhabra" userId="598e0514-bef3-4e71-b6aa-f2edd6441cff" providerId="ADAL" clId="{FFB5BFD2-246A-034F-B635-DE62B5FCF3A6}" dt="2023-05-27T12:13:06.180" v="726"/>
          <ac:inkMkLst>
            <pc:docMk/>
            <pc:sldMk cId="3198530772" sldId="313"/>
            <ac:inkMk id="22" creationId="{7123B70F-9E13-2CE2-2CBA-937A20235808}"/>
          </ac:inkMkLst>
        </pc:inkChg>
        <pc:inkChg chg="add mod">
          <ac:chgData name="Aniket Chhabra" userId="598e0514-bef3-4e71-b6aa-f2edd6441cff" providerId="ADAL" clId="{FFB5BFD2-246A-034F-B635-DE62B5FCF3A6}" dt="2023-05-27T12:13:06.180" v="726"/>
          <ac:inkMkLst>
            <pc:docMk/>
            <pc:sldMk cId="3198530772" sldId="313"/>
            <ac:inkMk id="23" creationId="{4023ECF9-BBAA-CACA-40AC-1E5EE7F4FDF1}"/>
          </ac:inkMkLst>
        </pc:inkChg>
        <pc:inkChg chg="add mod">
          <ac:chgData name="Aniket Chhabra" userId="598e0514-bef3-4e71-b6aa-f2edd6441cff" providerId="ADAL" clId="{FFB5BFD2-246A-034F-B635-DE62B5FCF3A6}" dt="2023-05-27T12:13:06.180" v="726"/>
          <ac:inkMkLst>
            <pc:docMk/>
            <pc:sldMk cId="3198530772" sldId="313"/>
            <ac:inkMk id="24" creationId="{87AA8F80-9AC8-7AC2-5264-9B279FF0FC79}"/>
          </ac:inkMkLst>
        </pc:inkChg>
        <pc:inkChg chg="add mod">
          <ac:chgData name="Aniket Chhabra" userId="598e0514-bef3-4e71-b6aa-f2edd6441cff" providerId="ADAL" clId="{FFB5BFD2-246A-034F-B635-DE62B5FCF3A6}" dt="2023-05-27T12:13:06.180" v="726"/>
          <ac:inkMkLst>
            <pc:docMk/>
            <pc:sldMk cId="3198530772" sldId="313"/>
            <ac:inkMk id="25" creationId="{D2D6D200-F12D-6C74-C313-70484B9418C9}"/>
          </ac:inkMkLst>
        </pc:inkChg>
        <pc:inkChg chg="add mod">
          <ac:chgData name="Aniket Chhabra" userId="598e0514-bef3-4e71-b6aa-f2edd6441cff" providerId="ADAL" clId="{FFB5BFD2-246A-034F-B635-DE62B5FCF3A6}" dt="2023-05-27T12:13:06.180" v="726"/>
          <ac:inkMkLst>
            <pc:docMk/>
            <pc:sldMk cId="3198530772" sldId="313"/>
            <ac:inkMk id="26" creationId="{2B8E72F7-C344-49C9-52FD-8425FD8A553E}"/>
          </ac:inkMkLst>
        </pc:inkChg>
        <pc:inkChg chg="add mod">
          <ac:chgData name="Aniket Chhabra" userId="598e0514-bef3-4e71-b6aa-f2edd6441cff" providerId="ADAL" clId="{FFB5BFD2-246A-034F-B635-DE62B5FCF3A6}" dt="2023-05-27T12:13:06.180" v="726"/>
          <ac:inkMkLst>
            <pc:docMk/>
            <pc:sldMk cId="3198530772" sldId="313"/>
            <ac:inkMk id="27" creationId="{EF3E137C-FB08-2BD4-0155-A1BFCCBE3665}"/>
          </ac:inkMkLst>
        </pc:inkChg>
        <pc:inkChg chg="add mod">
          <ac:chgData name="Aniket Chhabra" userId="598e0514-bef3-4e71-b6aa-f2edd6441cff" providerId="ADAL" clId="{FFB5BFD2-246A-034F-B635-DE62B5FCF3A6}" dt="2023-05-27T12:13:06.180" v="726"/>
          <ac:inkMkLst>
            <pc:docMk/>
            <pc:sldMk cId="3198530772" sldId="313"/>
            <ac:inkMk id="28" creationId="{DE2C472E-B6A0-9C5A-0357-DB57448CA90D}"/>
          </ac:inkMkLst>
        </pc:inkChg>
        <pc:inkChg chg="add mod">
          <ac:chgData name="Aniket Chhabra" userId="598e0514-bef3-4e71-b6aa-f2edd6441cff" providerId="ADAL" clId="{FFB5BFD2-246A-034F-B635-DE62B5FCF3A6}" dt="2023-05-27T12:13:06.180" v="726"/>
          <ac:inkMkLst>
            <pc:docMk/>
            <pc:sldMk cId="3198530772" sldId="313"/>
            <ac:inkMk id="29" creationId="{A204C61C-77F8-FB1C-EAC7-49D93E3CCD6C}"/>
          </ac:inkMkLst>
        </pc:inkChg>
        <pc:inkChg chg="add mod">
          <ac:chgData name="Aniket Chhabra" userId="598e0514-bef3-4e71-b6aa-f2edd6441cff" providerId="ADAL" clId="{FFB5BFD2-246A-034F-B635-DE62B5FCF3A6}" dt="2023-05-27T12:13:06.180" v="726"/>
          <ac:inkMkLst>
            <pc:docMk/>
            <pc:sldMk cId="3198530772" sldId="313"/>
            <ac:inkMk id="30" creationId="{6E75AE5A-76D8-AA06-D02D-C85F3E7DF820}"/>
          </ac:inkMkLst>
        </pc:inkChg>
        <pc:inkChg chg="add mod">
          <ac:chgData name="Aniket Chhabra" userId="598e0514-bef3-4e71-b6aa-f2edd6441cff" providerId="ADAL" clId="{FFB5BFD2-246A-034F-B635-DE62B5FCF3A6}" dt="2023-05-27T12:13:06.180" v="726"/>
          <ac:inkMkLst>
            <pc:docMk/>
            <pc:sldMk cId="3198530772" sldId="313"/>
            <ac:inkMk id="31" creationId="{AE3D989A-EB33-1A22-87DC-D2641CF172FF}"/>
          </ac:inkMkLst>
        </pc:inkChg>
        <pc:inkChg chg="add mod">
          <ac:chgData name="Aniket Chhabra" userId="598e0514-bef3-4e71-b6aa-f2edd6441cff" providerId="ADAL" clId="{FFB5BFD2-246A-034F-B635-DE62B5FCF3A6}" dt="2023-05-27T12:13:06.180" v="726"/>
          <ac:inkMkLst>
            <pc:docMk/>
            <pc:sldMk cId="3198530772" sldId="313"/>
            <ac:inkMk id="32" creationId="{2B8F041A-30A7-B5AD-296D-0290ABF042C1}"/>
          </ac:inkMkLst>
        </pc:inkChg>
        <pc:inkChg chg="add mod">
          <ac:chgData name="Aniket Chhabra" userId="598e0514-bef3-4e71-b6aa-f2edd6441cff" providerId="ADAL" clId="{FFB5BFD2-246A-034F-B635-DE62B5FCF3A6}" dt="2023-05-27T12:13:06.180" v="726"/>
          <ac:inkMkLst>
            <pc:docMk/>
            <pc:sldMk cId="3198530772" sldId="313"/>
            <ac:inkMk id="33" creationId="{A6049953-F0AA-4110-FB61-732FA669EF82}"/>
          </ac:inkMkLst>
        </pc:inkChg>
        <pc:inkChg chg="add mod">
          <ac:chgData name="Aniket Chhabra" userId="598e0514-bef3-4e71-b6aa-f2edd6441cff" providerId="ADAL" clId="{FFB5BFD2-246A-034F-B635-DE62B5FCF3A6}" dt="2023-05-27T12:13:06.180" v="726"/>
          <ac:inkMkLst>
            <pc:docMk/>
            <pc:sldMk cId="3198530772" sldId="313"/>
            <ac:inkMk id="34" creationId="{D607FABE-9FB4-8760-72CE-C5340E04DE39}"/>
          </ac:inkMkLst>
        </pc:inkChg>
        <pc:inkChg chg="add mod">
          <ac:chgData name="Aniket Chhabra" userId="598e0514-bef3-4e71-b6aa-f2edd6441cff" providerId="ADAL" clId="{FFB5BFD2-246A-034F-B635-DE62B5FCF3A6}" dt="2023-05-27T12:13:06.180" v="726"/>
          <ac:inkMkLst>
            <pc:docMk/>
            <pc:sldMk cId="3198530772" sldId="313"/>
            <ac:inkMk id="35" creationId="{D1A1EEBC-E1F5-B012-8B49-28AECD67E880}"/>
          </ac:inkMkLst>
        </pc:inkChg>
        <pc:inkChg chg="add mod">
          <ac:chgData name="Aniket Chhabra" userId="598e0514-bef3-4e71-b6aa-f2edd6441cff" providerId="ADAL" clId="{FFB5BFD2-246A-034F-B635-DE62B5FCF3A6}" dt="2023-06-03T15:45:59.959" v="1471"/>
          <ac:inkMkLst>
            <pc:docMk/>
            <pc:sldMk cId="3198530772" sldId="313"/>
            <ac:inkMk id="37" creationId="{96BDF5F3-D8F7-3D7E-4AA0-841DE3F03D10}"/>
          </ac:inkMkLst>
        </pc:inkChg>
        <pc:inkChg chg="add mod">
          <ac:chgData name="Aniket Chhabra" userId="598e0514-bef3-4e71-b6aa-f2edd6441cff" providerId="ADAL" clId="{FFB5BFD2-246A-034F-B635-DE62B5FCF3A6}" dt="2023-05-27T12:13:06.180" v="726"/>
          <ac:inkMkLst>
            <pc:docMk/>
            <pc:sldMk cId="3198530772" sldId="313"/>
            <ac:inkMk id="38" creationId="{5C17EBAF-E77A-695A-2E85-D3A4A492CD7E}"/>
          </ac:inkMkLst>
        </pc:inkChg>
        <pc:inkChg chg="add mod">
          <ac:chgData name="Aniket Chhabra" userId="598e0514-bef3-4e71-b6aa-f2edd6441cff" providerId="ADAL" clId="{FFB5BFD2-246A-034F-B635-DE62B5FCF3A6}" dt="2023-05-27T12:13:06.180" v="726"/>
          <ac:inkMkLst>
            <pc:docMk/>
            <pc:sldMk cId="3198530772" sldId="313"/>
            <ac:inkMk id="39" creationId="{003DC227-217C-6082-6C0D-53114AC39C93}"/>
          </ac:inkMkLst>
        </pc:inkChg>
        <pc:inkChg chg="add mod">
          <ac:chgData name="Aniket Chhabra" userId="598e0514-bef3-4e71-b6aa-f2edd6441cff" providerId="ADAL" clId="{FFB5BFD2-246A-034F-B635-DE62B5FCF3A6}" dt="2023-05-27T12:13:06.180" v="726"/>
          <ac:inkMkLst>
            <pc:docMk/>
            <pc:sldMk cId="3198530772" sldId="313"/>
            <ac:inkMk id="40" creationId="{8AB38972-36F6-8515-63CE-FFF8AA32926A}"/>
          </ac:inkMkLst>
        </pc:inkChg>
        <pc:inkChg chg="add mod">
          <ac:chgData name="Aniket Chhabra" userId="598e0514-bef3-4e71-b6aa-f2edd6441cff" providerId="ADAL" clId="{FFB5BFD2-246A-034F-B635-DE62B5FCF3A6}" dt="2023-05-27T12:13:06.180" v="726"/>
          <ac:inkMkLst>
            <pc:docMk/>
            <pc:sldMk cId="3198530772" sldId="313"/>
            <ac:inkMk id="41" creationId="{F178FDA1-53FF-5CB8-7EBA-E20E809D2DE6}"/>
          </ac:inkMkLst>
        </pc:inkChg>
        <pc:inkChg chg="add mod">
          <ac:chgData name="Aniket Chhabra" userId="598e0514-bef3-4e71-b6aa-f2edd6441cff" providerId="ADAL" clId="{FFB5BFD2-246A-034F-B635-DE62B5FCF3A6}" dt="2023-05-27T12:13:06.180" v="726"/>
          <ac:inkMkLst>
            <pc:docMk/>
            <pc:sldMk cId="3198530772" sldId="313"/>
            <ac:inkMk id="42" creationId="{C31CE017-7559-7BE4-0BC0-4D3DBA516B22}"/>
          </ac:inkMkLst>
        </pc:inkChg>
        <pc:inkChg chg="add mod">
          <ac:chgData name="Aniket Chhabra" userId="598e0514-bef3-4e71-b6aa-f2edd6441cff" providerId="ADAL" clId="{FFB5BFD2-246A-034F-B635-DE62B5FCF3A6}" dt="2023-05-27T12:13:06.180" v="726"/>
          <ac:inkMkLst>
            <pc:docMk/>
            <pc:sldMk cId="3198530772" sldId="313"/>
            <ac:inkMk id="43" creationId="{E41ABF01-81C4-2FC7-66EB-BF0019F90BF4}"/>
          </ac:inkMkLst>
        </pc:inkChg>
        <pc:inkChg chg="add del mod">
          <ac:chgData name="Aniket Chhabra" userId="598e0514-bef3-4e71-b6aa-f2edd6441cff" providerId="ADAL" clId="{FFB5BFD2-246A-034F-B635-DE62B5FCF3A6}" dt="2023-06-03T15:45:59.958" v="1468"/>
          <ac:inkMkLst>
            <pc:docMk/>
            <pc:sldMk cId="3198530772" sldId="313"/>
            <ac:inkMk id="44" creationId="{500BD446-35F9-56FF-0525-8A4EAF63D90E}"/>
          </ac:inkMkLst>
        </pc:inkChg>
        <pc:inkChg chg="add mod">
          <ac:chgData name="Aniket Chhabra" userId="598e0514-bef3-4e71-b6aa-f2edd6441cff" providerId="ADAL" clId="{FFB5BFD2-246A-034F-B635-DE62B5FCF3A6}" dt="2023-05-27T12:13:06.180" v="726"/>
          <ac:inkMkLst>
            <pc:docMk/>
            <pc:sldMk cId="3198530772" sldId="313"/>
            <ac:inkMk id="45" creationId="{9CC955FE-EB11-F5AB-F6BF-F4F9FBA8C256}"/>
          </ac:inkMkLst>
        </pc:inkChg>
        <pc:inkChg chg="add mod">
          <ac:chgData name="Aniket Chhabra" userId="598e0514-bef3-4e71-b6aa-f2edd6441cff" providerId="ADAL" clId="{FFB5BFD2-246A-034F-B635-DE62B5FCF3A6}" dt="2023-05-27T12:13:06.180" v="726"/>
          <ac:inkMkLst>
            <pc:docMk/>
            <pc:sldMk cId="3198530772" sldId="313"/>
            <ac:inkMk id="46" creationId="{FD4946E7-E251-BC66-82A6-A788F539FB64}"/>
          </ac:inkMkLst>
        </pc:inkChg>
        <pc:inkChg chg="add mod">
          <ac:chgData name="Aniket Chhabra" userId="598e0514-bef3-4e71-b6aa-f2edd6441cff" providerId="ADAL" clId="{FFB5BFD2-246A-034F-B635-DE62B5FCF3A6}" dt="2023-05-27T12:13:06.180" v="726"/>
          <ac:inkMkLst>
            <pc:docMk/>
            <pc:sldMk cId="3198530772" sldId="313"/>
            <ac:inkMk id="47" creationId="{152EAD64-8A93-C500-82FF-5091FBDDEE52}"/>
          </ac:inkMkLst>
        </pc:inkChg>
        <pc:inkChg chg="add mod">
          <ac:chgData name="Aniket Chhabra" userId="598e0514-bef3-4e71-b6aa-f2edd6441cff" providerId="ADAL" clId="{FFB5BFD2-246A-034F-B635-DE62B5FCF3A6}" dt="2023-05-27T12:13:06.180" v="726"/>
          <ac:inkMkLst>
            <pc:docMk/>
            <pc:sldMk cId="3198530772" sldId="313"/>
            <ac:inkMk id="48" creationId="{4E0666DE-8198-4DED-A602-21201156E0C0}"/>
          </ac:inkMkLst>
        </pc:inkChg>
        <pc:inkChg chg="add mod">
          <ac:chgData name="Aniket Chhabra" userId="598e0514-bef3-4e71-b6aa-f2edd6441cff" providerId="ADAL" clId="{FFB5BFD2-246A-034F-B635-DE62B5FCF3A6}" dt="2023-05-27T12:13:06.180" v="726"/>
          <ac:inkMkLst>
            <pc:docMk/>
            <pc:sldMk cId="3198530772" sldId="313"/>
            <ac:inkMk id="49" creationId="{55A856FD-C03F-846B-FE9D-AEC6BECDF1BA}"/>
          </ac:inkMkLst>
        </pc:inkChg>
        <pc:inkChg chg="add mod">
          <ac:chgData name="Aniket Chhabra" userId="598e0514-bef3-4e71-b6aa-f2edd6441cff" providerId="ADAL" clId="{FFB5BFD2-246A-034F-B635-DE62B5FCF3A6}" dt="2023-05-27T12:13:06.180" v="726"/>
          <ac:inkMkLst>
            <pc:docMk/>
            <pc:sldMk cId="3198530772" sldId="313"/>
            <ac:inkMk id="50" creationId="{7691B7D6-E524-EE05-92DF-6E312EC614A7}"/>
          </ac:inkMkLst>
        </pc:inkChg>
        <pc:inkChg chg="add mod">
          <ac:chgData name="Aniket Chhabra" userId="598e0514-bef3-4e71-b6aa-f2edd6441cff" providerId="ADAL" clId="{FFB5BFD2-246A-034F-B635-DE62B5FCF3A6}" dt="2023-05-27T12:13:06.180" v="726"/>
          <ac:inkMkLst>
            <pc:docMk/>
            <pc:sldMk cId="3198530772" sldId="313"/>
            <ac:inkMk id="51" creationId="{70EA8A92-641F-A3C7-C7F5-F3C000EAE510}"/>
          </ac:inkMkLst>
        </pc:inkChg>
        <pc:inkChg chg="add mod">
          <ac:chgData name="Aniket Chhabra" userId="598e0514-bef3-4e71-b6aa-f2edd6441cff" providerId="ADAL" clId="{FFB5BFD2-246A-034F-B635-DE62B5FCF3A6}" dt="2023-05-27T12:13:06.180" v="726"/>
          <ac:inkMkLst>
            <pc:docMk/>
            <pc:sldMk cId="3198530772" sldId="313"/>
            <ac:inkMk id="52" creationId="{695998E8-7B9A-3D0C-C133-CA03BF7F178A}"/>
          </ac:inkMkLst>
        </pc:inkChg>
        <pc:inkChg chg="add del mod">
          <ac:chgData name="Aniket Chhabra" userId="598e0514-bef3-4e71-b6aa-f2edd6441cff" providerId="ADAL" clId="{FFB5BFD2-246A-034F-B635-DE62B5FCF3A6}" dt="2023-06-03T15:45:59.959" v="1471"/>
          <ac:inkMkLst>
            <pc:docMk/>
            <pc:sldMk cId="3198530772" sldId="313"/>
            <ac:inkMk id="53" creationId="{F870B2BE-1EFB-9EAD-3180-00E8598A0C36}"/>
          </ac:inkMkLst>
        </pc:inkChg>
        <pc:inkChg chg="add mod">
          <ac:chgData name="Aniket Chhabra" userId="598e0514-bef3-4e71-b6aa-f2edd6441cff" providerId="ADAL" clId="{FFB5BFD2-246A-034F-B635-DE62B5FCF3A6}" dt="2023-05-27T12:13:06.180" v="726"/>
          <ac:inkMkLst>
            <pc:docMk/>
            <pc:sldMk cId="3198530772" sldId="313"/>
            <ac:inkMk id="55" creationId="{52098892-F96B-C804-2846-FB3D40568A19}"/>
          </ac:inkMkLst>
        </pc:inkChg>
        <pc:inkChg chg="add mod">
          <ac:chgData name="Aniket Chhabra" userId="598e0514-bef3-4e71-b6aa-f2edd6441cff" providerId="ADAL" clId="{FFB5BFD2-246A-034F-B635-DE62B5FCF3A6}" dt="2023-05-27T12:13:06.180" v="726"/>
          <ac:inkMkLst>
            <pc:docMk/>
            <pc:sldMk cId="3198530772" sldId="313"/>
            <ac:inkMk id="56" creationId="{D538EE3B-C857-12AB-C69F-C6897D744757}"/>
          </ac:inkMkLst>
        </pc:inkChg>
        <pc:inkChg chg="add mod">
          <ac:chgData name="Aniket Chhabra" userId="598e0514-bef3-4e71-b6aa-f2edd6441cff" providerId="ADAL" clId="{FFB5BFD2-246A-034F-B635-DE62B5FCF3A6}" dt="2023-05-27T12:13:06.180" v="726"/>
          <ac:inkMkLst>
            <pc:docMk/>
            <pc:sldMk cId="3198530772" sldId="313"/>
            <ac:inkMk id="57" creationId="{789FA0C5-0FFE-A7B6-BF8F-679B709AC97B}"/>
          </ac:inkMkLst>
        </pc:inkChg>
        <pc:inkChg chg="add mod">
          <ac:chgData name="Aniket Chhabra" userId="598e0514-bef3-4e71-b6aa-f2edd6441cff" providerId="ADAL" clId="{FFB5BFD2-246A-034F-B635-DE62B5FCF3A6}" dt="2023-05-27T12:13:06.180" v="726"/>
          <ac:inkMkLst>
            <pc:docMk/>
            <pc:sldMk cId="3198530772" sldId="313"/>
            <ac:inkMk id="58" creationId="{77C18FD5-B0B9-3067-7DAA-D904FD2827FD}"/>
          </ac:inkMkLst>
        </pc:inkChg>
        <pc:inkChg chg="add mod">
          <ac:chgData name="Aniket Chhabra" userId="598e0514-bef3-4e71-b6aa-f2edd6441cff" providerId="ADAL" clId="{FFB5BFD2-246A-034F-B635-DE62B5FCF3A6}" dt="2023-05-27T12:13:06.180" v="726"/>
          <ac:inkMkLst>
            <pc:docMk/>
            <pc:sldMk cId="3198530772" sldId="313"/>
            <ac:inkMk id="59" creationId="{7E53711C-B2FF-6E09-D478-543B067E4906}"/>
          </ac:inkMkLst>
        </pc:inkChg>
        <pc:inkChg chg="add mod">
          <ac:chgData name="Aniket Chhabra" userId="598e0514-bef3-4e71-b6aa-f2edd6441cff" providerId="ADAL" clId="{FFB5BFD2-246A-034F-B635-DE62B5FCF3A6}" dt="2023-05-27T12:13:06.180" v="726"/>
          <ac:inkMkLst>
            <pc:docMk/>
            <pc:sldMk cId="3198530772" sldId="313"/>
            <ac:inkMk id="60" creationId="{8D4E9950-A3C7-4DDE-9D78-6B6EAA85D1AE}"/>
          </ac:inkMkLst>
        </pc:inkChg>
        <pc:inkChg chg="add mod">
          <ac:chgData name="Aniket Chhabra" userId="598e0514-bef3-4e71-b6aa-f2edd6441cff" providerId="ADAL" clId="{FFB5BFD2-246A-034F-B635-DE62B5FCF3A6}" dt="2023-06-03T15:46:09.887" v="1475"/>
          <ac:inkMkLst>
            <pc:docMk/>
            <pc:sldMk cId="3198530772" sldId="313"/>
            <ac:inkMk id="61" creationId="{5EA57C97-35EB-AC81-EA32-306068646749}"/>
          </ac:inkMkLst>
        </pc:inkChg>
        <pc:inkChg chg="add mod">
          <ac:chgData name="Aniket Chhabra" userId="598e0514-bef3-4e71-b6aa-f2edd6441cff" providerId="ADAL" clId="{FFB5BFD2-246A-034F-B635-DE62B5FCF3A6}" dt="2023-06-03T15:46:09.887" v="1475"/>
          <ac:inkMkLst>
            <pc:docMk/>
            <pc:sldMk cId="3198530772" sldId="313"/>
            <ac:inkMk id="62" creationId="{F3F8560D-317B-951E-503C-830E791A95CD}"/>
          </ac:inkMkLst>
        </pc:inkChg>
        <pc:inkChg chg="add mod">
          <ac:chgData name="Aniket Chhabra" userId="598e0514-bef3-4e71-b6aa-f2edd6441cff" providerId="ADAL" clId="{FFB5BFD2-246A-034F-B635-DE62B5FCF3A6}" dt="2023-05-27T12:13:06.180" v="726"/>
          <ac:inkMkLst>
            <pc:docMk/>
            <pc:sldMk cId="3198530772" sldId="313"/>
            <ac:inkMk id="63" creationId="{36F41BAB-168B-C3E4-C1D1-CCC5AAA3C8BB}"/>
          </ac:inkMkLst>
        </pc:inkChg>
        <pc:inkChg chg="add mod">
          <ac:chgData name="Aniket Chhabra" userId="598e0514-bef3-4e71-b6aa-f2edd6441cff" providerId="ADAL" clId="{FFB5BFD2-246A-034F-B635-DE62B5FCF3A6}" dt="2023-05-27T12:13:06.180" v="726"/>
          <ac:inkMkLst>
            <pc:docMk/>
            <pc:sldMk cId="3198530772" sldId="313"/>
            <ac:inkMk id="64" creationId="{6DEC2291-77AB-C387-7306-6D7435CD08EC}"/>
          </ac:inkMkLst>
        </pc:inkChg>
        <pc:inkChg chg="add mod">
          <ac:chgData name="Aniket Chhabra" userId="598e0514-bef3-4e71-b6aa-f2edd6441cff" providerId="ADAL" clId="{FFB5BFD2-246A-034F-B635-DE62B5FCF3A6}" dt="2023-05-27T12:13:06.180" v="726"/>
          <ac:inkMkLst>
            <pc:docMk/>
            <pc:sldMk cId="3198530772" sldId="313"/>
            <ac:inkMk id="65" creationId="{1F93E21D-C918-F2B5-FFAD-90FB1CCF7772}"/>
          </ac:inkMkLst>
        </pc:inkChg>
        <pc:inkChg chg="add mod">
          <ac:chgData name="Aniket Chhabra" userId="598e0514-bef3-4e71-b6aa-f2edd6441cff" providerId="ADAL" clId="{FFB5BFD2-246A-034F-B635-DE62B5FCF3A6}" dt="2023-05-27T12:13:06.180" v="726"/>
          <ac:inkMkLst>
            <pc:docMk/>
            <pc:sldMk cId="3198530772" sldId="313"/>
            <ac:inkMk id="66" creationId="{B4C829D1-4280-97CC-2407-7E163CB90B0B}"/>
          </ac:inkMkLst>
        </pc:inkChg>
        <pc:inkChg chg="add mod">
          <ac:chgData name="Aniket Chhabra" userId="598e0514-bef3-4e71-b6aa-f2edd6441cff" providerId="ADAL" clId="{FFB5BFD2-246A-034F-B635-DE62B5FCF3A6}" dt="2023-05-27T12:13:06.180" v="726"/>
          <ac:inkMkLst>
            <pc:docMk/>
            <pc:sldMk cId="3198530772" sldId="313"/>
            <ac:inkMk id="67" creationId="{A115603C-7531-B3D2-B367-530F7879BD23}"/>
          </ac:inkMkLst>
        </pc:inkChg>
        <pc:inkChg chg="add mod">
          <ac:chgData name="Aniket Chhabra" userId="598e0514-bef3-4e71-b6aa-f2edd6441cff" providerId="ADAL" clId="{FFB5BFD2-246A-034F-B635-DE62B5FCF3A6}" dt="2023-05-27T12:13:06.180" v="726"/>
          <ac:inkMkLst>
            <pc:docMk/>
            <pc:sldMk cId="3198530772" sldId="313"/>
            <ac:inkMk id="69" creationId="{4FBF876D-7973-8AFA-9F91-7F2A2F84D5E7}"/>
          </ac:inkMkLst>
        </pc:inkChg>
        <pc:inkChg chg="add mod">
          <ac:chgData name="Aniket Chhabra" userId="598e0514-bef3-4e71-b6aa-f2edd6441cff" providerId="ADAL" clId="{FFB5BFD2-246A-034F-B635-DE62B5FCF3A6}" dt="2023-05-27T12:13:06.180" v="726"/>
          <ac:inkMkLst>
            <pc:docMk/>
            <pc:sldMk cId="3198530772" sldId="313"/>
            <ac:inkMk id="70" creationId="{5273683B-A80E-CC4A-D553-F7041FAC8FCF}"/>
          </ac:inkMkLst>
        </pc:inkChg>
        <pc:inkChg chg="add mod">
          <ac:chgData name="Aniket Chhabra" userId="598e0514-bef3-4e71-b6aa-f2edd6441cff" providerId="ADAL" clId="{FFB5BFD2-246A-034F-B635-DE62B5FCF3A6}" dt="2023-05-27T12:13:06.180" v="726"/>
          <ac:inkMkLst>
            <pc:docMk/>
            <pc:sldMk cId="3198530772" sldId="313"/>
            <ac:inkMk id="71" creationId="{3157D5F0-F951-5CB1-6351-54EA46050000}"/>
          </ac:inkMkLst>
        </pc:inkChg>
        <pc:inkChg chg="add mod">
          <ac:chgData name="Aniket Chhabra" userId="598e0514-bef3-4e71-b6aa-f2edd6441cff" providerId="ADAL" clId="{FFB5BFD2-246A-034F-B635-DE62B5FCF3A6}" dt="2023-05-27T12:13:06.180" v="726"/>
          <ac:inkMkLst>
            <pc:docMk/>
            <pc:sldMk cId="3198530772" sldId="313"/>
            <ac:inkMk id="72" creationId="{4DF02192-4198-AF86-E97E-9CB18517D7D5}"/>
          </ac:inkMkLst>
        </pc:inkChg>
        <pc:inkChg chg="add mod">
          <ac:chgData name="Aniket Chhabra" userId="598e0514-bef3-4e71-b6aa-f2edd6441cff" providerId="ADAL" clId="{FFB5BFD2-246A-034F-B635-DE62B5FCF3A6}" dt="2023-05-27T12:13:06.180" v="726"/>
          <ac:inkMkLst>
            <pc:docMk/>
            <pc:sldMk cId="3198530772" sldId="313"/>
            <ac:inkMk id="73" creationId="{CAE9F7EF-722E-CC31-45B4-9C7C4A7B3061}"/>
          </ac:inkMkLst>
        </pc:inkChg>
        <pc:inkChg chg="add mod">
          <ac:chgData name="Aniket Chhabra" userId="598e0514-bef3-4e71-b6aa-f2edd6441cff" providerId="ADAL" clId="{FFB5BFD2-246A-034F-B635-DE62B5FCF3A6}" dt="2023-05-27T12:13:06.180" v="726"/>
          <ac:inkMkLst>
            <pc:docMk/>
            <pc:sldMk cId="3198530772" sldId="313"/>
            <ac:inkMk id="74" creationId="{087A83BC-F53B-10AF-90E2-0B4701B23901}"/>
          </ac:inkMkLst>
        </pc:inkChg>
        <pc:inkChg chg="add mod">
          <ac:chgData name="Aniket Chhabra" userId="598e0514-bef3-4e71-b6aa-f2edd6441cff" providerId="ADAL" clId="{FFB5BFD2-246A-034F-B635-DE62B5FCF3A6}" dt="2023-05-27T12:13:06.180" v="726"/>
          <ac:inkMkLst>
            <pc:docMk/>
            <pc:sldMk cId="3198530772" sldId="313"/>
            <ac:inkMk id="75" creationId="{94FAC8BA-F9C5-BFA3-730B-EEF7CE5AEB4D}"/>
          </ac:inkMkLst>
        </pc:inkChg>
        <pc:inkChg chg="add mod">
          <ac:chgData name="Aniket Chhabra" userId="598e0514-bef3-4e71-b6aa-f2edd6441cff" providerId="ADAL" clId="{FFB5BFD2-246A-034F-B635-DE62B5FCF3A6}" dt="2023-05-27T12:13:06.180" v="726"/>
          <ac:inkMkLst>
            <pc:docMk/>
            <pc:sldMk cId="3198530772" sldId="313"/>
            <ac:inkMk id="76" creationId="{0D53DDD7-EBEE-3F0F-A51C-E2C2DF3E6D09}"/>
          </ac:inkMkLst>
        </pc:inkChg>
        <pc:inkChg chg="add mod">
          <ac:chgData name="Aniket Chhabra" userId="598e0514-bef3-4e71-b6aa-f2edd6441cff" providerId="ADAL" clId="{FFB5BFD2-246A-034F-B635-DE62B5FCF3A6}" dt="2023-06-03T15:46:28.443" v="1478"/>
          <ac:inkMkLst>
            <pc:docMk/>
            <pc:sldMk cId="3198530772" sldId="313"/>
            <ac:inkMk id="77" creationId="{E712A318-6EF7-C3F8-D674-7B294D160F3E}"/>
          </ac:inkMkLst>
        </pc:inkChg>
        <pc:inkChg chg="add mod">
          <ac:chgData name="Aniket Chhabra" userId="598e0514-bef3-4e71-b6aa-f2edd6441cff" providerId="ADAL" clId="{FFB5BFD2-246A-034F-B635-DE62B5FCF3A6}" dt="2023-06-03T15:46:28.443" v="1478"/>
          <ac:inkMkLst>
            <pc:docMk/>
            <pc:sldMk cId="3198530772" sldId="313"/>
            <ac:inkMk id="78" creationId="{99421426-41E3-9A32-75FA-581BC5F48590}"/>
          </ac:inkMkLst>
        </pc:inkChg>
        <pc:inkChg chg="add">
          <ac:chgData name="Aniket Chhabra" userId="598e0514-bef3-4e71-b6aa-f2edd6441cff" providerId="ADAL" clId="{FFB5BFD2-246A-034F-B635-DE62B5FCF3A6}" dt="2023-05-27T12:12:56.913" v="713" actId="9405"/>
          <ac:inkMkLst>
            <pc:docMk/>
            <pc:sldMk cId="3198530772" sldId="313"/>
            <ac:inkMk id="79" creationId="{8A018793-B4A9-6D3A-987F-B85F27A38802}"/>
          </ac:inkMkLst>
        </pc:inkChg>
        <pc:inkChg chg="add mod">
          <ac:chgData name="Aniket Chhabra" userId="598e0514-bef3-4e71-b6aa-f2edd6441cff" providerId="ADAL" clId="{FFB5BFD2-246A-034F-B635-DE62B5FCF3A6}" dt="2023-05-27T12:12:59.923" v="720"/>
          <ac:inkMkLst>
            <pc:docMk/>
            <pc:sldMk cId="3198530772" sldId="313"/>
            <ac:inkMk id="80" creationId="{18C32B22-DFAF-E5C2-AD1A-C1F92FAE98B9}"/>
          </ac:inkMkLst>
        </pc:inkChg>
        <pc:inkChg chg="add mod">
          <ac:chgData name="Aniket Chhabra" userId="598e0514-bef3-4e71-b6aa-f2edd6441cff" providerId="ADAL" clId="{FFB5BFD2-246A-034F-B635-DE62B5FCF3A6}" dt="2023-05-27T12:12:59.923" v="720"/>
          <ac:inkMkLst>
            <pc:docMk/>
            <pc:sldMk cId="3198530772" sldId="313"/>
            <ac:inkMk id="81" creationId="{4F3CDDCA-B580-1843-7EE2-20FEEF28E658}"/>
          </ac:inkMkLst>
        </pc:inkChg>
        <pc:inkChg chg="add del mod">
          <ac:chgData name="Aniket Chhabra" userId="598e0514-bef3-4e71-b6aa-f2edd6441cff" providerId="ADAL" clId="{FFB5BFD2-246A-034F-B635-DE62B5FCF3A6}" dt="2023-05-27T12:13:00.460" v="721" actId="9405"/>
          <ac:inkMkLst>
            <pc:docMk/>
            <pc:sldMk cId="3198530772" sldId="313"/>
            <ac:inkMk id="82" creationId="{1AC2579D-F5D3-1677-2670-B408D786C74D}"/>
          </ac:inkMkLst>
        </pc:inkChg>
        <pc:inkChg chg="add del mod">
          <ac:chgData name="Aniket Chhabra" userId="598e0514-bef3-4e71-b6aa-f2edd6441cff" providerId="ADAL" clId="{FFB5BFD2-246A-034F-B635-DE62B5FCF3A6}" dt="2023-05-27T12:12:59.923" v="720"/>
          <ac:inkMkLst>
            <pc:docMk/>
            <pc:sldMk cId="3198530772" sldId="313"/>
            <ac:inkMk id="83" creationId="{072FF7F4-D36C-4A42-48DF-AB8FD29BA1C4}"/>
          </ac:inkMkLst>
        </pc:inkChg>
        <pc:inkChg chg="add mod">
          <ac:chgData name="Aniket Chhabra" userId="598e0514-bef3-4e71-b6aa-f2edd6441cff" providerId="ADAL" clId="{FFB5BFD2-246A-034F-B635-DE62B5FCF3A6}" dt="2023-06-03T15:46:54.193" v="1493"/>
          <ac:inkMkLst>
            <pc:docMk/>
            <pc:sldMk cId="3198530772" sldId="313"/>
            <ac:inkMk id="83" creationId="{DD3485E7-6F57-728C-3F9B-4A760C8ED3D9}"/>
          </ac:inkMkLst>
        </pc:inkChg>
        <pc:inkChg chg="add mod">
          <ac:chgData name="Aniket Chhabra" userId="598e0514-bef3-4e71-b6aa-f2edd6441cff" providerId="ADAL" clId="{FFB5BFD2-246A-034F-B635-DE62B5FCF3A6}" dt="2023-06-03T15:46:54.193" v="1493"/>
          <ac:inkMkLst>
            <pc:docMk/>
            <pc:sldMk cId="3198530772" sldId="313"/>
            <ac:inkMk id="84" creationId="{5FB4FAA8-D661-451F-76B7-060035723714}"/>
          </ac:inkMkLst>
        </pc:inkChg>
        <pc:inkChg chg="add mod">
          <ac:chgData name="Aniket Chhabra" userId="598e0514-bef3-4e71-b6aa-f2edd6441cff" providerId="ADAL" clId="{FFB5BFD2-246A-034F-B635-DE62B5FCF3A6}" dt="2023-06-03T15:46:54.193" v="1493"/>
          <ac:inkMkLst>
            <pc:docMk/>
            <pc:sldMk cId="3198530772" sldId="313"/>
            <ac:inkMk id="86" creationId="{E1EA893C-DA2A-C6C2-7E04-A047CB6185F1}"/>
          </ac:inkMkLst>
        </pc:inkChg>
        <pc:inkChg chg="add mod">
          <ac:chgData name="Aniket Chhabra" userId="598e0514-bef3-4e71-b6aa-f2edd6441cff" providerId="ADAL" clId="{FFB5BFD2-246A-034F-B635-DE62B5FCF3A6}" dt="2023-06-03T15:46:54.193" v="1493"/>
          <ac:inkMkLst>
            <pc:docMk/>
            <pc:sldMk cId="3198530772" sldId="313"/>
            <ac:inkMk id="87" creationId="{FDFA0FDE-114B-C8C5-DA95-D1CD82FE9B5E}"/>
          </ac:inkMkLst>
        </pc:inkChg>
        <pc:inkChg chg="add mod">
          <ac:chgData name="Aniket Chhabra" userId="598e0514-bef3-4e71-b6aa-f2edd6441cff" providerId="ADAL" clId="{FFB5BFD2-246A-034F-B635-DE62B5FCF3A6}" dt="2023-05-27T12:13:06.180" v="726"/>
          <ac:inkMkLst>
            <pc:docMk/>
            <pc:sldMk cId="3198530772" sldId="313"/>
            <ac:inkMk id="88" creationId="{92926117-3C7E-2104-D8F2-22D3FB1EE820}"/>
          </ac:inkMkLst>
        </pc:inkChg>
        <pc:inkChg chg="add mod">
          <ac:chgData name="Aniket Chhabra" userId="598e0514-bef3-4e71-b6aa-f2edd6441cff" providerId="ADAL" clId="{FFB5BFD2-246A-034F-B635-DE62B5FCF3A6}" dt="2023-06-03T15:46:54.193" v="1493"/>
          <ac:inkMkLst>
            <pc:docMk/>
            <pc:sldMk cId="3198530772" sldId="313"/>
            <ac:inkMk id="89" creationId="{BC656676-995E-2378-74E5-5841250F0EE5}"/>
          </ac:inkMkLst>
        </pc:inkChg>
        <pc:inkChg chg="add mod">
          <ac:chgData name="Aniket Chhabra" userId="598e0514-bef3-4e71-b6aa-f2edd6441cff" providerId="ADAL" clId="{FFB5BFD2-246A-034F-B635-DE62B5FCF3A6}" dt="2023-05-27T12:13:06.180" v="726"/>
          <ac:inkMkLst>
            <pc:docMk/>
            <pc:sldMk cId="3198530772" sldId="313"/>
            <ac:inkMk id="90" creationId="{D877A5DC-D9FD-6873-B717-CB7E593DC48F}"/>
          </ac:inkMkLst>
        </pc:inkChg>
        <pc:inkChg chg="add mod">
          <ac:chgData name="Aniket Chhabra" userId="598e0514-bef3-4e71-b6aa-f2edd6441cff" providerId="ADAL" clId="{FFB5BFD2-246A-034F-B635-DE62B5FCF3A6}" dt="2023-05-27T12:13:06.180" v="726"/>
          <ac:inkMkLst>
            <pc:docMk/>
            <pc:sldMk cId="3198530772" sldId="313"/>
            <ac:inkMk id="91" creationId="{A035010D-7C00-9528-183B-6A93BF27477C}"/>
          </ac:inkMkLst>
        </pc:inkChg>
        <pc:inkChg chg="add">
          <ac:chgData name="Aniket Chhabra" userId="598e0514-bef3-4e71-b6aa-f2edd6441cff" providerId="ADAL" clId="{FFB5BFD2-246A-034F-B635-DE62B5FCF3A6}" dt="2023-05-27T12:13:15.923" v="727" actId="9405"/>
          <ac:inkMkLst>
            <pc:docMk/>
            <pc:sldMk cId="3198530772" sldId="313"/>
            <ac:inkMk id="93" creationId="{6BA62319-D76C-1188-13EC-932B46078855}"/>
          </ac:inkMkLst>
        </pc:inkChg>
        <pc:inkChg chg="add mod">
          <ac:chgData name="Aniket Chhabra" userId="598e0514-bef3-4e71-b6aa-f2edd6441cff" providerId="ADAL" clId="{FFB5BFD2-246A-034F-B635-DE62B5FCF3A6}" dt="2023-05-27T12:16:03.014" v="827"/>
          <ac:inkMkLst>
            <pc:docMk/>
            <pc:sldMk cId="3198530772" sldId="313"/>
            <ac:inkMk id="94" creationId="{206F5E9B-BB8D-C8C0-9401-F5B34B92398D}"/>
          </ac:inkMkLst>
        </pc:inkChg>
        <pc:inkChg chg="add mod">
          <ac:chgData name="Aniket Chhabra" userId="598e0514-bef3-4e71-b6aa-f2edd6441cff" providerId="ADAL" clId="{FFB5BFD2-246A-034F-B635-DE62B5FCF3A6}" dt="2023-05-27T12:16:03.014" v="827"/>
          <ac:inkMkLst>
            <pc:docMk/>
            <pc:sldMk cId="3198530772" sldId="313"/>
            <ac:inkMk id="95" creationId="{F92D176B-FDCA-4C48-DCB6-BBA925097D9C}"/>
          </ac:inkMkLst>
        </pc:inkChg>
        <pc:inkChg chg="add mod">
          <ac:chgData name="Aniket Chhabra" userId="598e0514-bef3-4e71-b6aa-f2edd6441cff" providerId="ADAL" clId="{FFB5BFD2-246A-034F-B635-DE62B5FCF3A6}" dt="2023-05-27T12:16:03.014" v="827"/>
          <ac:inkMkLst>
            <pc:docMk/>
            <pc:sldMk cId="3198530772" sldId="313"/>
            <ac:inkMk id="96" creationId="{BA5E69E6-2A91-228B-7E81-384CE959BCFC}"/>
          </ac:inkMkLst>
        </pc:inkChg>
        <pc:inkChg chg="add mod">
          <ac:chgData name="Aniket Chhabra" userId="598e0514-bef3-4e71-b6aa-f2edd6441cff" providerId="ADAL" clId="{FFB5BFD2-246A-034F-B635-DE62B5FCF3A6}" dt="2023-05-27T12:16:03.014" v="827"/>
          <ac:inkMkLst>
            <pc:docMk/>
            <pc:sldMk cId="3198530772" sldId="313"/>
            <ac:inkMk id="97" creationId="{ECCCEFA4-01E3-CF94-E462-564F0BF5BD03}"/>
          </ac:inkMkLst>
        </pc:inkChg>
        <pc:inkChg chg="add mod">
          <ac:chgData name="Aniket Chhabra" userId="598e0514-bef3-4e71-b6aa-f2edd6441cff" providerId="ADAL" clId="{FFB5BFD2-246A-034F-B635-DE62B5FCF3A6}" dt="2023-05-27T12:16:03.014" v="827"/>
          <ac:inkMkLst>
            <pc:docMk/>
            <pc:sldMk cId="3198530772" sldId="313"/>
            <ac:inkMk id="98" creationId="{8C67F3DB-923B-B2F7-2836-AC29DF8E95AC}"/>
          </ac:inkMkLst>
        </pc:inkChg>
        <pc:inkChg chg="add mod">
          <ac:chgData name="Aniket Chhabra" userId="598e0514-bef3-4e71-b6aa-f2edd6441cff" providerId="ADAL" clId="{FFB5BFD2-246A-034F-B635-DE62B5FCF3A6}" dt="2023-05-27T12:16:03.014" v="827"/>
          <ac:inkMkLst>
            <pc:docMk/>
            <pc:sldMk cId="3198530772" sldId="313"/>
            <ac:inkMk id="99" creationId="{58D362DC-7779-29BC-587B-09FEFA82450F}"/>
          </ac:inkMkLst>
        </pc:inkChg>
        <pc:inkChg chg="add mod">
          <ac:chgData name="Aniket Chhabra" userId="598e0514-bef3-4e71-b6aa-f2edd6441cff" providerId="ADAL" clId="{FFB5BFD2-246A-034F-B635-DE62B5FCF3A6}" dt="2023-05-27T12:16:03.014" v="827"/>
          <ac:inkMkLst>
            <pc:docMk/>
            <pc:sldMk cId="3198530772" sldId="313"/>
            <ac:inkMk id="100" creationId="{E595AFFF-7EBC-07B4-38A1-0102CE229C5A}"/>
          </ac:inkMkLst>
        </pc:inkChg>
        <pc:inkChg chg="add mod">
          <ac:chgData name="Aniket Chhabra" userId="598e0514-bef3-4e71-b6aa-f2edd6441cff" providerId="ADAL" clId="{FFB5BFD2-246A-034F-B635-DE62B5FCF3A6}" dt="2023-05-27T12:16:03.014" v="827"/>
          <ac:inkMkLst>
            <pc:docMk/>
            <pc:sldMk cId="3198530772" sldId="313"/>
            <ac:inkMk id="101" creationId="{79CC8CA1-DE90-6B62-B515-BA002E5746BD}"/>
          </ac:inkMkLst>
        </pc:inkChg>
        <pc:inkChg chg="add mod">
          <ac:chgData name="Aniket Chhabra" userId="598e0514-bef3-4e71-b6aa-f2edd6441cff" providerId="ADAL" clId="{FFB5BFD2-246A-034F-B635-DE62B5FCF3A6}" dt="2023-05-27T12:16:03.014" v="827"/>
          <ac:inkMkLst>
            <pc:docMk/>
            <pc:sldMk cId="3198530772" sldId="313"/>
            <ac:inkMk id="102" creationId="{9F35E7DB-B0BF-8BDB-093C-7F04B04FBB63}"/>
          </ac:inkMkLst>
        </pc:inkChg>
        <pc:inkChg chg="add mod">
          <ac:chgData name="Aniket Chhabra" userId="598e0514-bef3-4e71-b6aa-f2edd6441cff" providerId="ADAL" clId="{FFB5BFD2-246A-034F-B635-DE62B5FCF3A6}" dt="2023-06-03T15:46:54.193" v="1493"/>
          <ac:inkMkLst>
            <pc:docMk/>
            <pc:sldMk cId="3198530772" sldId="313"/>
            <ac:inkMk id="103" creationId="{7518C5E7-1198-F7DF-A9C7-A817496662FA}"/>
          </ac:inkMkLst>
        </pc:inkChg>
        <pc:inkChg chg="add">
          <ac:chgData name="Aniket Chhabra" userId="598e0514-bef3-4e71-b6aa-f2edd6441cff" providerId="ADAL" clId="{FFB5BFD2-246A-034F-B635-DE62B5FCF3A6}" dt="2023-05-27T12:13:55.513" v="738" actId="9405"/>
          <ac:inkMkLst>
            <pc:docMk/>
            <pc:sldMk cId="3198530772" sldId="313"/>
            <ac:inkMk id="104" creationId="{6D1C53D1-3982-D279-CE1F-B3216B6E09F0}"/>
          </ac:inkMkLst>
        </pc:inkChg>
        <pc:inkChg chg="add mod">
          <ac:chgData name="Aniket Chhabra" userId="598e0514-bef3-4e71-b6aa-f2edd6441cff" providerId="ADAL" clId="{FFB5BFD2-246A-034F-B635-DE62B5FCF3A6}" dt="2023-05-27T12:14:00.275" v="741"/>
          <ac:inkMkLst>
            <pc:docMk/>
            <pc:sldMk cId="3198530772" sldId="313"/>
            <ac:inkMk id="105" creationId="{8C24AF75-EB05-8D30-23C1-13C21E7CBA09}"/>
          </ac:inkMkLst>
        </pc:inkChg>
        <pc:inkChg chg="add mod">
          <ac:chgData name="Aniket Chhabra" userId="598e0514-bef3-4e71-b6aa-f2edd6441cff" providerId="ADAL" clId="{FFB5BFD2-246A-034F-B635-DE62B5FCF3A6}" dt="2023-05-27T12:14:00.275" v="741"/>
          <ac:inkMkLst>
            <pc:docMk/>
            <pc:sldMk cId="3198530772" sldId="313"/>
            <ac:inkMk id="106" creationId="{B17196E6-6753-5E8B-0F37-82FEA2BFA9E7}"/>
          </ac:inkMkLst>
        </pc:inkChg>
        <pc:inkChg chg="add mod">
          <ac:chgData name="Aniket Chhabra" userId="598e0514-bef3-4e71-b6aa-f2edd6441cff" providerId="ADAL" clId="{FFB5BFD2-246A-034F-B635-DE62B5FCF3A6}" dt="2023-06-03T15:45:59.959" v="1470"/>
          <ac:inkMkLst>
            <pc:docMk/>
            <pc:sldMk cId="3198530772" sldId="313"/>
            <ac:inkMk id="108" creationId="{014F55FA-42BA-0469-E3F3-26BB922C4AF9}"/>
          </ac:inkMkLst>
        </pc:inkChg>
        <pc:inkChg chg="add mod">
          <ac:chgData name="Aniket Chhabra" userId="598e0514-bef3-4e71-b6aa-f2edd6441cff" providerId="ADAL" clId="{FFB5BFD2-246A-034F-B635-DE62B5FCF3A6}" dt="2023-06-03T15:45:59.959" v="1470"/>
          <ac:inkMkLst>
            <pc:docMk/>
            <pc:sldMk cId="3198530772" sldId="313"/>
            <ac:inkMk id="109" creationId="{A94DFBE1-AF30-49D4-5920-7127B4C7AC4F}"/>
          </ac:inkMkLst>
        </pc:inkChg>
        <pc:inkChg chg="add mod">
          <ac:chgData name="Aniket Chhabra" userId="598e0514-bef3-4e71-b6aa-f2edd6441cff" providerId="ADAL" clId="{FFB5BFD2-246A-034F-B635-DE62B5FCF3A6}" dt="2023-06-03T15:45:59.959" v="1470"/>
          <ac:inkMkLst>
            <pc:docMk/>
            <pc:sldMk cId="3198530772" sldId="313"/>
            <ac:inkMk id="110" creationId="{87F8B217-1203-6C48-BAE1-69A5EAE497EF}"/>
          </ac:inkMkLst>
        </pc:inkChg>
        <pc:inkChg chg="add mod">
          <ac:chgData name="Aniket Chhabra" userId="598e0514-bef3-4e71-b6aa-f2edd6441cff" providerId="ADAL" clId="{FFB5BFD2-246A-034F-B635-DE62B5FCF3A6}" dt="2023-06-03T15:45:59.959" v="1470"/>
          <ac:inkMkLst>
            <pc:docMk/>
            <pc:sldMk cId="3198530772" sldId="313"/>
            <ac:inkMk id="112" creationId="{38670899-12C1-4E1B-C4ED-8156A1473B87}"/>
          </ac:inkMkLst>
        </pc:inkChg>
        <pc:inkChg chg="add mod">
          <ac:chgData name="Aniket Chhabra" userId="598e0514-bef3-4e71-b6aa-f2edd6441cff" providerId="ADAL" clId="{FFB5BFD2-246A-034F-B635-DE62B5FCF3A6}" dt="2023-06-03T15:46:54.193" v="1493"/>
          <ac:inkMkLst>
            <pc:docMk/>
            <pc:sldMk cId="3198530772" sldId="313"/>
            <ac:inkMk id="113" creationId="{D5F224AD-4E5E-D88C-FFF2-2FFAED19702D}"/>
          </ac:inkMkLst>
        </pc:inkChg>
        <pc:inkChg chg="add del mod">
          <ac:chgData name="Aniket Chhabra" userId="598e0514-bef3-4e71-b6aa-f2edd6441cff" providerId="ADAL" clId="{FFB5BFD2-246A-034F-B635-DE62B5FCF3A6}" dt="2023-06-03T15:45:59.958" v="1467"/>
          <ac:inkMkLst>
            <pc:docMk/>
            <pc:sldMk cId="3198530772" sldId="313"/>
            <ac:inkMk id="114" creationId="{BE9385DD-04FE-5D47-E8B3-7C942AF83C7E}"/>
          </ac:inkMkLst>
        </pc:inkChg>
        <pc:inkChg chg="add mod">
          <ac:chgData name="Aniket Chhabra" userId="598e0514-bef3-4e71-b6aa-f2edd6441cff" providerId="ADAL" clId="{FFB5BFD2-246A-034F-B635-DE62B5FCF3A6}" dt="2023-06-03T15:46:54.193" v="1493"/>
          <ac:inkMkLst>
            <pc:docMk/>
            <pc:sldMk cId="3198530772" sldId="313"/>
            <ac:inkMk id="115" creationId="{0D90DB6E-A3C1-2C89-F13B-F9A198C0D166}"/>
          </ac:inkMkLst>
        </pc:inkChg>
        <pc:inkChg chg="add del mod">
          <ac:chgData name="Aniket Chhabra" userId="598e0514-bef3-4e71-b6aa-f2edd6441cff" providerId="ADAL" clId="{FFB5BFD2-246A-034F-B635-DE62B5FCF3A6}" dt="2023-06-03T15:45:59.959" v="1470"/>
          <ac:inkMkLst>
            <pc:docMk/>
            <pc:sldMk cId="3198530772" sldId="313"/>
            <ac:inkMk id="116" creationId="{3CFEC7E8-76AC-8EAA-01A6-35C0025D8D86}"/>
          </ac:inkMkLst>
        </pc:inkChg>
        <pc:inkChg chg="add mod">
          <ac:chgData name="Aniket Chhabra" userId="598e0514-bef3-4e71-b6aa-f2edd6441cff" providerId="ADAL" clId="{FFB5BFD2-246A-034F-B635-DE62B5FCF3A6}" dt="2023-06-03T15:46:54.193" v="1493"/>
          <ac:inkMkLst>
            <pc:docMk/>
            <pc:sldMk cId="3198530772" sldId="313"/>
            <ac:inkMk id="117" creationId="{53C451D7-4FDD-23DB-8030-E80753DFBF0A}"/>
          </ac:inkMkLst>
        </pc:inkChg>
        <pc:inkChg chg="add mod">
          <ac:chgData name="Aniket Chhabra" userId="598e0514-bef3-4e71-b6aa-f2edd6441cff" providerId="ADAL" clId="{FFB5BFD2-246A-034F-B635-DE62B5FCF3A6}" dt="2023-06-03T15:45:59.959" v="1470"/>
          <ac:inkMkLst>
            <pc:docMk/>
            <pc:sldMk cId="3198530772" sldId="313"/>
            <ac:inkMk id="118" creationId="{AA98399D-E86F-A4C5-4FFB-4B137BCEBDBF}"/>
          </ac:inkMkLst>
        </pc:inkChg>
        <pc:inkChg chg="add mod">
          <ac:chgData name="Aniket Chhabra" userId="598e0514-bef3-4e71-b6aa-f2edd6441cff" providerId="ADAL" clId="{FFB5BFD2-246A-034F-B635-DE62B5FCF3A6}" dt="2023-06-03T15:46:54.193" v="1493"/>
          <ac:inkMkLst>
            <pc:docMk/>
            <pc:sldMk cId="3198530772" sldId="313"/>
            <ac:inkMk id="119" creationId="{C7D669B8-F93F-DBC1-7E9A-984F22D6C584}"/>
          </ac:inkMkLst>
        </pc:inkChg>
        <pc:inkChg chg="add mod">
          <ac:chgData name="Aniket Chhabra" userId="598e0514-bef3-4e71-b6aa-f2edd6441cff" providerId="ADAL" clId="{FFB5BFD2-246A-034F-B635-DE62B5FCF3A6}" dt="2023-06-03T15:45:59.959" v="1470"/>
          <ac:inkMkLst>
            <pc:docMk/>
            <pc:sldMk cId="3198530772" sldId="313"/>
            <ac:inkMk id="120" creationId="{355CCD68-5A3E-C169-A229-40938DE578FA}"/>
          </ac:inkMkLst>
        </pc:inkChg>
        <pc:inkChg chg="add mod">
          <ac:chgData name="Aniket Chhabra" userId="598e0514-bef3-4e71-b6aa-f2edd6441cff" providerId="ADAL" clId="{FFB5BFD2-246A-034F-B635-DE62B5FCF3A6}" dt="2023-06-03T15:45:59.959" v="1470"/>
          <ac:inkMkLst>
            <pc:docMk/>
            <pc:sldMk cId="3198530772" sldId="313"/>
            <ac:inkMk id="121" creationId="{E116CB68-52A3-642E-4169-FF6B9CDD0919}"/>
          </ac:inkMkLst>
        </pc:inkChg>
        <pc:inkChg chg="add mod">
          <ac:chgData name="Aniket Chhabra" userId="598e0514-bef3-4e71-b6aa-f2edd6441cff" providerId="ADAL" clId="{FFB5BFD2-246A-034F-B635-DE62B5FCF3A6}" dt="2023-06-03T15:46:54.193" v="1493"/>
          <ac:inkMkLst>
            <pc:docMk/>
            <pc:sldMk cId="3198530772" sldId="313"/>
            <ac:inkMk id="122" creationId="{223E4695-8157-7288-0515-B1FA197D8B6B}"/>
          </ac:inkMkLst>
        </pc:inkChg>
        <pc:inkChg chg="add mod">
          <ac:chgData name="Aniket Chhabra" userId="598e0514-bef3-4e71-b6aa-f2edd6441cff" providerId="ADAL" clId="{FFB5BFD2-246A-034F-B635-DE62B5FCF3A6}" dt="2023-06-03T15:45:59.959" v="1470"/>
          <ac:inkMkLst>
            <pc:docMk/>
            <pc:sldMk cId="3198530772" sldId="313"/>
            <ac:inkMk id="123" creationId="{6A91823D-2AEA-BBF8-91F7-E7A5AE949F73}"/>
          </ac:inkMkLst>
        </pc:inkChg>
        <pc:inkChg chg="add mod">
          <ac:chgData name="Aniket Chhabra" userId="598e0514-bef3-4e71-b6aa-f2edd6441cff" providerId="ADAL" clId="{FFB5BFD2-246A-034F-B635-DE62B5FCF3A6}" dt="2023-06-03T15:45:59.959" v="1470"/>
          <ac:inkMkLst>
            <pc:docMk/>
            <pc:sldMk cId="3198530772" sldId="313"/>
            <ac:inkMk id="124" creationId="{117E01AA-F272-0903-72AA-F331F18CED77}"/>
          </ac:inkMkLst>
        </pc:inkChg>
        <pc:inkChg chg="add mod">
          <ac:chgData name="Aniket Chhabra" userId="598e0514-bef3-4e71-b6aa-f2edd6441cff" providerId="ADAL" clId="{FFB5BFD2-246A-034F-B635-DE62B5FCF3A6}" dt="2023-06-03T15:45:59.959" v="1470"/>
          <ac:inkMkLst>
            <pc:docMk/>
            <pc:sldMk cId="3198530772" sldId="313"/>
            <ac:inkMk id="125" creationId="{CF016F3A-F023-BDCB-5933-E9040D9C886A}"/>
          </ac:inkMkLst>
        </pc:inkChg>
        <pc:inkChg chg="add mod">
          <ac:chgData name="Aniket Chhabra" userId="598e0514-bef3-4e71-b6aa-f2edd6441cff" providerId="ADAL" clId="{FFB5BFD2-246A-034F-B635-DE62B5FCF3A6}" dt="2023-06-03T15:46:54.193" v="1493"/>
          <ac:inkMkLst>
            <pc:docMk/>
            <pc:sldMk cId="3198530772" sldId="313"/>
            <ac:inkMk id="126" creationId="{0DBC0655-B4F2-93D5-EF46-0C1555CAC0F4}"/>
          </ac:inkMkLst>
        </pc:inkChg>
        <pc:inkChg chg="add mod">
          <ac:chgData name="Aniket Chhabra" userId="598e0514-bef3-4e71-b6aa-f2edd6441cff" providerId="ADAL" clId="{FFB5BFD2-246A-034F-B635-DE62B5FCF3A6}" dt="2023-06-03T15:45:59.959" v="1470"/>
          <ac:inkMkLst>
            <pc:docMk/>
            <pc:sldMk cId="3198530772" sldId="313"/>
            <ac:inkMk id="127" creationId="{D33D92A1-9DDD-14DC-9E8C-1E8E8EECC84E}"/>
          </ac:inkMkLst>
        </pc:inkChg>
        <pc:inkChg chg="add mod">
          <ac:chgData name="Aniket Chhabra" userId="598e0514-bef3-4e71-b6aa-f2edd6441cff" providerId="ADAL" clId="{FFB5BFD2-246A-034F-B635-DE62B5FCF3A6}" dt="2023-06-03T15:45:59.959" v="1472"/>
          <ac:inkMkLst>
            <pc:docMk/>
            <pc:sldMk cId="3198530772" sldId="313"/>
            <ac:inkMk id="129" creationId="{51EC7361-D2BD-58AF-ADF1-42DC59B98B28}"/>
          </ac:inkMkLst>
        </pc:inkChg>
        <pc:inkChg chg="add mod">
          <ac:chgData name="Aniket Chhabra" userId="598e0514-bef3-4e71-b6aa-f2edd6441cff" providerId="ADAL" clId="{FFB5BFD2-246A-034F-B635-DE62B5FCF3A6}" dt="2023-06-03T15:45:59.959" v="1472"/>
          <ac:inkMkLst>
            <pc:docMk/>
            <pc:sldMk cId="3198530772" sldId="313"/>
            <ac:inkMk id="130" creationId="{1DF8B5D6-DC13-2734-A62C-E7ADDF28C339}"/>
          </ac:inkMkLst>
        </pc:inkChg>
        <pc:inkChg chg="add mod">
          <ac:chgData name="Aniket Chhabra" userId="598e0514-bef3-4e71-b6aa-f2edd6441cff" providerId="ADAL" clId="{FFB5BFD2-246A-034F-B635-DE62B5FCF3A6}" dt="2023-06-03T15:45:59.959" v="1472"/>
          <ac:inkMkLst>
            <pc:docMk/>
            <pc:sldMk cId="3198530772" sldId="313"/>
            <ac:inkMk id="131" creationId="{F192DB6B-C9E0-FA8A-47C1-61BF6777E478}"/>
          </ac:inkMkLst>
        </pc:inkChg>
        <pc:inkChg chg="add mod">
          <ac:chgData name="Aniket Chhabra" userId="598e0514-bef3-4e71-b6aa-f2edd6441cff" providerId="ADAL" clId="{FFB5BFD2-246A-034F-B635-DE62B5FCF3A6}" dt="2023-06-03T15:45:59.959" v="1472"/>
          <ac:inkMkLst>
            <pc:docMk/>
            <pc:sldMk cId="3198530772" sldId="313"/>
            <ac:inkMk id="132" creationId="{77102292-45B2-914C-E0BD-55F2F3309309}"/>
          </ac:inkMkLst>
        </pc:inkChg>
        <pc:inkChg chg="add mod">
          <ac:chgData name="Aniket Chhabra" userId="598e0514-bef3-4e71-b6aa-f2edd6441cff" providerId="ADAL" clId="{FFB5BFD2-246A-034F-B635-DE62B5FCF3A6}" dt="2023-06-03T15:45:59.959" v="1472"/>
          <ac:inkMkLst>
            <pc:docMk/>
            <pc:sldMk cId="3198530772" sldId="313"/>
            <ac:inkMk id="133" creationId="{3447C0C0-2B6E-0342-EB29-A13937A3FB42}"/>
          </ac:inkMkLst>
        </pc:inkChg>
        <pc:inkChg chg="add mod">
          <ac:chgData name="Aniket Chhabra" userId="598e0514-bef3-4e71-b6aa-f2edd6441cff" providerId="ADAL" clId="{FFB5BFD2-246A-034F-B635-DE62B5FCF3A6}" dt="2023-06-03T15:45:59.959" v="1472"/>
          <ac:inkMkLst>
            <pc:docMk/>
            <pc:sldMk cId="3198530772" sldId="313"/>
            <ac:inkMk id="134" creationId="{B829D44D-A8A4-ED49-3E41-0B119F4F8592}"/>
          </ac:inkMkLst>
        </pc:inkChg>
        <pc:inkChg chg="add mod">
          <ac:chgData name="Aniket Chhabra" userId="598e0514-bef3-4e71-b6aa-f2edd6441cff" providerId="ADAL" clId="{FFB5BFD2-246A-034F-B635-DE62B5FCF3A6}" dt="2023-06-03T15:45:59.959" v="1472"/>
          <ac:inkMkLst>
            <pc:docMk/>
            <pc:sldMk cId="3198530772" sldId="313"/>
            <ac:inkMk id="135" creationId="{EDE15B7F-3997-6475-C969-6562FAA2B446}"/>
          </ac:inkMkLst>
        </pc:inkChg>
        <pc:inkChg chg="add mod">
          <ac:chgData name="Aniket Chhabra" userId="598e0514-bef3-4e71-b6aa-f2edd6441cff" providerId="ADAL" clId="{FFB5BFD2-246A-034F-B635-DE62B5FCF3A6}" dt="2023-06-03T15:45:59.959" v="1472"/>
          <ac:inkMkLst>
            <pc:docMk/>
            <pc:sldMk cId="3198530772" sldId="313"/>
            <ac:inkMk id="136" creationId="{4C01250D-536E-757F-31B3-70B94D5AC9A3}"/>
          </ac:inkMkLst>
        </pc:inkChg>
        <pc:inkChg chg="add mod">
          <ac:chgData name="Aniket Chhabra" userId="598e0514-bef3-4e71-b6aa-f2edd6441cff" providerId="ADAL" clId="{FFB5BFD2-246A-034F-B635-DE62B5FCF3A6}" dt="2023-06-03T15:45:59.959" v="1472"/>
          <ac:inkMkLst>
            <pc:docMk/>
            <pc:sldMk cId="3198530772" sldId="313"/>
            <ac:inkMk id="137" creationId="{5550A89D-EEBB-0D33-EBD5-8D7444819CEE}"/>
          </ac:inkMkLst>
        </pc:inkChg>
        <pc:inkChg chg="add mod">
          <ac:chgData name="Aniket Chhabra" userId="598e0514-bef3-4e71-b6aa-f2edd6441cff" providerId="ADAL" clId="{FFB5BFD2-246A-034F-B635-DE62B5FCF3A6}" dt="2023-06-03T15:45:59.959" v="1472"/>
          <ac:inkMkLst>
            <pc:docMk/>
            <pc:sldMk cId="3198530772" sldId="313"/>
            <ac:inkMk id="138" creationId="{126A5FA7-082F-5177-E30A-35B3B397E5A3}"/>
          </ac:inkMkLst>
        </pc:inkChg>
        <pc:inkChg chg="add mod">
          <ac:chgData name="Aniket Chhabra" userId="598e0514-bef3-4e71-b6aa-f2edd6441cff" providerId="ADAL" clId="{FFB5BFD2-246A-034F-B635-DE62B5FCF3A6}" dt="2023-06-03T15:45:59.959" v="1472"/>
          <ac:inkMkLst>
            <pc:docMk/>
            <pc:sldMk cId="3198530772" sldId="313"/>
            <ac:inkMk id="140" creationId="{46F596EB-726C-4565-DCC3-8924044E2491}"/>
          </ac:inkMkLst>
        </pc:inkChg>
        <pc:inkChg chg="add del mod">
          <ac:chgData name="Aniket Chhabra" userId="598e0514-bef3-4e71-b6aa-f2edd6441cff" providerId="ADAL" clId="{FFB5BFD2-246A-034F-B635-DE62B5FCF3A6}" dt="2023-06-03T15:45:59.959" v="1472"/>
          <ac:inkMkLst>
            <pc:docMk/>
            <pc:sldMk cId="3198530772" sldId="313"/>
            <ac:inkMk id="142" creationId="{96C3666A-B784-97DF-F192-BD3870D75C0C}"/>
          </ac:inkMkLst>
        </pc:inkChg>
        <pc:inkChg chg="add mod">
          <ac:chgData name="Aniket Chhabra" userId="598e0514-bef3-4e71-b6aa-f2edd6441cff" providerId="ADAL" clId="{FFB5BFD2-246A-034F-B635-DE62B5FCF3A6}" dt="2023-06-03T15:45:59.959" v="1472"/>
          <ac:inkMkLst>
            <pc:docMk/>
            <pc:sldMk cId="3198530772" sldId="313"/>
            <ac:inkMk id="144" creationId="{A4C39045-769F-6F43-899F-A85BD9752702}"/>
          </ac:inkMkLst>
        </pc:inkChg>
        <pc:inkChg chg="add mod">
          <ac:chgData name="Aniket Chhabra" userId="598e0514-bef3-4e71-b6aa-f2edd6441cff" providerId="ADAL" clId="{FFB5BFD2-246A-034F-B635-DE62B5FCF3A6}" dt="2023-06-03T15:45:59.959" v="1472"/>
          <ac:inkMkLst>
            <pc:docMk/>
            <pc:sldMk cId="3198530772" sldId="313"/>
            <ac:inkMk id="145" creationId="{2BFE028E-B43C-6EEE-D057-95CF9BCD4D46}"/>
          </ac:inkMkLst>
        </pc:inkChg>
        <pc:inkChg chg="add mod">
          <ac:chgData name="Aniket Chhabra" userId="598e0514-bef3-4e71-b6aa-f2edd6441cff" providerId="ADAL" clId="{FFB5BFD2-246A-034F-B635-DE62B5FCF3A6}" dt="2023-06-03T15:45:59.959" v="1472"/>
          <ac:inkMkLst>
            <pc:docMk/>
            <pc:sldMk cId="3198530772" sldId="313"/>
            <ac:inkMk id="146" creationId="{73D95104-212E-01CC-AB67-18228D9158A9}"/>
          </ac:inkMkLst>
        </pc:inkChg>
        <pc:inkChg chg="add mod">
          <ac:chgData name="Aniket Chhabra" userId="598e0514-bef3-4e71-b6aa-f2edd6441cff" providerId="ADAL" clId="{FFB5BFD2-246A-034F-B635-DE62B5FCF3A6}" dt="2023-06-03T15:45:59.959" v="1472"/>
          <ac:inkMkLst>
            <pc:docMk/>
            <pc:sldMk cId="3198530772" sldId="313"/>
            <ac:inkMk id="147" creationId="{80A62771-6211-87ED-5B8A-25C34C591F90}"/>
          </ac:inkMkLst>
        </pc:inkChg>
        <pc:inkChg chg="add mod">
          <ac:chgData name="Aniket Chhabra" userId="598e0514-bef3-4e71-b6aa-f2edd6441cff" providerId="ADAL" clId="{FFB5BFD2-246A-034F-B635-DE62B5FCF3A6}" dt="2023-05-27T12:15:27.445" v="810"/>
          <ac:inkMkLst>
            <pc:docMk/>
            <pc:sldMk cId="3198530772" sldId="313"/>
            <ac:inkMk id="149" creationId="{AB49983C-05F0-786D-D7A5-F9CD1C7F6CF6}"/>
          </ac:inkMkLst>
        </pc:inkChg>
        <pc:inkChg chg="add mod">
          <ac:chgData name="Aniket Chhabra" userId="598e0514-bef3-4e71-b6aa-f2edd6441cff" providerId="ADAL" clId="{FFB5BFD2-246A-034F-B635-DE62B5FCF3A6}" dt="2023-05-27T12:15:27.445" v="810"/>
          <ac:inkMkLst>
            <pc:docMk/>
            <pc:sldMk cId="3198530772" sldId="313"/>
            <ac:inkMk id="150" creationId="{33CCB70F-C12B-ED90-B89B-AD63DF0D3F48}"/>
          </ac:inkMkLst>
        </pc:inkChg>
        <pc:inkChg chg="add mod">
          <ac:chgData name="Aniket Chhabra" userId="598e0514-bef3-4e71-b6aa-f2edd6441cff" providerId="ADAL" clId="{FFB5BFD2-246A-034F-B635-DE62B5FCF3A6}" dt="2023-05-27T12:15:27.445" v="810"/>
          <ac:inkMkLst>
            <pc:docMk/>
            <pc:sldMk cId="3198530772" sldId="313"/>
            <ac:inkMk id="151" creationId="{2C875C41-D3FE-0A6F-3D8B-826B6D26BC59}"/>
          </ac:inkMkLst>
        </pc:inkChg>
        <pc:inkChg chg="add mod">
          <ac:chgData name="Aniket Chhabra" userId="598e0514-bef3-4e71-b6aa-f2edd6441cff" providerId="ADAL" clId="{FFB5BFD2-246A-034F-B635-DE62B5FCF3A6}" dt="2023-05-27T12:15:27.445" v="810"/>
          <ac:inkMkLst>
            <pc:docMk/>
            <pc:sldMk cId="3198530772" sldId="313"/>
            <ac:inkMk id="152" creationId="{8999C4AC-4ECD-32A3-96BB-B2FBF55D5685}"/>
          </ac:inkMkLst>
        </pc:inkChg>
        <pc:inkChg chg="add mod">
          <ac:chgData name="Aniket Chhabra" userId="598e0514-bef3-4e71-b6aa-f2edd6441cff" providerId="ADAL" clId="{FFB5BFD2-246A-034F-B635-DE62B5FCF3A6}" dt="2023-05-27T12:15:27.445" v="810"/>
          <ac:inkMkLst>
            <pc:docMk/>
            <pc:sldMk cId="3198530772" sldId="313"/>
            <ac:inkMk id="153" creationId="{2233199B-AF0A-FAEE-0947-85F71A5C9CBE}"/>
          </ac:inkMkLst>
        </pc:inkChg>
        <pc:inkChg chg="add mod">
          <ac:chgData name="Aniket Chhabra" userId="598e0514-bef3-4e71-b6aa-f2edd6441cff" providerId="ADAL" clId="{FFB5BFD2-246A-034F-B635-DE62B5FCF3A6}" dt="2023-05-27T12:15:27.445" v="810"/>
          <ac:inkMkLst>
            <pc:docMk/>
            <pc:sldMk cId="3198530772" sldId="313"/>
            <ac:inkMk id="154" creationId="{C38694D6-70E1-C5B7-D0D4-7A5F91FDB2E7}"/>
          </ac:inkMkLst>
        </pc:inkChg>
        <pc:inkChg chg="add mod">
          <ac:chgData name="Aniket Chhabra" userId="598e0514-bef3-4e71-b6aa-f2edd6441cff" providerId="ADAL" clId="{FFB5BFD2-246A-034F-B635-DE62B5FCF3A6}" dt="2023-05-27T12:15:27.445" v="810"/>
          <ac:inkMkLst>
            <pc:docMk/>
            <pc:sldMk cId="3198530772" sldId="313"/>
            <ac:inkMk id="155" creationId="{BE453249-1DC5-E78B-E81D-D202A60DDFC0}"/>
          </ac:inkMkLst>
        </pc:inkChg>
        <pc:inkChg chg="add mod">
          <ac:chgData name="Aniket Chhabra" userId="598e0514-bef3-4e71-b6aa-f2edd6441cff" providerId="ADAL" clId="{FFB5BFD2-246A-034F-B635-DE62B5FCF3A6}" dt="2023-05-27T12:15:27.445" v="810"/>
          <ac:inkMkLst>
            <pc:docMk/>
            <pc:sldMk cId="3198530772" sldId="313"/>
            <ac:inkMk id="156" creationId="{348A8D72-F6E6-8541-AA59-FC634A25D8BB}"/>
          </ac:inkMkLst>
        </pc:inkChg>
        <pc:inkChg chg="add mod">
          <ac:chgData name="Aniket Chhabra" userId="598e0514-bef3-4e71-b6aa-f2edd6441cff" providerId="ADAL" clId="{FFB5BFD2-246A-034F-B635-DE62B5FCF3A6}" dt="2023-05-27T12:15:27.445" v="810"/>
          <ac:inkMkLst>
            <pc:docMk/>
            <pc:sldMk cId="3198530772" sldId="313"/>
            <ac:inkMk id="157" creationId="{8F5F3068-4C93-9BE9-E136-05A43FD2A11F}"/>
          </ac:inkMkLst>
        </pc:inkChg>
        <pc:inkChg chg="add mod">
          <ac:chgData name="Aniket Chhabra" userId="598e0514-bef3-4e71-b6aa-f2edd6441cff" providerId="ADAL" clId="{FFB5BFD2-246A-034F-B635-DE62B5FCF3A6}" dt="2023-05-27T12:15:27.445" v="810"/>
          <ac:inkMkLst>
            <pc:docMk/>
            <pc:sldMk cId="3198530772" sldId="313"/>
            <ac:inkMk id="158" creationId="{3008F3FA-5F6A-59BE-8738-A66C63BD25B8}"/>
          </ac:inkMkLst>
        </pc:inkChg>
        <pc:inkChg chg="add mod">
          <ac:chgData name="Aniket Chhabra" userId="598e0514-bef3-4e71-b6aa-f2edd6441cff" providerId="ADAL" clId="{FFB5BFD2-246A-034F-B635-DE62B5FCF3A6}" dt="2023-05-27T12:15:27.445" v="810"/>
          <ac:inkMkLst>
            <pc:docMk/>
            <pc:sldMk cId="3198530772" sldId="313"/>
            <ac:inkMk id="159" creationId="{ED8595B4-50A7-482A-0CA6-194FB5FCCD60}"/>
          </ac:inkMkLst>
        </pc:inkChg>
        <pc:inkChg chg="add mod">
          <ac:chgData name="Aniket Chhabra" userId="598e0514-bef3-4e71-b6aa-f2edd6441cff" providerId="ADAL" clId="{FFB5BFD2-246A-034F-B635-DE62B5FCF3A6}" dt="2023-05-27T12:15:27.445" v="810"/>
          <ac:inkMkLst>
            <pc:docMk/>
            <pc:sldMk cId="3198530772" sldId="313"/>
            <ac:inkMk id="160" creationId="{1CD5628A-5D30-7C5F-C191-C7D4F5BE47AB}"/>
          </ac:inkMkLst>
        </pc:inkChg>
        <pc:inkChg chg="add mod">
          <ac:chgData name="Aniket Chhabra" userId="598e0514-bef3-4e71-b6aa-f2edd6441cff" providerId="ADAL" clId="{FFB5BFD2-246A-034F-B635-DE62B5FCF3A6}" dt="2023-05-27T12:15:27.445" v="810"/>
          <ac:inkMkLst>
            <pc:docMk/>
            <pc:sldMk cId="3198530772" sldId="313"/>
            <ac:inkMk id="161" creationId="{4CDCF56A-5862-C55E-8D03-14F614AE2BA7}"/>
          </ac:inkMkLst>
        </pc:inkChg>
        <pc:inkChg chg="add mod">
          <ac:chgData name="Aniket Chhabra" userId="598e0514-bef3-4e71-b6aa-f2edd6441cff" providerId="ADAL" clId="{FFB5BFD2-246A-034F-B635-DE62B5FCF3A6}" dt="2023-05-27T12:15:27.445" v="810"/>
          <ac:inkMkLst>
            <pc:docMk/>
            <pc:sldMk cId="3198530772" sldId="313"/>
            <ac:inkMk id="162" creationId="{DEF9DEF7-66D1-648C-61D0-553276ABBE93}"/>
          </ac:inkMkLst>
        </pc:inkChg>
        <pc:inkChg chg="add mod">
          <ac:chgData name="Aniket Chhabra" userId="598e0514-bef3-4e71-b6aa-f2edd6441cff" providerId="ADAL" clId="{FFB5BFD2-246A-034F-B635-DE62B5FCF3A6}" dt="2023-05-27T12:15:27.445" v="810"/>
          <ac:inkMkLst>
            <pc:docMk/>
            <pc:sldMk cId="3198530772" sldId="313"/>
            <ac:inkMk id="163" creationId="{ACAF8CE4-AB4C-BBB2-60E4-00655442EC8B}"/>
          </ac:inkMkLst>
        </pc:inkChg>
        <pc:inkChg chg="add mod">
          <ac:chgData name="Aniket Chhabra" userId="598e0514-bef3-4e71-b6aa-f2edd6441cff" providerId="ADAL" clId="{FFB5BFD2-246A-034F-B635-DE62B5FCF3A6}" dt="2023-05-27T12:15:27.445" v="810"/>
          <ac:inkMkLst>
            <pc:docMk/>
            <pc:sldMk cId="3198530772" sldId="313"/>
            <ac:inkMk id="164" creationId="{0D5A11B1-A473-F906-F860-9A189AFA924E}"/>
          </ac:inkMkLst>
        </pc:inkChg>
        <pc:inkChg chg="add mod">
          <ac:chgData name="Aniket Chhabra" userId="598e0514-bef3-4e71-b6aa-f2edd6441cff" providerId="ADAL" clId="{FFB5BFD2-246A-034F-B635-DE62B5FCF3A6}" dt="2023-05-27T12:15:27.445" v="810"/>
          <ac:inkMkLst>
            <pc:docMk/>
            <pc:sldMk cId="3198530772" sldId="313"/>
            <ac:inkMk id="165" creationId="{1A65F6DD-00F3-E2CD-4855-1D86FC29C8CA}"/>
          </ac:inkMkLst>
        </pc:inkChg>
        <pc:inkChg chg="add mod">
          <ac:chgData name="Aniket Chhabra" userId="598e0514-bef3-4e71-b6aa-f2edd6441cff" providerId="ADAL" clId="{FFB5BFD2-246A-034F-B635-DE62B5FCF3A6}" dt="2023-05-27T12:15:27.445" v="810"/>
          <ac:inkMkLst>
            <pc:docMk/>
            <pc:sldMk cId="3198530772" sldId="313"/>
            <ac:inkMk id="167" creationId="{67A6998B-0A28-1DD0-09CD-1F8246BC95B9}"/>
          </ac:inkMkLst>
        </pc:inkChg>
        <pc:inkChg chg="add mod">
          <ac:chgData name="Aniket Chhabra" userId="598e0514-bef3-4e71-b6aa-f2edd6441cff" providerId="ADAL" clId="{FFB5BFD2-246A-034F-B635-DE62B5FCF3A6}" dt="2023-05-27T12:15:27.445" v="810"/>
          <ac:inkMkLst>
            <pc:docMk/>
            <pc:sldMk cId="3198530772" sldId="313"/>
            <ac:inkMk id="168" creationId="{524B8CDB-7151-31B5-D40D-D93A3C982EFE}"/>
          </ac:inkMkLst>
        </pc:inkChg>
        <pc:inkChg chg="add mod">
          <ac:chgData name="Aniket Chhabra" userId="598e0514-bef3-4e71-b6aa-f2edd6441cff" providerId="ADAL" clId="{FFB5BFD2-246A-034F-B635-DE62B5FCF3A6}" dt="2023-05-27T12:15:27.445" v="810"/>
          <ac:inkMkLst>
            <pc:docMk/>
            <pc:sldMk cId="3198530772" sldId="313"/>
            <ac:inkMk id="169" creationId="{95412FC7-E001-3560-4819-626BF89DB83C}"/>
          </ac:inkMkLst>
        </pc:inkChg>
        <pc:inkChg chg="add mod">
          <ac:chgData name="Aniket Chhabra" userId="598e0514-bef3-4e71-b6aa-f2edd6441cff" providerId="ADAL" clId="{FFB5BFD2-246A-034F-B635-DE62B5FCF3A6}" dt="2023-05-27T12:15:27.445" v="810"/>
          <ac:inkMkLst>
            <pc:docMk/>
            <pc:sldMk cId="3198530772" sldId="313"/>
            <ac:inkMk id="170" creationId="{B78B71B3-E810-FEFD-D1B6-3D0E856BAF08}"/>
          </ac:inkMkLst>
        </pc:inkChg>
        <pc:inkChg chg="add mod">
          <ac:chgData name="Aniket Chhabra" userId="598e0514-bef3-4e71-b6aa-f2edd6441cff" providerId="ADAL" clId="{FFB5BFD2-246A-034F-B635-DE62B5FCF3A6}" dt="2023-05-27T12:15:27.445" v="810"/>
          <ac:inkMkLst>
            <pc:docMk/>
            <pc:sldMk cId="3198530772" sldId="313"/>
            <ac:inkMk id="172" creationId="{5C897FF3-2502-296F-E0CD-0F5537038892}"/>
          </ac:inkMkLst>
        </pc:inkChg>
        <pc:inkChg chg="add mod">
          <ac:chgData name="Aniket Chhabra" userId="598e0514-bef3-4e71-b6aa-f2edd6441cff" providerId="ADAL" clId="{FFB5BFD2-246A-034F-B635-DE62B5FCF3A6}" dt="2023-05-27T12:15:27.445" v="810"/>
          <ac:inkMkLst>
            <pc:docMk/>
            <pc:sldMk cId="3198530772" sldId="313"/>
            <ac:inkMk id="173" creationId="{41493148-A18B-6BBF-393E-BA895303146C}"/>
          </ac:inkMkLst>
        </pc:inkChg>
        <pc:inkChg chg="add mod">
          <ac:chgData name="Aniket Chhabra" userId="598e0514-bef3-4e71-b6aa-f2edd6441cff" providerId="ADAL" clId="{FFB5BFD2-246A-034F-B635-DE62B5FCF3A6}" dt="2023-05-27T12:15:27.445" v="810"/>
          <ac:inkMkLst>
            <pc:docMk/>
            <pc:sldMk cId="3198530772" sldId="313"/>
            <ac:inkMk id="174" creationId="{BD917A0B-EC61-4AA8-A30C-2A4221A2437C}"/>
          </ac:inkMkLst>
        </pc:inkChg>
        <pc:inkChg chg="add mod">
          <ac:chgData name="Aniket Chhabra" userId="598e0514-bef3-4e71-b6aa-f2edd6441cff" providerId="ADAL" clId="{FFB5BFD2-246A-034F-B635-DE62B5FCF3A6}" dt="2023-05-27T12:15:27.445" v="810"/>
          <ac:inkMkLst>
            <pc:docMk/>
            <pc:sldMk cId="3198530772" sldId="313"/>
            <ac:inkMk id="175" creationId="{8DEFA6E6-9D81-53DA-8028-B02A416BF241}"/>
          </ac:inkMkLst>
        </pc:inkChg>
        <pc:inkChg chg="add mod">
          <ac:chgData name="Aniket Chhabra" userId="598e0514-bef3-4e71-b6aa-f2edd6441cff" providerId="ADAL" clId="{FFB5BFD2-246A-034F-B635-DE62B5FCF3A6}" dt="2023-05-27T12:15:35.778" v="823"/>
          <ac:inkMkLst>
            <pc:docMk/>
            <pc:sldMk cId="3198530772" sldId="313"/>
            <ac:inkMk id="177" creationId="{7EECCAD8-88DD-4231-E226-AC8E696E1BFE}"/>
          </ac:inkMkLst>
        </pc:inkChg>
        <pc:inkChg chg="add mod">
          <ac:chgData name="Aniket Chhabra" userId="598e0514-bef3-4e71-b6aa-f2edd6441cff" providerId="ADAL" clId="{FFB5BFD2-246A-034F-B635-DE62B5FCF3A6}" dt="2023-05-27T12:15:35.778" v="823"/>
          <ac:inkMkLst>
            <pc:docMk/>
            <pc:sldMk cId="3198530772" sldId="313"/>
            <ac:inkMk id="178" creationId="{114174DE-3FEA-A770-0D3F-116CC5CC81C7}"/>
          </ac:inkMkLst>
        </pc:inkChg>
        <pc:inkChg chg="add mod">
          <ac:chgData name="Aniket Chhabra" userId="598e0514-bef3-4e71-b6aa-f2edd6441cff" providerId="ADAL" clId="{FFB5BFD2-246A-034F-B635-DE62B5FCF3A6}" dt="2023-05-27T12:15:35.778" v="823"/>
          <ac:inkMkLst>
            <pc:docMk/>
            <pc:sldMk cId="3198530772" sldId="313"/>
            <ac:inkMk id="179" creationId="{F5211FA4-44F3-66FA-B324-7E8BD91C5D92}"/>
          </ac:inkMkLst>
        </pc:inkChg>
        <pc:inkChg chg="add mod">
          <ac:chgData name="Aniket Chhabra" userId="598e0514-bef3-4e71-b6aa-f2edd6441cff" providerId="ADAL" clId="{FFB5BFD2-246A-034F-B635-DE62B5FCF3A6}" dt="2023-05-27T12:15:35.778" v="823"/>
          <ac:inkMkLst>
            <pc:docMk/>
            <pc:sldMk cId="3198530772" sldId="313"/>
            <ac:inkMk id="180" creationId="{B0E69827-E8D2-FAE6-665C-1F859ABCA294}"/>
          </ac:inkMkLst>
        </pc:inkChg>
        <pc:inkChg chg="add mod">
          <ac:chgData name="Aniket Chhabra" userId="598e0514-bef3-4e71-b6aa-f2edd6441cff" providerId="ADAL" clId="{FFB5BFD2-246A-034F-B635-DE62B5FCF3A6}" dt="2023-05-27T12:15:35.778" v="823"/>
          <ac:inkMkLst>
            <pc:docMk/>
            <pc:sldMk cId="3198530772" sldId="313"/>
            <ac:inkMk id="181" creationId="{8184D197-3C41-6E4C-241B-1414BAE82683}"/>
          </ac:inkMkLst>
        </pc:inkChg>
        <pc:inkChg chg="add mod">
          <ac:chgData name="Aniket Chhabra" userId="598e0514-bef3-4e71-b6aa-f2edd6441cff" providerId="ADAL" clId="{FFB5BFD2-246A-034F-B635-DE62B5FCF3A6}" dt="2023-05-27T12:15:35.778" v="823"/>
          <ac:inkMkLst>
            <pc:docMk/>
            <pc:sldMk cId="3198530772" sldId="313"/>
            <ac:inkMk id="182" creationId="{6EAD2785-746C-35AF-DD60-B3D42015DA5D}"/>
          </ac:inkMkLst>
        </pc:inkChg>
        <pc:inkChg chg="add mod">
          <ac:chgData name="Aniket Chhabra" userId="598e0514-bef3-4e71-b6aa-f2edd6441cff" providerId="ADAL" clId="{FFB5BFD2-246A-034F-B635-DE62B5FCF3A6}" dt="2023-05-27T12:15:35.778" v="823"/>
          <ac:inkMkLst>
            <pc:docMk/>
            <pc:sldMk cId="3198530772" sldId="313"/>
            <ac:inkMk id="183" creationId="{F034B88B-3ADC-B5BD-4C51-42D22075B986}"/>
          </ac:inkMkLst>
        </pc:inkChg>
        <pc:inkChg chg="add mod">
          <ac:chgData name="Aniket Chhabra" userId="598e0514-bef3-4e71-b6aa-f2edd6441cff" providerId="ADAL" clId="{FFB5BFD2-246A-034F-B635-DE62B5FCF3A6}" dt="2023-05-27T12:15:35.778" v="823"/>
          <ac:inkMkLst>
            <pc:docMk/>
            <pc:sldMk cId="3198530772" sldId="313"/>
            <ac:inkMk id="185" creationId="{3DBB26E6-45A9-00EC-961E-0DDEA8F10205}"/>
          </ac:inkMkLst>
        </pc:inkChg>
        <pc:inkChg chg="add mod">
          <ac:chgData name="Aniket Chhabra" userId="598e0514-bef3-4e71-b6aa-f2edd6441cff" providerId="ADAL" clId="{FFB5BFD2-246A-034F-B635-DE62B5FCF3A6}" dt="2023-05-27T12:15:35.778" v="823"/>
          <ac:inkMkLst>
            <pc:docMk/>
            <pc:sldMk cId="3198530772" sldId="313"/>
            <ac:inkMk id="186" creationId="{ECEE333A-C608-5540-3046-BA61FE4D5F6E}"/>
          </ac:inkMkLst>
        </pc:inkChg>
        <pc:inkChg chg="add mod">
          <ac:chgData name="Aniket Chhabra" userId="598e0514-bef3-4e71-b6aa-f2edd6441cff" providerId="ADAL" clId="{FFB5BFD2-246A-034F-B635-DE62B5FCF3A6}" dt="2023-05-27T12:15:35.778" v="823"/>
          <ac:inkMkLst>
            <pc:docMk/>
            <pc:sldMk cId="3198530772" sldId="313"/>
            <ac:inkMk id="187" creationId="{56F69035-4D33-695F-8C45-111FC63C39A1}"/>
          </ac:inkMkLst>
        </pc:inkChg>
        <pc:inkChg chg="add mod">
          <ac:chgData name="Aniket Chhabra" userId="598e0514-bef3-4e71-b6aa-f2edd6441cff" providerId="ADAL" clId="{FFB5BFD2-246A-034F-B635-DE62B5FCF3A6}" dt="2023-05-27T12:15:35.778" v="823"/>
          <ac:inkMkLst>
            <pc:docMk/>
            <pc:sldMk cId="3198530772" sldId="313"/>
            <ac:inkMk id="188" creationId="{9C071D3D-080B-04E8-95F3-905D2C9AB6F2}"/>
          </ac:inkMkLst>
        </pc:inkChg>
        <pc:inkChg chg="add mod">
          <ac:chgData name="Aniket Chhabra" userId="598e0514-bef3-4e71-b6aa-f2edd6441cff" providerId="ADAL" clId="{FFB5BFD2-246A-034F-B635-DE62B5FCF3A6}" dt="2023-05-27T12:16:03.014" v="827"/>
          <ac:inkMkLst>
            <pc:docMk/>
            <pc:sldMk cId="3198530772" sldId="313"/>
            <ac:inkMk id="190" creationId="{BF8649C3-3A56-4745-C8C7-203F7AEBF044}"/>
          </ac:inkMkLst>
        </pc:inkChg>
        <pc:inkChg chg="add mod">
          <ac:chgData name="Aniket Chhabra" userId="598e0514-bef3-4e71-b6aa-f2edd6441cff" providerId="ADAL" clId="{FFB5BFD2-246A-034F-B635-DE62B5FCF3A6}" dt="2023-05-27T12:16:03.014" v="827"/>
          <ac:inkMkLst>
            <pc:docMk/>
            <pc:sldMk cId="3198530772" sldId="313"/>
            <ac:inkMk id="192" creationId="{044F0E00-1D31-68C2-9D09-8FF55DEDC1F3}"/>
          </ac:inkMkLst>
        </pc:inkChg>
        <pc:inkChg chg="add mod">
          <ac:chgData name="Aniket Chhabra" userId="598e0514-bef3-4e71-b6aa-f2edd6441cff" providerId="ADAL" clId="{FFB5BFD2-246A-034F-B635-DE62B5FCF3A6}" dt="2023-05-27T12:16:09.934" v="838"/>
          <ac:inkMkLst>
            <pc:docMk/>
            <pc:sldMk cId="3198530772" sldId="313"/>
            <ac:inkMk id="194" creationId="{44674818-F389-3CCE-E574-35DFE14EE98B}"/>
          </ac:inkMkLst>
        </pc:inkChg>
        <pc:inkChg chg="add mod">
          <ac:chgData name="Aniket Chhabra" userId="598e0514-bef3-4e71-b6aa-f2edd6441cff" providerId="ADAL" clId="{FFB5BFD2-246A-034F-B635-DE62B5FCF3A6}" dt="2023-05-27T12:16:09.934" v="838"/>
          <ac:inkMkLst>
            <pc:docMk/>
            <pc:sldMk cId="3198530772" sldId="313"/>
            <ac:inkMk id="195" creationId="{97A0CB5F-362A-504E-980D-5A13ED7C1413}"/>
          </ac:inkMkLst>
        </pc:inkChg>
        <pc:inkChg chg="add mod">
          <ac:chgData name="Aniket Chhabra" userId="598e0514-bef3-4e71-b6aa-f2edd6441cff" providerId="ADAL" clId="{FFB5BFD2-246A-034F-B635-DE62B5FCF3A6}" dt="2023-05-27T12:16:09.934" v="838"/>
          <ac:inkMkLst>
            <pc:docMk/>
            <pc:sldMk cId="3198530772" sldId="313"/>
            <ac:inkMk id="196" creationId="{F0A108B2-C99C-4F57-7876-C862A5E14204}"/>
          </ac:inkMkLst>
        </pc:inkChg>
        <pc:inkChg chg="add mod">
          <ac:chgData name="Aniket Chhabra" userId="598e0514-bef3-4e71-b6aa-f2edd6441cff" providerId="ADAL" clId="{FFB5BFD2-246A-034F-B635-DE62B5FCF3A6}" dt="2023-05-27T12:16:09.934" v="838"/>
          <ac:inkMkLst>
            <pc:docMk/>
            <pc:sldMk cId="3198530772" sldId="313"/>
            <ac:inkMk id="197" creationId="{698FEE9D-709A-4982-0E3A-ADC1EA7B625A}"/>
          </ac:inkMkLst>
        </pc:inkChg>
        <pc:inkChg chg="add mod">
          <ac:chgData name="Aniket Chhabra" userId="598e0514-bef3-4e71-b6aa-f2edd6441cff" providerId="ADAL" clId="{FFB5BFD2-246A-034F-B635-DE62B5FCF3A6}" dt="2023-05-27T12:16:09.934" v="838"/>
          <ac:inkMkLst>
            <pc:docMk/>
            <pc:sldMk cId="3198530772" sldId="313"/>
            <ac:inkMk id="198" creationId="{16211E46-3573-1CD7-A366-E2BE70BADD5B}"/>
          </ac:inkMkLst>
        </pc:inkChg>
        <pc:inkChg chg="add mod">
          <ac:chgData name="Aniket Chhabra" userId="598e0514-bef3-4e71-b6aa-f2edd6441cff" providerId="ADAL" clId="{FFB5BFD2-246A-034F-B635-DE62B5FCF3A6}" dt="2023-05-27T12:16:09.934" v="838"/>
          <ac:inkMkLst>
            <pc:docMk/>
            <pc:sldMk cId="3198530772" sldId="313"/>
            <ac:inkMk id="199" creationId="{8835071C-3C7F-E106-B138-742E44CCBFE3}"/>
          </ac:inkMkLst>
        </pc:inkChg>
        <pc:inkChg chg="add mod">
          <ac:chgData name="Aniket Chhabra" userId="598e0514-bef3-4e71-b6aa-f2edd6441cff" providerId="ADAL" clId="{FFB5BFD2-246A-034F-B635-DE62B5FCF3A6}" dt="2023-05-27T12:16:09.934" v="838"/>
          <ac:inkMkLst>
            <pc:docMk/>
            <pc:sldMk cId="3198530772" sldId="313"/>
            <ac:inkMk id="200" creationId="{7AEA510A-DA75-D72E-0F04-577B3654639A}"/>
          </ac:inkMkLst>
        </pc:inkChg>
        <pc:inkChg chg="add mod">
          <ac:chgData name="Aniket Chhabra" userId="598e0514-bef3-4e71-b6aa-f2edd6441cff" providerId="ADAL" clId="{FFB5BFD2-246A-034F-B635-DE62B5FCF3A6}" dt="2023-05-27T12:16:09.934" v="838"/>
          <ac:inkMkLst>
            <pc:docMk/>
            <pc:sldMk cId="3198530772" sldId="313"/>
            <ac:inkMk id="201" creationId="{B337B132-A1AE-C64C-6478-EDAF9FC57BC2}"/>
          </ac:inkMkLst>
        </pc:inkChg>
        <pc:inkChg chg="add mod">
          <ac:chgData name="Aniket Chhabra" userId="598e0514-bef3-4e71-b6aa-f2edd6441cff" providerId="ADAL" clId="{FFB5BFD2-246A-034F-B635-DE62B5FCF3A6}" dt="2023-05-27T12:16:09.934" v="838"/>
          <ac:inkMkLst>
            <pc:docMk/>
            <pc:sldMk cId="3198530772" sldId="313"/>
            <ac:inkMk id="202" creationId="{FE8725D2-EB19-F002-72F9-F6AA9CEA2E80}"/>
          </ac:inkMkLst>
        </pc:inkChg>
        <pc:inkChg chg="add mod">
          <ac:chgData name="Aniket Chhabra" userId="598e0514-bef3-4e71-b6aa-f2edd6441cff" providerId="ADAL" clId="{FFB5BFD2-246A-034F-B635-DE62B5FCF3A6}" dt="2023-05-27T12:16:09.934" v="838"/>
          <ac:inkMkLst>
            <pc:docMk/>
            <pc:sldMk cId="3198530772" sldId="313"/>
            <ac:inkMk id="203" creationId="{D62D793A-F02B-1BB3-D647-31E50A0128E2}"/>
          </ac:inkMkLst>
        </pc:inkChg>
        <pc:inkChg chg="add mod">
          <ac:chgData name="Aniket Chhabra" userId="598e0514-bef3-4e71-b6aa-f2edd6441cff" providerId="ADAL" clId="{FFB5BFD2-246A-034F-B635-DE62B5FCF3A6}" dt="2023-05-27T12:16:18.384" v="856"/>
          <ac:inkMkLst>
            <pc:docMk/>
            <pc:sldMk cId="3198530772" sldId="313"/>
            <ac:inkMk id="205" creationId="{FEF40FD7-A38E-3FE7-5924-E9B4AC1450E2}"/>
          </ac:inkMkLst>
        </pc:inkChg>
        <pc:inkChg chg="add mod">
          <ac:chgData name="Aniket Chhabra" userId="598e0514-bef3-4e71-b6aa-f2edd6441cff" providerId="ADAL" clId="{FFB5BFD2-246A-034F-B635-DE62B5FCF3A6}" dt="2023-05-27T12:16:18.384" v="856"/>
          <ac:inkMkLst>
            <pc:docMk/>
            <pc:sldMk cId="3198530772" sldId="313"/>
            <ac:inkMk id="206" creationId="{AC418400-9F0C-F1DD-7C0E-BD5B6A9C4D03}"/>
          </ac:inkMkLst>
        </pc:inkChg>
        <pc:inkChg chg="add mod">
          <ac:chgData name="Aniket Chhabra" userId="598e0514-bef3-4e71-b6aa-f2edd6441cff" providerId="ADAL" clId="{FFB5BFD2-246A-034F-B635-DE62B5FCF3A6}" dt="2023-05-27T12:16:18.384" v="856"/>
          <ac:inkMkLst>
            <pc:docMk/>
            <pc:sldMk cId="3198530772" sldId="313"/>
            <ac:inkMk id="207" creationId="{774F03A9-B408-502F-516E-9B9D4586A2BC}"/>
          </ac:inkMkLst>
        </pc:inkChg>
        <pc:inkChg chg="add mod">
          <ac:chgData name="Aniket Chhabra" userId="598e0514-bef3-4e71-b6aa-f2edd6441cff" providerId="ADAL" clId="{FFB5BFD2-246A-034F-B635-DE62B5FCF3A6}" dt="2023-05-27T12:16:18.384" v="856"/>
          <ac:inkMkLst>
            <pc:docMk/>
            <pc:sldMk cId="3198530772" sldId="313"/>
            <ac:inkMk id="208" creationId="{F056082B-5AE2-F866-4D97-F95B9E4AA0C0}"/>
          </ac:inkMkLst>
        </pc:inkChg>
        <pc:inkChg chg="add mod">
          <ac:chgData name="Aniket Chhabra" userId="598e0514-bef3-4e71-b6aa-f2edd6441cff" providerId="ADAL" clId="{FFB5BFD2-246A-034F-B635-DE62B5FCF3A6}" dt="2023-05-27T12:16:18.384" v="856"/>
          <ac:inkMkLst>
            <pc:docMk/>
            <pc:sldMk cId="3198530772" sldId="313"/>
            <ac:inkMk id="209" creationId="{BA8E42F3-CD5F-E55A-FAF2-6BA6AB39FA00}"/>
          </ac:inkMkLst>
        </pc:inkChg>
        <pc:inkChg chg="add mod">
          <ac:chgData name="Aniket Chhabra" userId="598e0514-bef3-4e71-b6aa-f2edd6441cff" providerId="ADAL" clId="{FFB5BFD2-246A-034F-B635-DE62B5FCF3A6}" dt="2023-05-27T12:16:18.384" v="856"/>
          <ac:inkMkLst>
            <pc:docMk/>
            <pc:sldMk cId="3198530772" sldId="313"/>
            <ac:inkMk id="210" creationId="{74112806-94BC-1E22-A0C5-2DCE18E3980E}"/>
          </ac:inkMkLst>
        </pc:inkChg>
        <pc:inkChg chg="add mod">
          <ac:chgData name="Aniket Chhabra" userId="598e0514-bef3-4e71-b6aa-f2edd6441cff" providerId="ADAL" clId="{FFB5BFD2-246A-034F-B635-DE62B5FCF3A6}" dt="2023-05-27T12:16:18.384" v="856"/>
          <ac:inkMkLst>
            <pc:docMk/>
            <pc:sldMk cId="3198530772" sldId="313"/>
            <ac:inkMk id="211" creationId="{9E7FCD74-ABF8-4B2D-07D4-972EE927471D}"/>
          </ac:inkMkLst>
        </pc:inkChg>
        <pc:inkChg chg="add mod">
          <ac:chgData name="Aniket Chhabra" userId="598e0514-bef3-4e71-b6aa-f2edd6441cff" providerId="ADAL" clId="{FFB5BFD2-246A-034F-B635-DE62B5FCF3A6}" dt="2023-05-27T12:16:18.384" v="856"/>
          <ac:inkMkLst>
            <pc:docMk/>
            <pc:sldMk cId="3198530772" sldId="313"/>
            <ac:inkMk id="212" creationId="{B1FA7F17-06D0-E399-2CDB-C3CE3C9CC3EA}"/>
          </ac:inkMkLst>
        </pc:inkChg>
        <pc:inkChg chg="add mod">
          <ac:chgData name="Aniket Chhabra" userId="598e0514-bef3-4e71-b6aa-f2edd6441cff" providerId="ADAL" clId="{FFB5BFD2-246A-034F-B635-DE62B5FCF3A6}" dt="2023-05-27T12:16:18.384" v="856"/>
          <ac:inkMkLst>
            <pc:docMk/>
            <pc:sldMk cId="3198530772" sldId="313"/>
            <ac:inkMk id="213" creationId="{1AC8747C-0D7A-C19C-F041-2BF5020E6393}"/>
          </ac:inkMkLst>
        </pc:inkChg>
        <pc:inkChg chg="add mod">
          <ac:chgData name="Aniket Chhabra" userId="598e0514-bef3-4e71-b6aa-f2edd6441cff" providerId="ADAL" clId="{FFB5BFD2-246A-034F-B635-DE62B5FCF3A6}" dt="2023-05-27T12:16:18.384" v="856"/>
          <ac:inkMkLst>
            <pc:docMk/>
            <pc:sldMk cId="3198530772" sldId="313"/>
            <ac:inkMk id="214" creationId="{01430D43-39C7-A7A1-CB76-E9DEBFFD40F4}"/>
          </ac:inkMkLst>
        </pc:inkChg>
        <pc:inkChg chg="add mod">
          <ac:chgData name="Aniket Chhabra" userId="598e0514-bef3-4e71-b6aa-f2edd6441cff" providerId="ADAL" clId="{FFB5BFD2-246A-034F-B635-DE62B5FCF3A6}" dt="2023-05-27T12:16:18.384" v="856"/>
          <ac:inkMkLst>
            <pc:docMk/>
            <pc:sldMk cId="3198530772" sldId="313"/>
            <ac:inkMk id="215" creationId="{4FF1775A-06B5-B7C8-A438-413A56281458}"/>
          </ac:inkMkLst>
        </pc:inkChg>
        <pc:inkChg chg="add mod">
          <ac:chgData name="Aniket Chhabra" userId="598e0514-bef3-4e71-b6aa-f2edd6441cff" providerId="ADAL" clId="{FFB5BFD2-246A-034F-B635-DE62B5FCF3A6}" dt="2023-05-27T12:16:18.384" v="856"/>
          <ac:inkMkLst>
            <pc:docMk/>
            <pc:sldMk cId="3198530772" sldId="313"/>
            <ac:inkMk id="216" creationId="{021CB7C5-040C-96AF-0377-C96DFC3928FC}"/>
          </ac:inkMkLst>
        </pc:inkChg>
        <pc:inkChg chg="add mod">
          <ac:chgData name="Aniket Chhabra" userId="598e0514-bef3-4e71-b6aa-f2edd6441cff" providerId="ADAL" clId="{FFB5BFD2-246A-034F-B635-DE62B5FCF3A6}" dt="2023-05-27T12:16:18.384" v="856"/>
          <ac:inkMkLst>
            <pc:docMk/>
            <pc:sldMk cId="3198530772" sldId="313"/>
            <ac:inkMk id="217" creationId="{54280729-B728-9416-7AE9-59E53EFDD4B8}"/>
          </ac:inkMkLst>
        </pc:inkChg>
        <pc:inkChg chg="add mod">
          <ac:chgData name="Aniket Chhabra" userId="598e0514-bef3-4e71-b6aa-f2edd6441cff" providerId="ADAL" clId="{FFB5BFD2-246A-034F-B635-DE62B5FCF3A6}" dt="2023-05-27T12:16:18.384" v="856"/>
          <ac:inkMkLst>
            <pc:docMk/>
            <pc:sldMk cId="3198530772" sldId="313"/>
            <ac:inkMk id="218" creationId="{EA6013BF-A94E-5179-CA29-BA5DFC37150B}"/>
          </ac:inkMkLst>
        </pc:inkChg>
        <pc:inkChg chg="add mod">
          <ac:chgData name="Aniket Chhabra" userId="598e0514-bef3-4e71-b6aa-f2edd6441cff" providerId="ADAL" clId="{FFB5BFD2-246A-034F-B635-DE62B5FCF3A6}" dt="2023-05-27T12:16:18.384" v="856"/>
          <ac:inkMkLst>
            <pc:docMk/>
            <pc:sldMk cId="3198530772" sldId="313"/>
            <ac:inkMk id="219" creationId="{0F7910B9-6171-3374-17FC-F59B29436DD7}"/>
          </ac:inkMkLst>
        </pc:inkChg>
        <pc:inkChg chg="add mod">
          <ac:chgData name="Aniket Chhabra" userId="598e0514-bef3-4e71-b6aa-f2edd6441cff" providerId="ADAL" clId="{FFB5BFD2-246A-034F-B635-DE62B5FCF3A6}" dt="2023-05-27T12:16:18.384" v="856"/>
          <ac:inkMkLst>
            <pc:docMk/>
            <pc:sldMk cId="3198530772" sldId="313"/>
            <ac:inkMk id="220" creationId="{FAFC8EBE-872F-E301-C4DA-17430C43851A}"/>
          </ac:inkMkLst>
        </pc:inkChg>
        <pc:inkChg chg="add mod">
          <ac:chgData name="Aniket Chhabra" userId="598e0514-bef3-4e71-b6aa-f2edd6441cff" providerId="ADAL" clId="{FFB5BFD2-246A-034F-B635-DE62B5FCF3A6}" dt="2023-05-27T12:16:18.384" v="856"/>
          <ac:inkMkLst>
            <pc:docMk/>
            <pc:sldMk cId="3198530772" sldId="313"/>
            <ac:inkMk id="221" creationId="{3CFC0AB6-7BA9-DE88-DE78-7134A0538E1A}"/>
          </ac:inkMkLst>
        </pc:inkChg>
        <pc:inkChg chg="add mod">
          <ac:chgData name="Aniket Chhabra" userId="598e0514-bef3-4e71-b6aa-f2edd6441cff" providerId="ADAL" clId="{FFB5BFD2-246A-034F-B635-DE62B5FCF3A6}" dt="2023-05-27T12:17:33.948" v="897"/>
          <ac:inkMkLst>
            <pc:docMk/>
            <pc:sldMk cId="3198530772" sldId="313"/>
            <ac:inkMk id="224" creationId="{AA572527-8E74-234F-CAEB-8D7ACA176B1E}"/>
          </ac:inkMkLst>
        </pc:inkChg>
        <pc:inkChg chg="add mod">
          <ac:chgData name="Aniket Chhabra" userId="598e0514-bef3-4e71-b6aa-f2edd6441cff" providerId="ADAL" clId="{FFB5BFD2-246A-034F-B635-DE62B5FCF3A6}" dt="2023-05-27T12:17:33.948" v="897"/>
          <ac:inkMkLst>
            <pc:docMk/>
            <pc:sldMk cId="3198530772" sldId="313"/>
            <ac:inkMk id="225" creationId="{D274470D-083D-8D67-6DAE-3174F60D71AA}"/>
          </ac:inkMkLst>
        </pc:inkChg>
        <pc:inkChg chg="add mod">
          <ac:chgData name="Aniket Chhabra" userId="598e0514-bef3-4e71-b6aa-f2edd6441cff" providerId="ADAL" clId="{FFB5BFD2-246A-034F-B635-DE62B5FCF3A6}" dt="2023-05-27T12:17:33.948" v="897"/>
          <ac:inkMkLst>
            <pc:docMk/>
            <pc:sldMk cId="3198530772" sldId="313"/>
            <ac:inkMk id="226" creationId="{927B180C-80C7-4F50-B7E6-F5A86967BDEF}"/>
          </ac:inkMkLst>
        </pc:inkChg>
        <pc:inkChg chg="add mod">
          <ac:chgData name="Aniket Chhabra" userId="598e0514-bef3-4e71-b6aa-f2edd6441cff" providerId="ADAL" clId="{FFB5BFD2-246A-034F-B635-DE62B5FCF3A6}" dt="2023-05-27T12:17:33.948" v="897"/>
          <ac:inkMkLst>
            <pc:docMk/>
            <pc:sldMk cId="3198530772" sldId="313"/>
            <ac:inkMk id="227" creationId="{3A5EF1D2-6566-8F34-E8B0-57A43F30D8B3}"/>
          </ac:inkMkLst>
        </pc:inkChg>
        <pc:inkChg chg="add mod">
          <ac:chgData name="Aniket Chhabra" userId="598e0514-bef3-4e71-b6aa-f2edd6441cff" providerId="ADAL" clId="{FFB5BFD2-246A-034F-B635-DE62B5FCF3A6}" dt="2023-05-27T12:17:33.948" v="897"/>
          <ac:inkMkLst>
            <pc:docMk/>
            <pc:sldMk cId="3198530772" sldId="313"/>
            <ac:inkMk id="228" creationId="{E7F33AE5-95C7-1492-9D27-A9B48F6AF77E}"/>
          </ac:inkMkLst>
        </pc:inkChg>
        <pc:inkChg chg="add mod">
          <ac:chgData name="Aniket Chhabra" userId="598e0514-bef3-4e71-b6aa-f2edd6441cff" providerId="ADAL" clId="{FFB5BFD2-246A-034F-B635-DE62B5FCF3A6}" dt="2023-05-27T12:17:33.948" v="897"/>
          <ac:inkMkLst>
            <pc:docMk/>
            <pc:sldMk cId="3198530772" sldId="313"/>
            <ac:inkMk id="229" creationId="{A7203688-C198-7BB2-3347-8EDEE7FAD304}"/>
          </ac:inkMkLst>
        </pc:inkChg>
        <pc:inkChg chg="add mod">
          <ac:chgData name="Aniket Chhabra" userId="598e0514-bef3-4e71-b6aa-f2edd6441cff" providerId="ADAL" clId="{FFB5BFD2-246A-034F-B635-DE62B5FCF3A6}" dt="2023-05-27T12:17:33.948" v="897"/>
          <ac:inkMkLst>
            <pc:docMk/>
            <pc:sldMk cId="3198530772" sldId="313"/>
            <ac:inkMk id="230" creationId="{D03F5EB8-F91A-E456-5365-467A28E7A096}"/>
          </ac:inkMkLst>
        </pc:inkChg>
        <pc:inkChg chg="add mod">
          <ac:chgData name="Aniket Chhabra" userId="598e0514-bef3-4e71-b6aa-f2edd6441cff" providerId="ADAL" clId="{FFB5BFD2-246A-034F-B635-DE62B5FCF3A6}" dt="2023-05-27T12:17:33.948" v="897"/>
          <ac:inkMkLst>
            <pc:docMk/>
            <pc:sldMk cId="3198530772" sldId="313"/>
            <ac:inkMk id="231" creationId="{6166A2E7-A4B5-B526-602E-20D7FDE40E45}"/>
          </ac:inkMkLst>
        </pc:inkChg>
        <pc:inkChg chg="add mod">
          <ac:chgData name="Aniket Chhabra" userId="598e0514-bef3-4e71-b6aa-f2edd6441cff" providerId="ADAL" clId="{FFB5BFD2-246A-034F-B635-DE62B5FCF3A6}" dt="2023-05-27T12:17:33.948" v="897"/>
          <ac:inkMkLst>
            <pc:docMk/>
            <pc:sldMk cId="3198530772" sldId="313"/>
            <ac:inkMk id="232" creationId="{9969286D-E971-931C-D198-E1A71E6A6350}"/>
          </ac:inkMkLst>
        </pc:inkChg>
        <pc:inkChg chg="add mod">
          <ac:chgData name="Aniket Chhabra" userId="598e0514-bef3-4e71-b6aa-f2edd6441cff" providerId="ADAL" clId="{FFB5BFD2-246A-034F-B635-DE62B5FCF3A6}" dt="2023-05-27T12:17:33.948" v="897"/>
          <ac:inkMkLst>
            <pc:docMk/>
            <pc:sldMk cId="3198530772" sldId="313"/>
            <ac:inkMk id="233" creationId="{47E550CA-2E73-D74D-22ED-E0694059E634}"/>
          </ac:inkMkLst>
        </pc:inkChg>
        <pc:inkChg chg="add mod">
          <ac:chgData name="Aniket Chhabra" userId="598e0514-bef3-4e71-b6aa-f2edd6441cff" providerId="ADAL" clId="{FFB5BFD2-246A-034F-B635-DE62B5FCF3A6}" dt="2023-05-27T12:17:33.948" v="897"/>
          <ac:inkMkLst>
            <pc:docMk/>
            <pc:sldMk cId="3198530772" sldId="313"/>
            <ac:inkMk id="234" creationId="{05F7813D-71BC-BB3E-2557-9566935A0D62}"/>
          </ac:inkMkLst>
        </pc:inkChg>
        <pc:inkChg chg="add mod">
          <ac:chgData name="Aniket Chhabra" userId="598e0514-bef3-4e71-b6aa-f2edd6441cff" providerId="ADAL" clId="{FFB5BFD2-246A-034F-B635-DE62B5FCF3A6}" dt="2023-05-27T12:17:33.948" v="897"/>
          <ac:inkMkLst>
            <pc:docMk/>
            <pc:sldMk cId="3198530772" sldId="313"/>
            <ac:inkMk id="235" creationId="{167F1CC7-C63B-28E8-AA86-0BF8F4DF279F}"/>
          </ac:inkMkLst>
        </pc:inkChg>
        <pc:inkChg chg="add mod">
          <ac:chgData name="Aniket Chhabra" userId="598e0514-bef3-4e71-b6aa-f2edd6441cff" providerId="ADAL" clId="{FFB5BFD2-246A-034F-B635-DE62B5FCF3A6}" dt="2023-05-27T12:17:33.948" v="897"/>
          <ac:inkMkLst>
            <pc:docMk/>
            <pc:sldMk cId="3198530772" sldId="313"/>
            <ac:inkMk id="236" creationId="{6D4F1112-6D9A-7D11-DBCF-18E3BB5A85B5}"/>
          </ac:inkMkLst>
        </pc:inkChg>
        <pc:inkChg chg="add mod">
          <ac:chgData name="Aniket Chhabra" userId="598e0514-bef3-4e71-b6aa-f2edd6441cff" providerId="ADAL" clId="{FFB5BFD2-246A-034F-B635-DE62B5FCF3A6}" dt="2023-05-27T12:17:33.948" v="897"/>
          <ac:inkMkLst>
            <pc:docMk/>
            <pc:sldMk cId="3198530772" sldId="313"/>
            <ac:inkMk id="237" creationId="{AE8AB76B-3212-1115-C89F-BEAEB524996F}"/>
          </ac:inkMkLst>
        </pc:inkChg>
        <pc:inkChg chg="add mod">
          <ac:chgData name="Aniket Chhabra" userId="598e0514-bef3-4e71-b6aa-f2edd6441cff" providerId="ADAL" clId="{FFB5BFD2-246A-034F-B635-DE62B5FCF3A6}" dt="2023-05-27T12:17:33.948" v="897"/>
          <ac:inkMkLst>
            <pc:docMk/>
            <pc:sldMk cId="3198530772" sldId="313"/>
            <ac:inkMk id="238" creationId="{6D9EC0E3-B98D-4260-A466-0DCAB74F7104}"/>
          </ac:inkMkLst>
        </pc:inkChg>
        <pc:inkChg chg="add mod">
          <ac:chgData name="Aniket Chhabra" userId="598e0514-bef3-4e71-b6aa-f2edd6441cff" providerId="ADAL" clId="{FFB5BFD2-246A-034F-B635-DE62B5FCF3A6}" dt="2023-05-27T12:17:33.948" v="897"/>
          <ac:inkMkLst>
            <pc:docMk/>
            <pc:sldMk cId="3198530772" sldId="313"/>
            <ac:inkMk id="239" creationId="{A6AAFB9E-76E0-7FAA-25A6-430022C643A3}"/>
          </ac:inkMkLst>
        </pc:inkChg>
        <pc:inkChg chg="add del mod">
          <ac:chgData name="Aniket Chhabra" userId="598e0514-bef3-4e71-b6aa-f2edd6441cff" providerId="ADAL" clId="{FFB5BFD2-246A-034F-B635-DE62B5FCF3A6}" dt="2023-05-27T12:17:20.466" v="887"/>
          <ac:inkMkLst>
            <pc:docMk/>
            <pc:sldMk cId="3198530772" sldId="313"/>
            <ac:inkMk id="240" creationId="{409BEDDB-BC54-06FB-C24E-BADA65F00EC5}"/>
          </ac:inkMkLst>
        </pc:inkChg>
        <pc:inkChg chg="add mod">
          <ac:chgData name="Aniket Chhabra" userId="598e0514-bef3-4e71-b6aa-f2edd6441cff" providerId="ADAL" clId="{FFB5BFD2-246A-034F-B635-DE62B5FCF3A6}" dt="2023-05-27T12:17:33.948" v="897"/>
          <ac:inkMkLst>
            <pc:docMk/>
            <pc:sldMk cId="3198530772" sldId="313"/>
            <ac:inkMk id="241" creationId="{CDAD49A5-2729-427C-9EDC-8AE9F92AB6D6}"/>
          </ac:inkMkLst>
        </pc:inkChg>
        <pc:inkChg chg="add mod">
          <ac:chgData name="Aniket Chhabra" userId="598e0514-bef3-4e71-b6aa-f2edd6441cff" providerId="ADAL" clId="{FFB5BFD2-246A-034F-B635-DE62B5FCF3A6}" dt="2023-05-27T12:17:33.948" v="897"/>
          <ac:inkMkLst>
            <pc:docMk/>
            <pc:sldMk cId="3198530772" sldId="313"/>
            <ac:inkMk id="242" creationId="{A28A1317-D42A-83D8-66F3-97916DFF4BDC}"/>
          </ac:inkMkLst>
        </pc:inkChg>
        <pc:inkChg chg="add mod">
          <ac:chgData name="Aniket Chhabra" userId="598e0514-bef3-4e71-b6aa-f2edd6441cff" providerId="ADAL" clId="{FFB5BFD2-246A-034F-B635-DE62B5FCF3A6}" dt="2023-05-27T12:17:33.948" v="897"/>
          <ac:inkMkLst>
            <pc:docMk/>
            <pc:sldMk cId="3198530772" sldId="313"/>
            <ac:inkMk id="243" creationId="{628DE136-4E94-DA40-05D4-7787C557F5EF}"/>
          </ac:inkMkLst>
        </pc:inkChg>
        <pc:inkChg chg="add mod">
          <ac:chgData name="Aniket Chhabra" userId="598e0514-bef3-4e71-b6aa-f2edd6441cff" providerId="ADAL" clId="{FFB5BFD2-246A-034F-B635-DE62B5FCF3A6}" dt="2023-05-27T12:17:33.948" v="897"/>
          <ac:inkMkLst>
            <pc:docMk/>
            <pc:sldMk cId="3198530772" sldId="313"/>
            <ac:inkMk id="247" creationId="{586ADD77-2B47-FAF1-A9CA-44D1DA8D80EB}"/>
          </ac:inkMkLst>
        </pc:inkChg>
        <pc:inkChg chg="add mod">
          <ac:chgData name="Aniket Chhabra" userId="598e0514-bef3-4e71-b6aa-f2edd6441cff" providerId="ADAL" clId="{FFB5BFD2-246A-034F-B635-DE62B5FCF3A6}" dt="2023-05-27T12:17:33.948" v="897"/>
          <ac:inkMkLst>
            <pc:docMk/>
            <pc:sldMk cId="3198530772" sldId="313"/>
            <ac:inkMk id="248" creationId="{F9B82E8B-ED6F-DECF-EE23-655267D71141}"/>
          </ac:inkMkLst>
        </pc:inkChg>
        <pc:inkChg chg="add mod">
          <ac:chgData name="Aniket Chhabra" userId="598e0514-bef3-4e71-b6aa-f2edd6441cff" providerId="ADAL" clId="{FFB5BFD2-246A-034F-B635-DE62B5FCF3A6}" dt="2023-05-27T12:17:33.948" v="897"/>
          <ac:inkMkLst>
            <pc:docMk/>
            <pc:sldMk cId="3198530772" sldId="313"/>
            <ac:inkMk id="249" creationId="{9F0158B6-E6B9-43E1-328B-DCF241C23A01}"/>
          </ac:inkMkLst>
        </pc:inkChg>
        <pc:inkChg chg="add mod">
          <ac:chgData name="Aniket Chhabra" userId="598e0514-bef3-4e71-b6aa-f2edd6441cff" providerId="ADAL" clId="{FFB5BFD2-246A-034F-B635-DE62B5FCF3A6}" dt="2023-05-27T12:17:33.948" v="897"/>
          <ac:inkMkLst>
            <pc:docMk/>
            <pc:sldMk cId="3198530772" sldId="313"/>
            <ac:inkMk id="250" creationId="{0D7AEB77-FE60-313D-2205-8FAB3AE63766}"/>
          </ac:inkMkLst>
        </pc:inkChg>
        <pc:inkChg chg="add mod">
          <ac:chgData name="Aniket Chhabra" userId="598e0514-bef3-4e71-b6aa-f2edd6441cff" providerId="ADAL" clId="{FFB5BFD2-246A-034F-B635-DE62B5FCF3A6}" dt="2023-05-27T12:17:33.948" v="897"/>
          <ac:inkMkLst>
            <pc:docMk/>
            <pc:sldMk cId="3198530772" sldId="313"/>
            <ac:inkMk id="251" creationId="{84C7BC8D-99D9-2E38-E95E-EDB41ABD6BC9}"/>
          </ac:inkMkLst>
        </pc:inkChg>
        <pc:inkChg chg="add mod">
          <ac:chgData name="Aniket Chhabra" userId="598e0514-bef3-4e71-b6aa-f2edd6441cff" providerId="ADAL" clId="{FFB5BFD2-246A-034F-B635-DE62B5FCF3A6}" dt="2023-05-27T12:17:33.948" v="897"/>
          <ac:inkMkLst>
            <pc:docMk/>
            <pc:sldMk cId="3198530772" sldId="313"/>
            <ac:inkMk id="252" creationId="{A4603C3C-33FE-3580-889D-50C535E04805}"/>
          </ac:inkMkLst>
        </pc:inkChg>
        <pc:inkChg chg="add mod">
          <ac:chgData name="Aniket Chhabra" userId="598e0514-bef3-4e71-b6aa-f2edd6441cff" providerId="ADAL" clId="{FFB5BFD2-246A-034F-B635-DE62B5FCF3A6}" dt="2023-05-27T12:17:33.948" v="897"/>
          <ac:inkMkLst>
            <pc:docMk/>
            <pc:sldMk cId="3198530772" sldId="313"/>
            <ac:inkMk id="253" creationId="{A4570014-8F88-5C16-705A-954D69BE5543}"/>
          </ac:inkMkLst>
        </pc:inkChg>
        <pc:inkChg chg="add mod">
          <ac:chgData name="Aniket Chhabra" userId="598e0514-bef3-4e71-b6aa-f2edd6441cff" providerId="ADAL" clId="{FFB5BFD2-246A-034F-B635-DE62B5FCF3A6}" dt="2023-05-27T12:17:33.948" v="897"/>
          <ac:inkMkLst>
            <pc:docMk/>
            <pc:sldMk cId="3198530772" sldId="313"/>
            <ac:inkMk id="254" creationId="{E80AC5BC-FB74-EDA6-B792-750F7A64DEE3}"/>
          </ac:inkMkLst>
        </pc:inkChg>
        <pc:inkChg chg="add mod">
          <ac:chgData name="Aniket Chhabra" userId="598e0514-bef3-4e71-b6aa-f2edd6441cff" providerId="ADAL" clId="{FFB5BFD2-246A-034F-B635-DE62B5FCF3A6}" dt="2023-05-27T12:17:32.578" v="895"/>
          <ac:inkMkLst>
            <pc:docMk/>
            <pc:sldMk cId="3198530772" sldId="313"/>
            <ac:inkMk id="256" creationId="{DF34A256-CC22-4D7C-B75F-1E4E6DB2234B}"/>
          </ac:inkMkLst>
        </pc:inkChg>
        <pc:inkChg chg="add mod">
          <ac:chgData name="Aniket Chhabra" userId="598e0514-bef3-4e71-b6aa-f2edd6441cff" providerId="ADAL" clId="{FFB5BFD2-246A-034F-B635-DE62B5FCF3A6}" dt="2023-05-27T12:17:33.948" v="897"/>
          <ac:inkMkLst>
            <pc:docMk/>
            <pc:sldMk cId="3198530772" sldId="313"/>
            <ac:inkMk id="258" creationId="{9FE95D31-BA38-8AC0-5BD7-C7E37BB685FE}"/>
          </ac:inkMkLst>
        </pc:inkChg>
        <pc:inkChg chg="add mod">
          <ac:chgData name="Aniket Chhabra" userId="598e0514-bef3-4e71-b6aa-f2edd6441cff" providerId="ADAL" clId="{FFB5BFD2-246A-034F-B635-DE62B5FCF3A6}" dt="2023-05-27T12:17:33.948" v="897"/>
          <ac:inkMkLst>
            <pc:docMk/>
            <pc:sldMk cId="3198530772" sldId="313"/>
            <ac:inkMk id="260" creationId="{F388DB90-DA0F-668B-FE46-E326E9952F55}"/>
          </ac:inkMkLst>
        </pc:inkChg>
        <pc:inkChg chg="add mod">
          <ac:chgData name="Aniket Chhabra" userId="598e0514-bef3-4e71-b6aa-f2edd6441cff" providerId="ADAL" clId="{FFB5BFD2-246A-034F-B635-DE62B5FCF3A6}" dt="2023-05-27T12:17:33.948" v="897"/>
          <ac:inkMkLst>
            <pc:docMk/>
            <pc:sldMk cId="3198530772" sldId="313"/>
            <ac:inkMk id="261" creationId="{E58B3E18-11C0-6B3A-987E-ABE0129DAFF6}"/>
          </ac:inkMkLst>
        </pc:inkChg>
        <pc:inkChg chg="add mod">
          <ac:chgData name="Aniket Chhabra" userId="598e0514-bef3-4e71-b6aa-f2edd6441cff" providerId="ADAL" clId="{FFB5BFD2-246A-034F-B635-DE62B5FCF3A6}" dt="2023-05-27T12:17:33.948" v="897"/>
          <ac:inkMkLst>
            <pc:docMk/>
            <pc:sldMk cId="3198530772" sldId="313"/>
            <ac:inkMk id="262" creationId="{6B01DFF6-2241-C30D-076B-EDFE0211C311}"/>
          </ac:inkMkLst>
        </pc:inkChg>
        <pc:inkChg chg="add mod">
          <ac:chgData name="Aniket Chhabra" userId="598e0514-bef3-4e71-b6aa-f2edd6441cff" providerId="ADAL" clId="{FFB5BFD2-246A-034F-B635-DE62B5FCF3A6}" dt="2023-05-27T12:17:33.948" v="897"/>
          <ac:inkMkLst>
            <pc:docMk/>
            <pc:sldMk cId="3198530772" sldId="313"/>
            <ac:inkMk id="264" creationId="{2CAF112A-39FA-D90C-FF59-77516E770CA9}"/>
          </ac:inkMkLst>
        </pc:inkChg>
        <pc:inkChg chg="add mod">
          <ac:chgData name="Aniket Chhabra" userId="598e0514-bef3-4e71-b6aa-f2edd6441cff" providerId="ADAL" clId="{FFB5BFD2-246A-034F-B635-DE62B5FCF3A6}" dt="2023-05-27T12:18:00.205" v="923"/>
          <ac:inkMkLst>
            <pc:docMk/>
            <pc:sldMk cId="3198530772" sldId="313"/>
            <ac:inkMk id="266" creationId="{C22E5C93-9CF1-B93D-9B09-AB906191BAEC}"/>
          </ac:inkMkLst>
        </pc:inkChg>
        <pc:inkChg chg="add mod">
          <ac:chgData name="Aniket Chhabra" userId="598e0514-bef3-4e71-b6aa-f2edd6441cff" providerId="ADAL" clId="{FFB5BFD2-246A-034F-B635-DE62B5FCF3A6}" dt="2023-05-27T12:18:00.205" v="923"/>
          <ac:inkMkLst>
            <pc:docMk/>
            <pc:sldMk cId="3198530772" sldId="313"/>
            <ac:inkMk id="267" creationId="{61338CFC-943E-556F-19B9-13EB6744BFB5}"/>
          </ac:inkMkLst>
        </pc:inkChg>
        <pc:inkChg chg="add mod">
          <ac:chgData name="Aniket Chhabra" userId="598e0514-bef3-4e71-b6aa-f2edd6441cff" providerId="ADAL" clId="{FFB5BFD2-246A-034F-B635-DE62B5FCF3A6}" dt="2023-05-27T12:18:00.205" v="923"/>
          <ac:inkMkLst>
            <pc:docMk/>
            <pc:sldMk cId="3198530772" sldId="313"/>
            <ac:inkMk id="268" creationId="{16562578-4A06-860A-61D4-0347A93458B6}"/>
          </ac:inkMkLst>
        </pc:inkChg>
        <pc:inkChg chg="add mod">
          <ac:chgData name="Aniket Chhabra" userId="598e0514-bef3-4e71-b6aa-f2edd6441cff" providerId="ADAL" clId="{FFB5BFD2-246A-034F-B635-DE62B5FCF3A6}" dt="2023-05-27T12:18:00.205" v="923"/>
          <ac:inkMkLst>
            <pc:docMk/>
            <pc:sldMk cId="3198530772" sldId="313"/>
            <ac:inkMk id="269" creationId="{E6018465-2795-FB3E-A6C6-A467811D9C82}"/>
          </ac:inkMkLst>
        </pc:inkChg>
        <pc:inkChg chg="add mod">
          <ac:chgData name="Aniket Chhabra" userId="598e0514-bef3-4e71-b6aa-f2edd6441cff" providerId="ADAL" clId="{FFB5BFD2-246A-034F-B635-DE62B5FCF3A6}" dt="2023-05-27T12:18:00.205" v="923"/>
          <ac:inkMkLst>
            <pc:docMk/>
            <pc:sldMk cId="3198530772" sldId="313"/>
            <ac:inkMk id="270" creationId="{564E5969-4071-8354-09CF-63BB02E5508D}"/>
          </ac:inkMkLst>
        </pc:inkChg>
        <pc:inkChg chg="add mod">
          <ac:chgData name="Aniket Chhabra" userId="598e0514-bef3-4e71-b6aa-f2edd6441cff" providerId="ADAL" clId="{FFB5BFD2-246A-034F-B635-DE62B5FCF3A6}" dt="2023-05-27T12:18:00.205" v="923"/>
          <ac:inkMkLst>
            <pc:docMk/>
            <pc:sldMk cId="3198530772" sldId="313"/>
            <ac:inkMk id="272" creationId="{328F6460-6075-779A-265E-BA88E4F09641}"/>
          </ac:inkMkLst>
        </pc:inkChg>
        <pc:inkChg chg="add mod">
          <ac:chgData name="Aniket Chhabra" userId="598e0514-bef3-4e71-b6aa-f2edd6441cff" providerId="ADAL" clId="{FFB5BFD2-246A-034F-B635-DE62B5FCF3A6}" dt="2023-05-27T12:18:00.205" v="923"/>
          <ac:inkMkLst>
            <pc:docMk/>
            <pc:sldMk cId="3198530772" sldId="313"/>
            <ac:inkMk id="273" creationId="{984E3084-691C-68EB-E492-2398D275A6E0}"/>
          </ac:inkMkLst>
        </pc:inkChg>
        <pc:inkChg chg="add mod">
          <ac:chgData name="Aniket Chhabra" userId="598e0514-bef3-4e71-b6aa-f2edd6441cff" providerId="ADAL" clId="{FFB5BFD2-246A-034F-B635-DE62B5FCF3A6}" dt="2023-05-27T12:18:00.205" v="923"/>
          <ac:inkMkLst>
            <pc:docMk/>
            <pc:sldMk cId="3198530772" sldId="313"/>
            <ac:inkMk id="274" creationId="{5A432C41-CBAB-E68F-A016-78548F74A202}"/>
          </ac:inkMkLst>
        </pc:inkChg>
        <pc:inkChg chg="add mod">
          <ac:chgData name="Aniket Chhabra" userId="598e0514-bef3-4e71-b6aa-f2edd6441cff" providerId="ADAL" clId="{FFB5BFD2-246A-034F-B635-DE62B5FCF3A6}" dt="2023-05-27T12:17:50.326" v="916"/>
          <ac:inkMkLst>
            <pc:docMk/>
            <pc:sldMk cId="3198530772" sldId="313"/>
            <ac:inkMk id="276" creationId="{C8890E3F-6D44-C88A-CACE-AF9D4F7D9C9B}"/>
          </ac:inkMkLst>
        </pc:inkChg>
        <pc:inkChg chg="add mod">
          <ac:chgData name="Aniket Chhabra" userId="598e0514-bef3-4e71-b6aa-f2edd6441cff" providerId="ADAL" clId="{FFB5BFD2-246A-034F-B635-DE62B5FCF3A6}" dt="2023-05-27T12:17:50.326" v="916"/>
          <ac:inkMkLst>
            <pc:docMk/>
            <pc:sldMk cId="3198530772" sldId="313"/>
            <ac:inkMk id="277" creationId="{A8C1BC11-7755-5664-12DB-A8BD4F2369ED}"/>
          </ac:inkMkLst>
        </pc:inkChg>
        <pc:inkChg chg="add mod">
          <ac:chgData name="Aniket Chhabra" userId="598e0514-bef3-4e71-b6aa-f2edd6441cff" providerId="ADAL" clId="{FFB5BFD2-246A-034F-B635-DE62B5FCF3A6}" dt="2023-05-27T12:17:50.326" v="916"/>
          <ac:inkMkLst>
            <pc:docMk/>
            <pc:sldMk cId="3198530772" sldId="313"/>
            <ac:inkMk id="278" creationId="{8544A7AC-4B0E-03A0-8746-743AFF500F61}"/>
          </ac:inkMkLst>
        </pc:inkChg>
        <pc:inkChg chg="add mod">
          <ac:chgData name="Aniket Chhabra" userId="598e0514-bef3-4e71-b6aa-f2edd6441cff" providerId="ADAL" clId="{FFB5BFD2-246A-034F-B635-DE62B5FCF3A6}" dt="2023-05-27T12:17:50.326" v="916"/>
          <ac:inkMkLst>
            <pc:docMk/>
            <pc:sldMk cId="3198530772" sldId="313"/>
            <ac:inkMk id="279" creationId="{496D03AF-71D7-0722-E71D-427DBEE0C9A4}"/>
          </ac:inkMkLst>
        </pc:inkChg>
        <pc:inkChg chg="add mod">
          <ac:chgData name="Aniket Chhabra" userId="598e0514-bef3-4e71-b6aa-f2edd6441cff" providerId="ADAL" clId="{FFB5BFD2-246A-034F-B635-DE62B5FCF3A6}" dt="2023-05-27T12:17:50.326" v="916"/>
          <ac:inkMkLst>
            <pc:docMk/>
            <pc:sldMk cId="3198530772" sldId="313"/>
            <ac:inkMk id="280" creationId="{1B23BF25-1AB7-0D45-B247-02C53E283B13}"/>
          </ac:inkMkLst>
        </pc:inkChg>
        <pc:inkChg chg="add mod">
          <ac:chgData name="Aniket Chhabra" userId="598e0514-bef3-4e71-b6aa-f2edd6441cff" providerId="ADAL" clId="{FFB5BFD2-246A-034F-B635-DE62B5FCF3A6}" dt="2023-05-27T12:17:50.326" v="916"/>
          <ac:inkMkLst>
            <pc:docMk/>
            <pc:sldMk cId="3198530772" sldId="313"/>
            <ac:inkMk id="281" creationId="{1E96255A-414E-5436-35D1-B1B612C991D1}"/>
          </ac:inkMkLst>
        </pc:inkChg>
        <pc:inkChg chg="add mod">
          <ac:chgData name="Aniket Chhabra" userId="598e0514-bef3-4e71-b6aa-f2edd6441cff" providerId="ADAL" clId="{FFB5BFD2-246A-034F-B635-DE62B5FCF3A6}" dt="2023-05-27T12:17:50.326" v="916"/>
          <ac:inkMkLst>
            <pc:docMk/>
            <pc:sldMk cId="3198530772" sldId="313"/>
            <ac:inkMk id="282" creationId="{4A746221-0075-54DC-81AB-4CDACDFD471C}"/>
          </ac:inkMkLst>
        </pc:inkChg>
        <pc:inkChg chg="add mod">
          <ac:chgData name="Aniket Chhabra" userId="598e0514-bef3-4e71-b6aa-f2edd6441cff" providerId="ADAL" clId="{FFB5BFD2-246A-034F-B635-DE62B5FCF3A6}" dt="2023-05-27T12:17:50.326" v="916"/>
          <ac:inkMkLst>
            <pc:docMk/>
            <pc:sldMk cId="3198530772" sldId="313"/>
            <ac:inkMk id="283" creationId="{57C165F8-A826-58DD-434A-790A9ABA1730}"/>
          </ac:inkMkLst>
        </pc:inkChg>
        <pc:inkChg chg="add mod">
          <ac:chgData name="Aniket Chhabra" userId="598e0514-bef3-4e71-b6aa-f2edd6441cff" providerId="ADAL" clId="{FFB5BFD2-246A-034F-B635-DE62B5FCF3A6}" dt="2023-05-27T12:18:00.205" v="923"/>
          <ac:inkMkLst>
            <pc:docMk/>
            <pc:sldMk cId="3198530772" sldId="313"/>
            <ac:inkMk id="285" creationId="{77589A08-9984-C0B7-BCE6-09657B9FD135}"/>
          </ac:inkMkLst>
        </pc:inkChg>
        <pc:inkChg chg="add mod">
          <ac:chgData name="Aniket Chhabra" userId="598e0514-bef3-4e71-b6aa-f2edd6441cff" providerId="ADAL" clId="{FFB5BFD2-246A-034F-B635-DE62B5FCF3A6}" dt="2023-05-27T12:18:00.205" v="923"/>
          <ac:inkMkLst>
            <pc:docMk/>
            <pc:sldMk cId="3198530772" sldId="313"/>
            <ac:inkMk id="286" creationId="{AD31814A-4E33-6D21-4A6A-313D626FADC4}"/>
          </ac:inkMkLst>
        </pc:inkChg>
        <pc:inkChg chg="add del mod">
          <ac:chgData name="Aniket Chhabra" userId="598e0514-bef3-4e71-b6aa-f2edd6441cff" providerId="ADAL" clId="{FFB5BFD2-246A-034F-B635-DE62B5FCF3A6}" dt="2023-06-03T15:45:59.958" v="1469"/>
          <ac:inkMkLst>
            <pc:docMk/>
            <pc:sldMk cId="3198530772" sldId="313"/>
            <ac:inkMk id="288" creationId="{4E4A79D4-EE7D-D332-4806-FF943F428962}"/>
          </ac:inkMkLst>
        </pc:inkChg>
        <pc:inkChg chg="add mod">
          <ac:chgData name="Aniket Chhabra" userId="598e0514-bef3-4e71-b6aa-f2edd6441cff" providerId="ADAL" clId="{FFB5BFD2-246A-034F-B635-DE62B5FCF3A6}" dt="2023-05-27T12:18:00.205" v="923"/>
          <ac:inkMkLst>
            <pc:docMk/>
            <pc:sldMk cId="3198530772" sldId="313"/>
            <ac:inkMk id="290" creationId="{00EE0EA7-570D-142D-A0DE-0D47C0415783}"/>
          </ac:inkMkLst>
        </pc:inkChg>
        <pc:inkChg chg="add mod">
          <ac:chgData name="Aniket Chhabra" userId="598e0514-bef3-4e71-b6aa-f2edd6441cff" providerId="ADAL" clId="{FFB5BFD2-246A-034F-B635-DE62B5FCF3A6}" dt="2023-05-27T12:18:04.029" v="926"/>
          <ac:inkMkLst>
            <pc:docMk/>
            <pc:sldMk cId="3198530772" sldId="313"/>
            <ac:inkMk id="292" creationId="{CF592C74-91C0-6E49-CB9E-EF83A271956A}"/>
          </ac:inkMkLst>
        </pc:inkChg>
        <pc:inkChg chg="add mod">
          <ac:chgData name="Aniket Chhabra" userId="598e0514-bef3-4e71-b6aa-f2edd6441cff" providerId="ADAL" clId="{FFB5BFD2-246A-034F-B635-DE62B5FCF3A6}" dt="2023-05-27T12:18:04.029" v="926"/>
          <ac:inkMkLst>
            <pc:docMk/>
            <pc:sldMk cId="3198530772" sldId="313"/>
            <ac:inkMk id="293" creationId="{C25EA19B-28C3-F01D-44B0-3D5F5FD1933E}"/>
          </ac:inkMkLst>
        </pc:inkChg>
        <pc:inkChg chg="add mod">
          <ac:chgData name="Aniket Chhabra" userId="598e0514-bef3-4e71-b6aa-f2edd6441cff" providerId="ADAL" clId="{FFB5BFD2-246A-034F-B635-DE62B5FCF3A6}" dt="2023-06-03T15:45:59.959" v="1472"/>
          <ac:inkMkLst>
            <pc:docMk/>
            <pc:sldMk cId="3198530772" sldId="313"/>
            <ac:inkMk id="295" creationId="{4905CD2D-35EA-0090-46A1-9132903CEE30}"/>
          </ac:inkMkLst>
        </pc:inkChg>
        <pc:inkChg chg="add mod">
          <ac:chgData name="Aniket Chhabra" userId="598e0514-bef3-4e71-b6aa-f2edd6441cff" providerId="ADAL" clId="{FFB5BFD2-246A-034F-B635-DE62B5FCF3A6}" dt="2023-06-03T15:45:59.959" v="1472"/>
          <ac:inkMkLst>
            <pc:docMk/>
            <pc:sldMk cId="3198530772" sldId="313"/>
            <ac:inkMk id="297" creationId="{AB0F9985-A6BE-3D61-A580-5905CA401FFD}"/>
          </ac:inkMkLst>
        </pc:inkChg>
        <pc:inkChg chg="add">
          <ac:chgData name="Aniket Chhabra" userId="598e0514-bef3-4e71-b6aa-f2edd6441cff" providerId="ADAL" clId="{FFB5BFD2-246A-034F-B635-DE62B5FCF3A6}" dt="2023-05-27T12:18:35.591" v="931" actId="9405"/>
          <ac:inkMkLst>
            <pc:docMk/>
            <pc:sldMk cId="3198530772" sldId="313"/>
            <ac:inkMk id="299" creationId="{C23083F6-EE18-4667-0A42-E20EDEDBFBA1}"/>
          </ac:inkMkLst>
        </pc:inkChg>
        <pc:inkChg chg="add mod">
          <ac:chgData name="Aniket Chhabra" userId="598e0514-bef3-4e71-b6aa-f2edd6441cff" providerId="ADAL" clId="{FFB5BFD2-246A-034F-B635-DE62B5FCF3A6}" dt="2023-05-27T12:19:46.818" v="967"/>
          <ac:inkMkLst>
            <pc:docMk/>
            <pc:sldMk cId="3198530772" sldId="313"/>
            <ac:inkMk id="300" creationId="{0E601AC7-5E61-1832-410A-E19855250695}"/>
          </ac:inkMkLst>
        </pc:inkChg>
        <pc:inkChg chg="add mod">
          <ac:chgData name="Aniket Chhabra" userId="598e0514-bef3-4e71-b6aa-f2edd6441cff" providerId="ADAL" clId="{FFB5BFD2-246A-034F-B635-DE62B5FCF3A6}" dt="2023-05-27T12:19:46.818" v="967"/>
          <ac:inkMkLst>
            <pc:docMk/>
            <pc:sldMk cId="3198530772" sldId="313"/>
            <ac:inkMk id="301" creationId="{6B7AB8B8-84CB-7854-EAFF-9A24D004DA55}"/>
          </ac:inkMkLst>
        </pc:inkChg>
        <pc:inkChg chg="add mod">
          <ac:chgData name="Aniket Chhabra" userId="598e0514-bef3-4e71-b6aa-f2edd6441cff" providerId="ADAL" clId="{FFB5BFD2-246A-034F-B635-DE62B5FCF3A6}" dt="2023-05-27T12:19:46.818" v="967"/>
          <ac:inkMkLst>
            <pc:docMk/>
            <pc:sldMk cId="3198530772" sldId="313"/>
            <ac:inkMk id="302" creationId="{EC6AFF1F-80ED-086A-E9B7-B81D339C84B2}"/>
          </ac:inkMkLst>
        </pc:inkChg>
        <pc:inkChg chg="add mod">
          <ac:chgData name="Aniket Chhabra" userId="598e0514-bef3-4e71-b6aa-f2edd6441cff" providerId="ADAL" clId="{FFB5BFD2-246A-034F-B635-DE62B5FCF3A6}" dt="2023-05-27T12:19:46.818" v="967"/>
          <ac:inkMkLst>
            <pc:docMk/>
            <pc:sldMk cId="3198530772" sldId="313"/>
            <ac:inkMk id="303" creationId="{76EE1D80-3AAA-D3EA-0836-0BDA855B01E6}"/>
          </ac:inkMkLst>
        </pc:inkChg>
        <pc:inkChg chg="add mod">
          <ac:chgData name="Aniket Chhabra" userId="598e0514-bef3-4e71-b6aa-f2edd6441cff" providerId="ADAL" clId="{FFB5BFD2-246A-034F-B635-DE62B5FCF3A6}" dt="2023-05-27T12:19:46.818" v="967"/>
          <ac:inkMkLst>
            <pc:docMk/>
            <pc:sldMk cId="3198530772" sldId="313"/>
            <ac:inkMk id="304" creationId="{ED3B21CA-EFE8-8F53-5D70-E90133314FAD}"/>
          </ac:inkMkLst>
        </pc:inkChg>
        <pc:inkChg chg="add mod">
          <ac:chgData name="Aniket Chhabra" userId="598e0514-bef3-4e71-b6aa-f2edd6441cff" providerId="ADAL" clId="{FFB5BFD2-246A-034F-B635-DE62B5FCF3A6}" dt="2023-05-27T12:19:46.818" v="967"/>
          <ac:inkMkLst>
            <pc:docMk/>
            <pc:sldMk cId="3198530772" sldId="313"/>
            <ac:inkMk id="305" creationId="{6A53E4EA-9F88-7093-BE60-402ABCDBCF13}"/>
          </ac:inkMkLst>
        </pc:inkChg>
        <pc:inkChg chg="add mod">
          <ac:chgData name="Aniket Chhabra" userId="598e0514-bef3-4e71-b6aa-f2edd6441cff" providerId="ADAL" clId="{FFB5BFD2-246A-034F-B635-DE62B5FCF3A6}" dt="2023-05-27T12:19:46.818" v="967"/>
          <ac:inkMkLst>
            <pc:docMk/>
            <pc:sldMk cId="3198530772" sldId="313"/>
            <ac:inkMk id="306" creationId="{AA28E6B8-2964-01A6-3A3F-BBFC21B667D8}"/>
          </ac:inkMkLst>
        </pc:inkChg>
        <pc:inkChg chg="add mod">
          <ac:chgData name="Aniket Chhabra" userId="598e0514-bef3-4e71-b6aa-f2edd6441cff" providerId="ADAL" clId="{FFB5BFD2-246A-034F-B635-DE62B5FCF3A6}" dt="2023-05-27T12:19:46.818" v="967"/>
          <ac:inkMkLst>
            <pc:docMk/>
            <pc:sldMk cId="3198530772" sldId="313"/>
            <ac:inkMk id="307" creationId="{071B0707-C897-4C42-428F-5C4A7661A64A}"/>
          </ac:inkMkLst>
        </pc:inkChg>
        <pc:inkChg chg="add del">
          <ac:chgData name="Aniket Chhabra" userId="598e0514-bef3-4e71-b6aa-f2edd6441cff" providerId="ADAL" clId="{FFB5BFD2-246A-034F-B635-DE62B5FCF3A6}" dt="2023-05-27T12:19:41.153" v="954" actId="9405"/>
          <ac:inkMkLst>
            <pc:docMk/>
            <pc:sldMk cId="3198530772" sldId="313"/>
            <ac:inkMk id="309" creationId="{812E20EC-79BC-C735-BF30-ECFF86128D9F}"/>
          </ac:inkMkLst>
        </pc:inkChg>
        <pc:inkChg chg="add del">
          <ac:chgData name="Aniket Chhabra" userId="598e0514-bef3-4e71-b6aa-f2edd6441cff" providerId="ADAL" clId="{FFB5BFD2-246A-034F-B635-DE62B5FCF3A6}" dt="2023-05-27T12:19:40.906" v="953" actId="9405"/>
          <ac:inkMkLst>
            <pc:docMk/>
            <pc:sldMk cId="3198530772" sldId="313"/>
            <ac:inkMk id="310" creationId="{ED5078A8-0203-27A8-A33C-1E58B652888A}"/>
          </ac:inkMkLst>
        </pc:inkChg>
        <pc:inkChg chg="add mod">
          <ac:chgData name="Aniket Chhabra" userId="598e0514-bef3-4e71-b6aa-f2edd6441cff" providerId="ADAL" clId="{FFB5BFD2-246A-034F-B635-DE62B5FCF3A6}" dt="2023-05-27T12:19:46.818" v="967"/>
          <ac:inkMkLst>
            <pc:docMk/>
            <pc:sldMk cId="3198530772" sldId="313"/>
            <ac:inkMk id="311" creationId="{EF4FB36C-7D66-366E-CFE4-97AC6C298A3C}"/>
          </ac:inkMkLst>
        </pc:inkChg>
        <pc:inkChg chg="add mod">
          <ac:chgData name="Aniket Chhabra" userId="598e0514-bef3-4e71-b6aa-f2edd6441cff" providerId="ADAL" clId="{FFB5BFD2-246A-034F-B635-DE62B5FCF3A6}" dt="2023-05-27T12:19:46.818" v="967"/>
          <ac:inkMkLst>
            <pc:docMk/>
            <pc:sldMk cId="3198530772" sldId="313"/>
            <ac:inkMk id="312" creationId="{DDF91C20-8424-9E8C-F88A-FBFA172ABF97}"/>
          </ac:inkMkLst>
        </pc:inkChg>
        <pc:inkChg chg="add mod">
          <ac:chgData name="Aniket Chhabra" userId="598e0514-bef3-4e71-b6aa-f2edd6441cff" providerId="ADAL" clId="{FFB5BFD2-246A-034F-B635-DE62B5FCF3A6}" dt="2023-05-27T12:19:46.818" v="967"/>
          <ac:inkMkLst>
            <pc:docMk/>
            <pc:sldMk cId="3198530772" sldId="313"/>
            <ac:inkMk id="313" creationId="{CE9BE104-71B3-F292-6669-765EC7915EEE}"/>
          </ac:inkMkLst>
        </pc:inkChg>
        <pc:inkChg chg="add mod">
          <ac:chgData name="Aniket Chhabra" userId="598e0514-bef3-4e71-b6aa-f2edd6441cff" providerId="ADAL" clId="{FFB5BFD2-246A-034F-B635-DE62B5FCF3A6}" dt="2023-05-27T12:19:46.818" v="967"/>
          <ac:inkMkLst>
            <pc:docMk/>
            <pc:sldMk cId="3198530772" sldId="313"/>
            <ac:inkMk id="314" creationId="{68B9FBC7-47C2-8246-3D14-71E40EDE8CFF}"/>
          </ac:inkMkLst>
        </pc:inkChg>
        <pc:inkChg chg="add mod">
          <ac:chgData name="Aniket Chhabra" userId="598e0514-bef3-4e71-b6aa-f2edd6441cff" providerId="ADAL" clId="{FFB5BFD2-246A-034F-B635-DE62B5FCF3A6}" dt="2023-05-27T12:19:46.818" v="967"/>
          <ac:inkMkLst>
            <pc:docMk/>
            <pc:sldMk cId="3198530772" sldId="313"/>
            <ac:inkMk id="315" creationId="{C0497AE5-580E-F66B-8D05-7C6C7CCB9ABC}"/>
          </ac:inkMkLst>
        </pc:inkChg>
        <pc:inkChg chg="add mod">
          <ac:chgData name="Aniket Chhabra" userId="598e0514-bef3-4e71-b6aa-f2edd6441cff" providerId="ADAL" clId="{FFB5BFD2-246A-034F-B635-DE62B5FCF3A6}" dt="2023-05-27T12:19:46.818" v="967"/>
          <ac:inkMkLst>
            <pc:docMk/>
            <pc:sldMk cId="3198530772" sldId="313"/>
            <ac:inkMk id="316" creationId="{B500FDD7-6C1B-0B02-D68A-07B2305E5511}"/>
          </ac:inkMkLst>
        </pc:inkChg>
        <pc:inkChg chg="add mod">
          <ac:chgData name="Aniket Chhabra" userId="598e0514-bef3-4e71-b6aa-f2edd6441cff" providerId="ADAL" clId="{FFB5BFD2-246A-034F-B635-DE62B5FCF3A6}" dt="2023-05-27T12:19:46.818" v="967"/>
          <ac:inkMkLst>
            <pc:docMk/>
            <pc:sldMk cId="3198530772" sldId="313"/>
            <ac:inkMk id="317" creationId="{F587674B-D212-BED1-7359-D076A928AF61}"/>
          </ac:inkMkLst>
        </pc:inkChg>
        <pc:inkChg chg="add mod">
          <ac:chgData name="Aniket Chhabra" userId="598e0514-bef3-4e71-b6aa-f2edd6441cff" providerId="ADAL" clId="{FFB5BFD2-246A-034F-B635-DE62B5FCF3A6}" dt="2023-05-27T12:19:46.818" v="967"/>
          <ac:inkMkLst>
            <pc:docMk/>
            <pc:sldMk cId="3198530772" sldId="313"/>
            <ac:inkMk id="318" creationId="{276F5E9F-9A2D-CC8F-BE76-EC39555270DD}"/>
          </ac:inkMkLst>
        </pc:inkChg>
        <pc:inkChg chg="add mod">
          <ac:chgData name="Aniket Chhabra" userId="598e0514-bef3-4e71-b6aa-f2edd6441cff" providerId="ADAL" clId="{FFB5BFD2-246A-034F-B635-DE62B5FCF3A6}" dt="2023-05-27T12:19:46.818" v="967"/>
          <ac:inkMkLst>
            <pc:docMk/>
            <pc:sldMk cId="3198530772" sldId="313"/>
            <ac:inkMk id="319" creationId="{0A565E41-77DC-25A3-758A-9E956A94CDE8}"/>
          </ac:inkMkLst>
        </pc:inkChg>
        <pc:inkChg chg="add mod">
          <ac:chgData name="Aniket Chhabra" userId="598e0514-bef3-4e71-b6aa-f2edd6441cff" providerId="ADAL" clId="{FFB5BFD2-246A-034F-B635-DE62B5FCF3A6}" dt="2023-05-27T12:19:46.818" v="967"/>
          <ac:inkMkLst>
            <pc:docMk/>
            <pc:sldMk cId="3198530772" sldId="313"/>
            <ac:inkMk id="320" creationId="{B97F1D55-1677-9A4D-8AA4-727DA97A4FDA}"/>
          </ac:inkMkLst>
        </pc:inkChg>
        <pc:inkChg chg="add mod">
          <ac:chgData name="Aniket Chhabra" userId="598e0514-bef3-4e71-b6aa-f2edd6441cff" providerId="ADAL" clId="{FFB5BFD2-246A-034F-B635-DE62B5FCF3A6}" dt="2023-05-27T12:19:46.818" v="967"/>
          <ac:inkMkLst>
            <pc:docMk/>
            <pc:sldMk cId="3198530772" sldId="313"/>
            <ac:inkMk id="321" creationId="{426432B8-EC07-BBF7-15D6-BFFCBA125E70}"/>
          </ac:inkMkLst>
        </pc:inkChg>
        <pc:inkChg chg="add mod">
          <ac:chgData name="Aniket Chhabra" userId="598e0514-bef3-4e71-b6aa-f2edd6441cff" providerId="ADAL" clId="{FFB5BFD2-246A-034F-B635-DE62B5FCF3A6}" dt="2023-05-27T12:19:46.818" v="967"/>
          <ac:inkMkLst>
            <pc:docMk/>
            <pc:sldMk cId="3198530772" sldId="313"/>
            <ac:inkMk id="322" creationId="{7881C76C-0233-8954-AB07-CA80283E0DEE}"/>
          </ac:inkMkLst>
        </pc:inkChg>
        <pc:inkChg chg="add mod">
          <ac:chgData name="Aniket Chhabra" userId="598e0514-bef3-4e71-b6aa-f2edd6441cff" providerId="ADAL" clId="{FFB5BFD2-246A-034F-B635-DE62B5FCF3A6}" dt="2023-05-27T12:19:50.909" v="971"/>
          <ac:inkMkLst>
            <pc:docMk/>
            <pc:sldMk cId="3198530772" sldId="313"/>
            <ac:inkMk id="325" creationId="{45370AB7-D304-D8E1-A100-D29F4DEE2CEE}"/>
          </ac:inkMkLst>
        </pc:inkChg>
        <pc:inkChg chg="add mod">
          <ac:chgData name="Aniket Chhabra" userId="598e0514-bef3-4e71-b6aa-f2edd6441cff" providerId="ADAL" clId="{FFB5BFD2-246A-034F-B635-DE62B5FCF3A6}" dt="2023-05-27T12:19:50.909" v="971"/>
          <ac:inkMkLst>
            <pc:docMk/>
            <pc:sldMk cId="3198530772" sldId="313"/>
            <ac:inkMk id="326" creationId="{3D0A6806-39CF-D5B2-89E4-8EDFD264496F}"/>
          </ac:inkMkLst>
        </pc:inkChg>
        <pc:inkChg chg="add mod">
          <ac:chgData name="Aniket Chhabra" userId="598e0514-bef3-4e71-b6aa-f2edd6441cff" providerId="ADAL" clId="{FFB5BFD2-246A-034F-B635-DE62B5FCF3A6}" dt="2023-05-27T12:19:50.909" v="971"/>
          <ac:inkMkLst>
            <pc:docMk/>
            <pc:sldMk cId="3198530772" sldId="313"/>
            <ac:inkMk id="327" creationId="{A4B9ED56-0876-365C-3D65-414EFAC398E3}"/>
          </ac:inkMkLst>
        </pc:inkChg>
      </pc:sldChg>
      <pc:sldChg chg="addSp delSp modSp new del mod">
        <pc:chgData name="Aniket Chhabra" userId="598e0514-bef3-4e71-b6aa-f2edd6441cff" providerId="ADAL" clId="{FFB5BFD2-246A-034F-B635-DE62B5FCF3A6}" dt="2023-06-17T12:41:55.518" v="1600" actId="2696"/>
        <pc:sldMkLst>
          <pc:docMk/>
          <pc:sldMk cId="3843549340" sldId="314"/>
        </pc:sldMkLst>
        <pc:grpChg chg="del mod">
          <ac:chgData name="Aniket Chhabra" userId="598e0514-bef3-4e71-b6aa-f2edd6441cff" providerId="ADAL" clId="{FFB5BFD2-246A-034F-B635-DE62B5FCF3A6}" dt="2023-05-27T12:28:24.601" v="1074"/>
          <ac:grpSpMkLst>
            <pc:docMk/>
            <pc:sldMk cId="3843549340" sldId="314"/>
            <ac:grpSpMk id="22" creationId="{7D6FFA61-E707-2A31-E63F-3AFC1B837A5A}"/>
          </ac:grpSpMkLst>
        </pc:grpChg>
        <pc:grpChg chg="del mod">
          <ac:chgData name="Aniket Chhabra" userId="598e0514-bef3-4e71-b6aa-f2edd6441cff" providerId="ADAL" clId="{FFB5BFD2-246A-034F-B635-DE62B5FCF3A6}" dt="2023-05-27T12:29:07.221" v="1136"/>
          <ac:grpSpMkLst>
            <pc:docMk/>
            <pc:sldMk cId="3843549340" sldId="314"/>
            <ac:grpSpMk id="23" creationId="{725CFF3E-A4FA-87DE-A2D4-0A377AD8929A}"/>
          </ac:grpSpMkLst>
        </pc:grpChg>
        <pc:grpChg chg="del mod">
          <ac:chgData name="Aniket Chhabra" userId="598e0514-bef3-4e71-b6aa-f2edd6441cff" providerId="ADAL" clId="{FFB5BFD2-246A-034F-B635-DE62B5FCF3A6}" dt="2023-05-27T12:29:07.221" v="1136"/>
          <ac:grpSpMkLst>
            <pc:docMk/>
            <pc:sldMk cId="3843549340" sldId="314"/>
            <ac:grpSpMk id="24" creationId="{71B2AA7F-A94B-55D1-B667-4A4B4428B52C}"/>
          </ac:grpSpMkLst>
        </pc:grpChg>
        <pc:grpChg chg="del mod">
          <ac:chgData name="Aniket Chhabra" userId="598e0514-bef3-4e71-b6aa-f2edd6441cff" providerId="ADAL" clId="{FFB5BFD2-246A-034F-B635-DE62B5FCF3A6}" dt="2023-05-27T12:29:07.221" v="1136"/>
          <ac:grpSpMkLst>
            <pc:docMk/>
            <pc:sldMk cId="3843549340" sldId="314"/>
            <ac:grpSpMk id="25" creationId="{0486053E-3CA2-A7B8-112B-EF22E1866D27}"/>
          </ac:grpSpMkLst>
        </pc:grpChg>
        <pc:grpChg chg="del mod">
          <ac:chgData name="Aniket Chhabra" userId="598e0514-bef3-4e71-b6aa-f2edd6441cff" providerId="ADAL" clId="{FFB5BFD2-246A-034F-B635-DE62B5FCF3A6}" dt="2023-05-27T12:29:07.221" v="1136"/>
          <ac:grpSpMkLst>
            <pc:docMk/>
            <pc:sldMk cId="3843549340" sldId="314"/>
            <ac:grpSpMk id="26" creationId="{E5EE93C0-F78A-11EC-4162-842F6BCF3835}"/>
          </ac:grpSpMkLst>
        </pc:grpChg>
        <pc:grpChg chg="del mod">
          <ac:chgData name="Aniket Chhabra" userId="598e0514-bef3-4e71-b6aa-f2edd6441cff" providerId="ADAL" clId="{FFB5BFD2-246A-034F-B635-DE62B5FCF3A6}" dt="2023-05-27T12:29:07.221" v="1136"/>
          <ac:grpSpMkLst>
            <pc:docMk/>
            <pc:sldMk cId="3843549340" sldId="314"/>
            <ac:grpSpMk id="28" creationId="{DBED5119-F414-FF95-C330-703B63311299}"/>
          </ac:grpSpMkLst>
        </pc:grpChg>
        <pc:grpChg chg="del mod">
          <ac:chgData name="Aniket Chhabra" userId="598e0514-bef3-4e71-b6aa-f2edd6441cff" providerId="ADAL" clId="{FFB5BFD2-246A-034F-B635-DE62B5FCF3A6}" dt="2023-05-27T12:29:07.221" v="1136"/>
          <ac:grpSpMkLst>
            <pc:docMk/>
            <pc:sldMk cId="3843549340" sldId="314"/>
            <ac:grpSpMk id="37" creationId="{5D47ABBD-C5B0-CE13-F57A-B27828F3EE3A}"/>
          </ac:grpSpMkLst>
        </pc:grpChg>
        <pc:grpChg chg="del mod">
          <ac:chgData name="Aniket Chhabra" userId="598e0514-bef3-4e71-b6aa-f2edd6441cff" providerId="ADAL" clId="{FFB5BFD2-246A-034F-B635-DE62B5FCF3A6}" dt="2023-05-27T12:28:58.358" v="1124"/>
          <ac:grpSpMkLst>
            <pc:docMk/>
            <pc:sldMk cId="3843549340" sldId="314"/>
            <ac:grpSpMk id="46" creationId="{2405F860-94B7-3B8E-8C32-89A8D92810AD}"/>
          </ac:grpSpMkLst>
        </pc:grpChg>
        <pc:grpChg chg="del mod">
          <ac:chgData name="Aniket Chhabra" userId="598e0514-bef3-4e71-b6aa-f2edd6441cff" providerId="ADAL" clId="{FFB5BFD2-246A-034F-B635-DE62B5FCF3A6}" dt="2023-05-27T12:28:58.358" v="1124"/>
          <ac:grpSpMkLst>
            <pc:docMk/>
            <pc:sldMk cId="3843549340" sldId="314"/>
            <ac:grpSpMk id="47" creationId="{D5A10A4F-661D-4412-DDDB-801A9EEA24F2}"/>
          </ac:grpSpMkLst>
        </pc:grpChg>
        <pc:grpChg chg="del mod">
          <ac:chgData name="Aniket Chhabra" userId="598e0514-bef3-4e71-b6aa-f2edd6441cff" providerId="ADAL" clId="{FFB5BFD2-246A-034F-B635-DE62B5FCF3A6}" dt="2023-05-27T12:28:58.358" v="1124"/>
          <ac:grpSpMkLst>
            <pc:docMk/>
            <pc:sldMk cId="3843549340" sldId="314"/>
            <ac:grpSpMk id="54" creationId="{3CC3D54E-3292-0521-1658-5D1EA281C08C}"/>
          </ac:grpSpMkLst>
        </pc:grpChg>
        <pc:grpChg chg="mod">
          <ac:chgData name="Aniket Chhabra" userId="598e0514-bef3-4e71-b6aa-f2edd6441cff" providerId="ADAL" clId="{FFB5BFD2-246A-034F-B635-DE62B5FCF3A6}" dt="2023-05-27T12:28:42.819" v="1105"/>
          <ac:grpSpMkLst>
            <pc:docMk/>
            <pc:sldMk cId="3843549340" sldId="314"/>
            <ac:grpSpMk id="60" creationId="{7802BB4F-152F-8AB9-8CDE-7A21ADE6A3D7}"/>
          </ac:grpSpMkLst>
        </pc:grpChg>
        <pc:grpChg chg="del mod">
          <ac:chgData name="Aniket Chhabra" userId="598e0514-bef3-4e71-b6aa-f2edd6441cff" providerId="ADAL" clId="{FFB5BFD2-246A-034F-B635-DE62B5FCF3A6}" dt="2023-05-27T12:29:46.643" v="1213"/>
          <ac:grpSpMkLst>
            <pc:docMk/>
            <pc:sldMk cId="3843549340" sldId="314"/>
            <ac:grpSpMk id="63" creationId="{180951C9-06BF-10DA-4DF7-7D92A5D44EC0}"/>
          </ac:grpSpMkLst>
        </pc:grpChg>
        <pc:grpChg chg="del mod">
          <ac:chgData name="Aniket Chhabra" userId="598e0514-bef3-4e71-b6aa-f2edd6441cff" providerId="ADAL" clId="{FFB5BFD2-246A-034F-B635-DE62B5FCF3A6}" dt="2023-05-27T12:29:51.888" v="1214"/>
          <ac:grpSpMkLst>
            <pc:docMk/>
            <pc:sldMk cId="3843549340" sldId="314"/>
            <ac:grpSpMk id="66" creationId="{0B879376-8A0F-E89D-5EE6-6941E195ECD2}"/>
          </ac:grpSpMkLst>
        </pc:grpChg>
        <pc:grpChg chg="del mod">
          <ac:chgData name="Aniket Chhabra" userId="598e0514-bef3-4e71-b6aa-f2edd6441cff" providerId="ADAL" clId="{FFB5BFD2-246A-034F-B635-DE62B5FCF3A6}" dt="2023-05-27T12:29:07.221" v="1136"/>
          <ac:grpSpMkLst>
            <pc:docMk/>
            <pc:sldMk cId="3843549340" sldId="314"/>
            <ac:grpSpMk id="79" creationId="{1083264E-63FD-394B-5608-FF241D0289D4}"/>
          </ac:grpSpMkLst>
        </pc:grpChg>
        <pc:grpChg chg="del mod">
          <ac:chgData name="Aniket Chhabra" userId="598e0514-bef3-4e71-b6aa-f2edd6441cff" providerId="ADAL" clId="{FFB5BFD2-246A-034F-B635-DE62B5FCF3A6}" dt="2023-05-27T12:29:07.221" v="1136"/>
          <ac:grpSpMkLst>
            <pc:docMk/>
            <pc:sldMk cId="3843549340" sldId="314"/>
            <ac:grpSpMk id="91" creationId="{D7E83085-F835-E12C-9B88-84DAFE100F96}"/>
          </ac:grpSpMkLst>
        </pc:grpChg>
        <pc:grpChg chg="del mod">
          <ac:chgData name="Aniket Chhabra" userId="598e0514-bef3-4e71-b6aa-f2edd6441cff" providerId="ADAL" clId="{FFB5BFD2-246A-034F-B635-DE62B5FCF3A6}" dt="2023-05-27T12:29:11.144" v="1143"/>
          <ac:grpSpMkLst>
            <pc:docMk/>
            <pc:sldMk cId="3843549340" sldId="314"/>
            <ac:grpSpMk id="92" creationId="{59A93C6B-42CF-AD87-AF17-5A2825703561}"/>
          </ac:grpSpMkLst>
        </pc:grpChg>
        <pc:grpChg chg="del mod">
          <ac:chgData name="Aniket Chhabra" userId="598e0514-bef3-4e71-b6aa-f2edd6441cff" providerId="ADAL" clId="{FFB5BFD2-246A-034F-B635-DE62B5FCF3A6}" dt="2023-05-27T12:29:15.880" v="1156"/>
          <ac:grpSpMkLst>
            <pc:docMk/>
            <pc:sldMk cId="3843549340" sldId="314"/>
            <ac:grpSpMk id="99" creationId="{FEE1FCB3-CE99-32D5-C5F9-F732F6BD4796}"/>
          </ac:grpSpMkLst>
        </pc:grpChg>
        <pc:grpChg chg="del mod">
          <ac:chgData name="Aniket Chhabra" userId="598e0514-bef3-4e71-b6aa-f2edd6441cff" providerId="ADAL" clId="{FFB5BFD2-246A-034F-B635-DE62B5FCF3A6}" dt="2023-05-27T12:29:15.880" v="1156"/>
          <ac:grpSpMkLst>
            <pc:docMk/>
            <pc:sldMk cId="3843549340" sldId="314"/>
            <ac:grpSpMk id="112" creationId="{048CDCE4-82CB-6C77-7213-90DEAEE0A96A}"/>
          </ac:grpSpMkLst>
        </pc:grpChg>
        <pc:grpChg chg="del mod">
          <ac:chgData name="Aniket Chhabra" userId="598e0514-bef3-4e71-b6aa-f2edd6441cff" providerId="ADAL" clId="{FFB5BFD2-246A-034F-B635-DE62B5FCF3A6}" dt="2023-05-27T12:29:31.137" v="1183"/>
          <ac:grpSpMkLst>
            <pc:docMk/>
            <pc:sldMk cId="3843549340" sldId="314"/>
            <ac:grpSpMk id="113" creationId="{D9A1DC5C-7907-6B32-8ED1-06D121589AFA}"/>
          </ac:grpSpMkLst>
        </pc:grpChg>
        <pc:grpChg chg="del mod">
          <ac:chgData name="Aniket Chhabra" userId="598e0514-bef3-4e71-b6aa-f2edd6441cff" providerId="ADAL" clId="{FFB5BFD2-246A-034F-B635-DE62B5FCF3A6}" dt="2023-05-27T12:29:46.643" v="1213"/>
          <ac:grpSpMkLst>
            <pc:docMk/>
            <pc:sldMk cId="3843549340" sldId="314"/>
            <ac:grpSpMk id="122" creationId="{99C4A06C-FE47-230C-0743-2941898BE07B}"/>
          </ac:grpSpMkLst>
        </pc:grpChg>
        <pc:grpChg chg="mod">
          <ac:chgData name="Aniket Chhabra" userId="598e0514-bef3-4e71-b6aa-f2edd6441cff" providerId="ADAL" clId="{FFB5BFD2-246A-034F-B635-DE62B5FCF3A6}" dt="2023-05-27T12:29:46.643" v="1213"/>
          <ac:grpSpMkLst>
            <pc:docMk/>
            <pc:sldMk cId="3843549340" sldId="314"/>
            <ac:grpSpMk id="152" creationId="{418DF066-1797-9A69-5D9D-D34C0CBB20D5}"/>
          </ac:grpSpMkLst>
        </pc:grpChg>
        <pc:grpChg chg="mod">
          <ac:chgData name="Aniket Chhabra" userId="598e0514-bef3-4e71-b6aa-f2edd6441cff" providerId="ADAL" clId="{FFB5BFD2-246A-034F-B635-DE62B5FCF3A6}" dt="2023-05-27T12:29:46.643" v="1213"/>
          <ac:grpSpMkLst>
            <pc:docMk/>
            <pc:sldMk cId="3843549340" sldId="314"/>
            <ac:grpSpMk id="153" creationId="{8CA6DB03-D41A-05F6-72E6-62E601FAC579}"/>
          </ac:grpSpMkLst>
        </pc:grpChg>
        <pc:grpChg chg="del mod">
          <ac:chgData name="Aniket Chhabra" userId="598e0514-bef3-4e71-b6aa-f2edd6441cff" providerId="ADAL" clId="{FFB5BFD2-246A-034F-B635-DE62B5FCF3A6}" dt="2023-05-27T12:29:46.643" v="1213"/>
          <ac:grpSpMkLst>
            <pc:docMk/>
            <pc:sldMk cId="3843549340" sldId="314"/>
            <ac:grpSpMk id="154" creationId="{7BF631C6-BC3B-774D-F0E4-D59390CE51C5}"/>
          </ac:grpSpMkLst>
        </pc:grpChg>
        <pc:grpChg chg="del mod">
          <ac:chgData name="Aniket Chhabra" userId="598e0514-bef3-4e71-b6aa-f2edd6441cff" providerId="ADAL" clId="{FFB5BFD2-246A-034F-B635-DE62B5FCF3A6}" dt="2023-05-27T12:29:46.643" v="1213"/>
          <ac:grpSpMkLst>
            <pc:docMk/>
            <pc:sldMk cId="3843549340" sldId="314"/>
            <ac:grpSpMk id="155" creationId="{13324491-03FD-4E27-2ABD-79A3E9262486}"/>
          </ac:grpSpMkLst>
        </pc:grpChg>
        <pc:grpChg chg="mod">
          <ac:chgData name="Aniket Chhabra" userId="598e0514-bef3-4e71-b6aa-f2edd6441cff" providerId="ADAL" clId="{FFB5BFD2-246A-034F-B635-DE62B5FCF3A6}" dt="2023-05-27T12:29:46.643" v="1213"/>
          <ac:grpSpMkLst>
            <pc:docMk/>
            <pc:sldMk cId="3843549340" sldId="314"/>
            <ac:grpSpMk id="156" creationId="{8F52C373-626B-6EB3-690A-BF107AFA6EF4}"/>
          </ac:grpSpMkLst>
        </pc:grpChg>
        <pc:grpChg chg="del mod">
          <ac:chgData name="Aniket Chhabra" userId="598e0514-bef3-4e71-b6aa-f2edd6441cff" providerId="ADAL" clId="{FFB5BFD2-246A-034F-B635-DE62B5FCF3A6}" dt="2023-05-27T12:29:46.643" v="1213"/>
          <ac:grpSpMkLst>
            <pc:docMk/>
            <pc:sldMk cId="3843549340" sldId="314"/>
            <ac:grpSpMk id="157" creationId="{CC3ECAA3-9438-6B87-C657-1B5C0CA1E4BC}"/>
          </ac:grpSpMkLst>
        </pc:grpChg>
        <pc:grpChg chg="del mod">
          <ac:chgData name="Aniket Chhabra" userId="598e0514-bef3-4e71-b6aa-f2edd6441cff" providerId="ADAL" clId="{FFB5BFD2-246A-034F-B635-DE62B5FCF3A6}" dt="2023-05-27T12:29:46.643" v="1213"/>
          <ac:grpSpMkLst>
            <pc:docMk/>
            <pc:sldMk cId="3843549340" sldId="314"/>
            <ac:grpSpMk id="158" creationId="{02C8700B-A28A-AAB8-7A1F-AA5030235CF7}"/>
          </ac:grpSpMkLst>
        </pc:grpChg>
        <pc:grpChg chg="del mod">
          <ac:chgData name="Aniket Chhabra" userId="598e0514-bef3-4e71-b6aa-f2edd6441cff" providerId="ADAL" clId="{FFB5BFD2-246A-034F-B635-DE62B5FCF3A6}" dt="2023-05-27T12:29:59.629" v="1222"/>
          <ac:grpSpMkLst>
            <pc:docMk/>
            <pc:sldMk cId="3843549340" sldId="314"/>
            <ac:grpSpMk id="159" creationId="{65DA142D-A5C7-F072-C292-C45F2CAA9A76}"/>
          </ac:grpSpMkLst>
        </pc:grpChg>
        <pc:grpChg chg="mod">
          <ac:chgData name="Aniket Chhabra" userId="598e0514-bef3-4e71-b6aa-f2edd6441cff" providerId="ADAL" clId="{FFB5BFD2-246A-034F-B635-DE62B5FCF3A6}" dt="2023-05-27T12:29:59.629" v="1222"/>
          <ac:grpSpMkLst>
            <pc:docMk/>
            <pc:sldMk cId="3843549340" sldId="314"/>
            <ac:grpSpMk id="166" creationId="{A4E25F73-F6E0-E277-D36A-6D057E5A54C7}"/>
          </ac:grpSpMkLst>
        </pc:grpChg>
        <pc:inkChg chg="add mod">
          <ac:chgData name="Aniket Chhabra" userId="598e0514-bef3-4e71-b6aa-f2edd6441cff" providerId="ADAL" clId="{FFB5BFD2-246A-034F-B635-DE62B5FCF3A6}" dt="2023-05-27T12:29:59.629" v="1222"/>
          <ac:inkMkLst>
            <pc:docMk/>
            <pc:sldMk cId="3843549340" sldId="314"/>
            <ac:inkMk id="2" creationId="{BC2A1362-8D9A-576E-167D-5165E79DA029}"/>
          </ac:inkMkLst>
        </pc:inkChg>
        <pc:inkChg chg="add mod">
          <ac:chgData name="Aniket Chhabra" userId="598e0514-bef3-4e71-b6aa-f2edd6441cff" providerId="ADAL" clId="{FFB5BFD2-246A-034F-B635-DE62B5FCF3A6}" dt="2023-05-27T12:29:59.629" v="1222"/>
          <ac:inkMkLst>
            <pc:docMk/>
            <pc:sldMk cId="3843549340" sldId="314"/>
            <ac:inkMk id="3" creationId="{A7F81673-13C7-97F7-426A-E9529654AB90}"/>
          </ac:inkMkLst>
        </pc:inkChg>
        <pc:inkChg chg="add mod">
          <ac:chgData name="Aniket Chhabra" userId="598e0514-bef3-4e71-b6aa-f2edd6441cff" providerId="ADAL" clId="{FFB5BFD2-246A-034F-B635-DE62B5FCF3A6}" dt="2023-05-27T12:29:59.629" v="1222"/>
          <ac:inkMkLst>
            <pc:docMk/>
            <pc:sldMk cId="3843549340" sldId="314"/>
            <ac:inkMk id="4" creationId="{75CB0253-5941-E808-F5C6-D29949388F47}"/>
          </ac:inkMkLst>
        </pc:inkChg>
        <pc:inkChg chg="add mod">
          <ac:chgData name="Aniket Chhabra" userId="598e0514-bef3-4e71-b6aa-f2edd6441cff" providerId="ADAL" clId="{FFB5BFD2-246A-034F-B635-DE62B5FCF3A6}" dt="2023-05-27T12:29:59.629" v="1222"/>
          <ac:inkMkLst>
            <pc:docMk/>
            <pc:sldMk cId="3843549340" sldId="314"/>
            <ac:inkMk id="5" creationId="{9A50561F-BE98-371E-FC3E-219DE97A0107}"/>
          </ac:inkMkLst>
        </pc:inkChg>
        <pc:inkChg chg="add mod">
          <ac:chgData name="Aniket Chhabra" userId="598e0514-bef3-4e71-b6aa-f2edd6441cff" providerId="ADAL" clId="{FFB5BFD2-246A-034F-B635-DE62B5FCF3A6}" dt="2023-05-27T12:29:59.629" v="1222"/>
          <ac:inkMkLst>
            <pc:docMk/>
            <pc:sldMk cId="3843549340" sldId="314"/>
            <ac:inkMk id="6" creationId="{98421719-93B4-8BBE-D61E-CC486B1F9233}"/>
          </ac:inkMkLst>
        </pc:inkChg>
        <pc:inkChg chg="add mod">
          <ac:chgData name="Aniket Chhabra" userId="598e0514-bef3-4e71-b6aa-f2edd6441cff" providerId="ADAL" clId="{FFB5BFD2-246A-034F-B635-DE62B5FCF3A6}" dt="2023-05-27T12:29:59.629" v="1222"/>
          <ac:inkMkLst>
            <pc:docMk/>
            <pc:sldMk cId="3843549340" sldId="314"/>
            <ac:inkMk id="7" creationId="{72CF5391-C087-F44E-340E-93B2A3894513}"/>
          </ac:inkMkLst>
        </pc:inkChg>
        <pc:inkChg chg="add mod">
          <ac:chgData name="Aniket Chhabra" userId="598e0514-bef3-4e71-b6aa-f2edd6441cff" providerId="ADAL" clId="{FFB5BFD2-246A-034F-B635-DE62B5FCF3A6}" dt="2023-05-27T12:29:59.629" v="1222"/>
          <ac:inkMkLst>
            <pc:docMk/>
            <pc:sldMk cId="3843549340" sldId="314"/>
            <ac:inkMk id="8" creationId="{615F1682-0E7A-98BF-D4D2-B17E0D0648F4}"/>
          </ac:inkMkLst>
        </pc:inkChg>
        <pc:inkChg chg="add mod">
          <ac:chgData name="Aniket Chhabra" userId="598e0514-bef3-4e71-b6aa-f2edd6441cff" providerId="ADAL" clId="{FFB5BFD2-246A-034F-B635-DE62B5FCF3A6}" dt="2023-05-27T12:29:59.629" v="1222"/>
          <ac:inkMkLst>
            <pc:docMk/>
            <pc:sldMk cId="3843549340" sldId="314"/>
            <ac:inkMk id="9" creationId="{D9DF3BDF-04E2-A16D-38BF-F7F80292C9C6}"/>
          </ac:inkMkLst>
        </pc:inkChg>
        <pc:inkChg chg="add mod">
          <ac:chgData name="Aniket Chhabra" userId="598e0514-bef3-4e71-b6aa-f2edd6441cff" providerId="ADAL" clId="{FFB5BFD2-246A-034F-B635-DE62B5FCF3A6}" dt="2023-05-27T12:29:59.629" v="1222"/>
          <ac:inkMkLst>
            <pc:docMk/>
            <pc:sldMk cId="3843549340" sldId="314"/>
            <ac:inkMk id="10" creationId="{4EBD8EBC-F0CE-22EB-0779-5E3A3F24075C}"/>
          </ac:inkMkLst>
        </pc:inkChg>
        <pc:inkChg chg="add mod">
          <ac:chgData name="Aniket Chhabra" userId="598e0514-bef3-4e71-b6aa-f2edd6441cff" providerId="ADAL" clId="{FFB5BFD2-246A-034F-B635-DE62B5FCF3A6}" dt="2023-05-27T12:29:59.629" v="1222"/>
          <ac:inkMkLst>
            <pc:docMk/>
            <pc:sldMk cId="3843549340" sldId="314"/>
            <ac:inkMk id="11" creationId="{69D8BF23-A61A-95D0-712C-7B3155D47A88}"/>
          </ac:inkMkLst>
        </pc:inkChg>
        <pc:inkChg chg="add mod">
          <ac:chgData name="Aniket Chhabra" userId="598e0514-bef3-4e71-b6aa-f2edd6441cff" providerId="ADAL" clId="{FFB5BFD2-246A-034F-B635-DE62B5FCF3A6}" dt="2023-05-27T12:29:59.629" v="1222"/>
          <ac:inkMkLst>
            <pc:docMk/>
            <pc:sldMk cId="3843549340" sldId="314"/>
            <ac:inkMk id="12" creationId="{F5784B3A-D1F3-283E-8A14-F7EA6CDA8302}"/>
          </ac:inkMkLst>
        </pc:inkChg>
        <pc:inkChg chg="add mod">
          <ac:chgData name="Aniket Chhabra" userId="598e0514-bef3-4e71-b6aa-f2edd6441cff" providerId="ADAL" clId="{FFB5BFD2-246A-034F-B635-DE62B5FCF3A6}" dt="2023-05-27T12:29:59.629" v="1222"/>
          <ac:inkMkLst>
            <pc:docMk/>
            <pc:sldMk cId="3843549340" sldId="314"/>
            <ac:inkMk id="13" creationId="{221FDBEE-D185-75ED-FE2E-168901859BA4}"/>
          </ac:inkMkLst>
        </pc:inkChg>
        <pc:inkChg chg="add mod">
          <ac:chgData name="Aniket Chhabra" userId="598e0514-bef3-4e71-b6aa-f2edd6441cff" providerId="ADAL" clId="{FFB5BFD2-246A-034F-B635-DE62B5FCF3A6}" dt="2023-05-27T12:29:59.629" v="1222"/>
          <ac:inkMkLst>
            <pc:docMk/>
            <pc:sldMk cId="3843549340" sldId="314"/>
            <ac:inkMk id="14" creationId="{135DA7FA-8485-BB5F-4FD4-C54ED04E8715}"/>
          </ac:inkMkLst>
        </pc:inkChg>
        <pc:inkChg chg="add mod">
          <ac:chgData name="Aniket Chhabra" userId="598e0514-bef3-4e71-b6aa-f2edd6441cff" providerId="ADAL" clId="{FFB5BFD2-246A-034F-B635-DE62B5FCF3A6}" dt="2023-05-27T12:29:59.629" v="1222"/>
          <ac:inkMkLst>
            <pc:docMk/>
            <pc:sldMk cId="3843549340" sldId="314"/>
            <ac:inkMk id="15" creationId="{0054D617-67DE-DF18-0CFE-53C99D24FDBE}"/>
          </ac:inkMkLst>
        </pc:inkChg>
        <pc:inkChg chg="add mod">
          <ac:chgData name="Aniket Chhabra" userId="598e0514-bef3-4e71-b6aa-f2edd6441cff" providerId="ADAL" clId="{FFB5BFD2-246A-034F-B635-DE62B5FCF3A6}" dt="2023-05-27T12:29:59.629" v="1222"/>
          <ac:inkMkLst>
            <pc:docMk/>
            <pc:sldMk cId="3843549340" sldId="314"/>
            <ac:inkMk id="16" creationId="{5870944F-D246-28B6-295E-40D4BD508E33}"/>
          </ac:inkMkLst>
        </pc:inkChg>
        <pc:inkChg chg="add mod">
          <ac:chgData name="Aniket Chhabra" userId="598e0514-bef3-4e71-b6aa-f2edd6441cff" providerId="ADAL" clId="{FFB5BFD2-246A-034F-B635-DE62B5FCF3A6}" dt="2023-05-27T12:29:59.629" v="1222"/>
          <ac:inkMkLst>
            <pc:docMk/>
            <pc:sldMk cId="3843549340" sldId="314"/>
            <ac:inkMk id="17" creationId="{B4DF8261-B117-5351-3E31-E19A4A02FEE2}"/>
          </ac:inkMkLst>
        </pc:inkChg>
        <pc:inkChg chg="add mod">
          <ac:chgData name="Aniket Chhabra" userId="598e0514-bef3-4e71-b6aa-f2edd6441cff" providerId="ADAL" clId="{FFB5BFD2-246A-034F-B635-DE62B5FCF3A6}" dt="2023-05-27T12:29:59.629" v="1222"/>
          <ac:inkMkLst>
            <pc:docMk/>
            <pc:sldMk cId="3843549340" sldId="314"/>
            <ac:inkMk id="18" creationId="{5C7FE6F9-C9F6-41A8-010E-79E58A191DA6}"/>
          </ac:inkMkLst>
        </pc:inkChg>
        <pc:inkChg chg="add mod">
          <ac:chgData name="Aniket Chhabra" userId="598e0514-bef3-4e71-b6aa-f2edd6441cff" providerId="ADAL" clId="{FFB5BFD2-246A-034F-B635-DE62B5FCF3A6}" dt="2023-05-27T12:29:59.629" v="1222"/>
          <ac:inkMkLst>
            <pc:docMk/>
            <pc:sldMk cId="3843549340" sldId="314"/>
            <ac:inkMk id="19" creationId="{42805A8F-AB8A-22FD-6AC8-10CA7EC42A91}"/>
          </ac:inkMkLst>
        </pc:inkChg>
        <pc:inkChg chg="add mod">
          <ac:chgData name="Aniket Chhabra" userId="598e0514-bef3-4e71-b6aa-f2edd6441cff" providerId="ADAL" clId="{FFB5BFD2-246A-034F-B635-DE62B5FCF3A6}" dt="2023-05-27T12:29:59.629" v="1222"/>
          <ac:inkMkLst>
            <pc:docMk/>
            <pc:sldMk cId="3843549340" sldId="314"/>
            <ac:inkMk id="20" creationId="{95579244-A6C1-05C6-C81B-8E35D14ACAA7}"/>
          </ac:inkMkLst>
        </pc:inkChg>
        <pc:inkChg chg="add mod">
          <ac:chgData name="Aniket Chhabra" userId="598e0514-bef3-4e71-b6aa-f2edd6441cff" providerId="ADAL" clId="{FFB5BFD2-246A-034F-B635-DE62B5FCF3A6}" dt="2023-05-27T12:29:59.629" v="1222"/>
          <ac:inkMkLst>
            <pc:docMk/>
            <pc:sldMk cId="3843549340" sldId="314"/>
            <ac:inkMk id="21" creationId="{179442BD-5AAB-6424-E460-9A87A204BC5D}"/>
          </ac:inkMkLst>
        </pc:inkChg>
        <pc:inkChg chg="add mod">
          <ac:chgData name="Aniket Chhabra" userId="598e0514-bef3-4e71-b6aa-f2edd6441cff" providerId="ADAL" clId="{FFB5BFD2-246A-034F-B635-DE62B5FCF3A6}" dt="2023-05-27T12:29:59.629" v="1222"/>
          <ac:inkMkLst>
            <pc:docMk/>
            <pc:sldMk cId="3843549340" sldId="314"/>
            <ac:inkMk id="27" creationId="{875C49F4-CF8D-D5CE-8168-FF5C0DDABDCD}"/>
          </ac:inkMkLst>
        </pc:inkChg>
        <pc:inkChg chg="add mod">
          <ac:chgData name="Aniket Chhabra" userId="598e0514-bef3-4e71-b6aa-f2edd6441cff" providerId="ADAL" clId="{FFB5BFD2-246A-034F-B635-DE62B5FCF3A6}" dt="2023-05-27T12:29:59.629" v="1222"/>
          <ac:inkMkLst>
            <pc:docMk/>
            <pc:sldMk cId="3843549340" sldId="314"/>
            <ac:inkMk id="29" creationId="{5E7B596A-F4A8-42A9-2098-3748F9C7903D}"/>
          </ac:inkMkLst>
        </pc:inkChg>
        <pc:inkChg chg="add mod">
          <ac:chgData name="Aniket Chhabra" userId="598e0514-bef3-4e71-b6aa-f2edd6441cff" providerId="ADAL" clId="{FFB5BFD2-246A-034F-B635-DE62B5FCF3A6}" dt="2023-05-27T12:29:59.629" v="1222"/>
          <ac:inkMkLst>
            <pc:docMk/>
            <pc:sldMk cId="3843549340" sldId="314"/>
            <ac:inkMk id="30" creationId="{99B84EC5-2F9A-CD87-BF41-CAE430445815}"/>
          </ac:inkMkLst>
        </pc:inkChg>
        <pc:inkChg chg="add mod">
          <ac:chgData name="Aniket Chhabra" userId="598e0514-bef3-4e71-b6aa-f2edd6441cff" providerId="ADAL" clId="{FFB5BFD2-246A-034F-B635-DE62B5FCF3A6}" dt="2023-05-27T12:29:59.629" v="1222"/>
          <ac:inkMkLst>
            <pc:docMk/>
            <pc:sldMk cId="3843549340" sldId="314"/>
            <ac:inkMk id="31" creationId="{B395C5C5-F500-573E-A92D-229E525A8AAD}"/>
          </ac:inkMkLst>
        </pc:inkChg>
        <pc:inkChg chg="add mod">
          <ac:chgData name="Aniket Chhabra" userId="598e0514-bef3-4e71-b6aa-f2edd6441cff" providerId="ADAL" clId="{FFB5BFD2-246A-034F-B635-DE62B5FCF3A6}" dt="2023-05-27T12:29:59.629" v="1222"/>
          <ac:inkMkLst>
            <pc:docMk/>
            <pc:sldMk cId="3843549340" sldId="314"/>
            <ac:inkMk id="32" creationId="{50C291E6-9CBD-2C50-8E4E-3C8DAE108B84}"/>
          </ac:inkMkLst>
        </pc:inkChg>
        <pc:inkChg chg="add mod">
          <ac:chgData name="Aniket Chhabra" userId="598e0514-bef3-4e71-b6aa-f2edd6441cff" providerId="ADAL" clId="{FFB5BFD2-246A-034F-B635-DE62B5FCF3A6}" dt="2023-05-27T12:29:59.629" v="1222"/>
          <ac:inkMkLst>
            <pc:docMk/>
            <pc:sldMk cId="3843549340" sldId="314"/>
            <ac:inkMk id="33" creationId="{8E83FF8A-37DF-4FEC-446E-0E95F57663BB}"/>
          </ac:inkMkLst>
        </pc:inkChg>
        <pc:inkChg chg="add mod">
          <ac:chgData name="Aniket Chhabra" userId="598e0514-bef3-4e71-b6aa-f2edd6441cff" providerId="ADAL" clId="{FFB5BFD2-246A-034F-B635-DE62B5FCF3A6}" dt="2023-05-27T12:29:59.629" v="1222"/>
          <ac:inkMkLst>
            <pc:docMk/>
            <pc:sldMk cId="3843549340" sldId="314"/>
            <ac:inkMk id="34" creationId="{D060DDC0-FC9C-00C9-918D-6DE50679731E}"/>
          </ac:inkMkLst>
        </pc:inkChg>
        <pc:inkChg chg="add mod">
          <ac:chgData name="Aniket Chhabra" userId="598e0514-bef3-4e71-b6aa-f2edd6441cff" providerId="ADAL" clId="{FFB5BFD2-246A-034F-B635-DE62B5FCF3A6}" dt="2023-05-27T12:29:59.629" v="1222"/>
          <ac:inkMkLst>
            <pc:docMk/>
            <pc:sldMk cId="3843549340" sldId="314"/>
            <ac:inkMk id="35" creationId="{9B000AB3-77DA-D668-82DC-A277FD96FA2A}"/>
          </ac:inkMkLst>
        </pc:inkChg>
        <pc:inkChg chg="add mod">
          <ac:chgData name="Aniket Chhabra" userId="598e0514-bef3-4e71-b6aa-f2edd6441cff" providerId="ADAL" clId="{FFB5BFD2-246A-034F-B635-DE62B5FCF3A6}" dt="2023-05-27T12:29:59.629" v="1222"/>
          <ac:inkMkLst>
            <pc:docMk/>
            <pc:sldMk cId="3843549340" sldId="314"/>
            <ac:inkMk id="36" creationId="{430C6B88-2248-4588-F505-0EECD54CC735}"/>
          </ac:inkMkLst>
        </pc:inkChg>
        <pc:inkChg chg="add mod">
          <ac:chgData name="Aniket Chhabra" userId="598e0514-bef3-4e71-b6aa-f2edd6441cff" providerId="ADAL" clId="{FFB5BFD2-246A-034F-B635-DE62B5FCF3A6}" dt="2023-05-27T12:29:59.629" v="1222"/>
          <ac:inkMkLst>
            <pc:docMk/>
            <pc:sldMk cId="3843549340" sldId="314"/>
            <ac:inkMk id="38" creationId="{04C29A07-D1CA-9291-4F89-4F32CC98D059}"/>
          </ac:inkMkLst>
        </pc:inkChg>
        <pc:inkChg chg="add mod">
          <ac:chgData name="Aniket Chhabra" userId="598e0514-bef3-4e71-b6aa-f2edd6441cff" providerId="ADAL" clId="{FFB5BFD2-246A-034F-B635-DE62B5FCF3A6}" dt="2023-05-27T12:29:59.629" v="1222"/>
          <ac:inkMkLst>
            <pc:docMk/>
            <pc:sldMk cId="3843549340" sldId="314"/>
            <ac:inkMk id="39" creationId="{FA3B78AA-8D26-C331-D728-7B8230DAA94B}"/>
          </ac:inkMkLst>
        </pc:inkChg>
        <pc:inkChg chg="add mod">
          <ac:chgData name="Aniket Chhabra" userId="598e0514-bef3-4e71-b6aa-f2edd6441cff" providerId="ADAL" clId="{FFB5BFD2-246A-034F-B635-DE62B5FCF3A6}" dt="2023-05-27T12:29:59.629" v="1222"/>
          <ac:inkMkLst>
            <pc:docMk/>
            <pc:sldMk cId="3843549340" sldId="314"/>
            <ac:inkMk id="40" creationId="{E935729F-6DC7-C5D3-CBB3-59BA1F5D3FB3}"/>
          </ac:inkMkLst>
        </pc:inkChg>
        <pc:inkChg chg="add mod">
          <ac:chgData name="Aniket Chhabra" userId="598e0514-bef3-4e71-b6aa-f2edd6441cff" providerId="ADAL" clId="{FFB5BFD2-246A-034F-B635-DE62B5FCF3A6}" dt="2023-05-27T12:29:59.629" v="1222"/>
          <ac:inkMkLst>
            <pc:docMk/>
            <pc:sldMk cId="3843549340" sldId="314"/>
            <ac:inkMk id="41" creationId="{EC3891DA-7004-273C-9C9F-5299A204083F}"/>
          </ac:inkMkLst>
        </pc:inkChg>
        <pc:inkChg chg="add mod">
          <ac:chgData name="Aniket Chhabra" userId="598e0514-bef3-4e71-b6aa-f2edd6441cff" providerId="ADAL" clId="{FFB5BFD2-246A-034F-B635-DE62B5FCF3A6}" dt="2023-05-27T12:29:59.629" v="1222"/>
          <ac:inkMkLst>
            <pc:docMk/>
            <pc:sldMk cId="3843549340" sldId="314"/>
            <ac:inkMk id="42" creationId="{E5E0F35C-7618-1CCF-FE6B-A6D3A855B767}"/>
          </ac:inkMkLst>
        </pc:inkChg>
        <pc:inkChg chg="add mod">
          <ac:chgData name="Aniket Chhabra" userId="598e0514-bef3-4e71-b6aa-f2edd6441cff" providerId="ADAL" clId="{FFB5BFD2-246A-034F-B635-DE62B5FCF3A6}" dt="2023-05-27T12:29:59.629" v="1222"/>
          <ac:inkMkLst>
            <pc:docMk/>
            <pc:sldMk cId="3843549340" sldId="314"/>
            <ac:inkMk id="43" creationId="{3780423E-8128-0925-4D65-2A80E0D5FEDF}"/>
          </ac:inkMkLst>
        </pc:inkChg>
        <pc:inkChg chg="add mod">
          <ac:chgData name="Aniket Chhabra" userId="598e0514-bef3-4e71-b6aa-f2edd6441cff" providerId="ADAL" clId="{FFB5BFD2-246A-034F-B635-DE62B5FCF3A6}" dt="2023-05-27T12:29:59.629" v="1222"/>
          <ac:inkMkLst>
            <pc:docMk/>
            <pc:sldMk cId="3843549340" sldId="314"/>
            <ac:inkMk id="44" creationId="{0EC3AC27-A2E2-A88E-FA42-886989D21C6D}"/>
          </ac:inkMkLst>
        </pc:inkChg>
        <pc:inkChg chg="add mod">
          <ac:chgData name="Aniket Chhabra" userId="598e0514-bef3-4e71-b6aa-f2edd6441cff" providerId="ADAL" clId="{FFB5BFD2-246A-034F-B635-DE62B5FCF3A6}" dt="2023-05-27T12:29:59.629" v="1222"/>
          <ac:inkMkLst>
            <pc:docMk/>
            <pc:sldMk cId="3843549340" sldId="314"/>
            <ac:inkMk id="45" creationId="{608D9F72-A32D-AA93-3D79-FED45388E522}"/>
          </ac:inkMkLst>
        </pc:inkChg>
        <pc:inkChg chg="add mod">
          <ac:chgData name="Aniket Chhabra" userId="598e0514-bef3-4e71-b6aa-f2edd6441cff" providerId="ADAL" clId="{FFB5BFD2-246A-034F-B635-DE62B5FCF3A6}" dt="2023-05-27T12:29:59.629" v="1222"/>
          <ac:inkMkLst>
            <pc:docMk/>
            <pc:sldMk cId="3843549340" sldId="314"/>
            <ac:inkMk id="48" creationId="{A98C2851-D1BE-F1C0-3916-4A46C57C05E9}"/>
          </ac:inkMkLst>
        </pc:inkChg>
        <pc:inkChg chg="add mod">
          <ac:chgData name="Aniket Chhabra" userId="598e0514-bef3-4e71-b6aa-f2edd6441cff" providerId="ADAL" clId="{FFB5BFD2-246A-034F-B635-DE62B5FCF3A6}" dt="2023-05-27T12:29:59.629" v="1222"/>
          <ac:inkMkLst>
            <pc:docMk/>
            <pc:sldMk cId="3843549340" sldId="314"/>
            <ac:inkMk id="49" creationId="{2144B366-6514-F07F-6230-B128EDB7762E}"/>
          </ac:inkMkLst>
        </pc:inkChg>
        <pc:inkChg chg="add mod">
          <ac:chgData name="Aniket Chhabra" userId="598e0514-bef3-4e71-b6aa-f2edd6441cff" providerId="ADAL" clId="{FFB5BFD2-246A-034F-B635-DE62B5FCF3A6}" dt="2023-05-27T12:29:59.629" v="1222"/>
          <ac:inkMkLst>
            <pc:docMk/>
            <pc:sldMk cId="3843549340" sldId="314"/>
            <ac:inkMk id="50" creationId="{B0174C86-3382-5FD5-F28E-FA57BEACACD2}"/>
          </ac:inkMkLst>
        </pc:inkChg>
        <pc:inkChg chg="add mod">
          <ac:chgData name="Aniket Chhabra" userId="598e0514-bef3-4e71-b6aa-f2edd6441cff" providerId="ADAL" clId="{FFB5BFD2-246A-034F-B635-DE62B5FCF3A6}" dt="2023-05-27T12:29:59.629" v="1222"/>
          <ac:inkMkLst>
            <pc:docMk/>
            <pc:sldMk cId="3843549340" sldId="314"/>
            <ac:inkMk id="51" creationId="{33208077-C630-47D7-0E63-7C2A18100418}"/>
          </ac:inkMkLst>
        </pc:inkChg>
        <pc:inkChg chg="add mod">
          <ac:chgData name="Aniket Chhabra" userId="598e0514-bef3-4e71-b6aa-f2edd6441cff" providerId="ADAL" clId="{FFB5BFD2-246A-034F-B635-DE62B5FCF3A6}" dt="2023-05-27T12:29:59.629" v="1222"/>
          <ac:inkMkLst>
            <pc:docMk/>
            <pc:sldMk cId="3843549340" sldId="314"/>
            <ac:inkMk id="52" creationId="{B344475B-9B2F-8354-58FE-14E30580349C}"/>
          </ac:inkMkLst>
        </pc:inkChg>
        <pc:inkChg chg="add mod">
          <ac:chgData name="Aniket Chhabra" userId="598e0514-bef3-4e71-b6aa-f2edd6441cff" providerId="ADAL" clId="{FFB5BFD2-246A-034F-B635-DE62B5FCF3A6}" dt="2023-05-27T12:29:59.629" v="1222"/>
          <ac:inkMkLst>
            <pc:docMk/>
            <pc:sldMk cId="3843549340" sldId="314"/>
            <ac:inkMk id="53" creationId="{4E44C7CE-E92E-BBA1-B6EF-27ACF116476E}"/>
          </ac:inkMkLst>
        </pc:inkChg>
        <pc:inkChg chg="add">
          <ac:chgData name="Aniket Chhabra" userId="598e0514-bef3-4e71-b6aa-f2edd6441cff" providerId="ADAL" clId="{FFB5BFD2-246A-034F-B635-DE62B5FCF3A6}" dt="2023-05-27T12:28:40.815" v="1100" actId="9405"/>
          <ac:inkMkLst>
            <pc:docMk/>
            <pc:sldMk cId="3843549340" sldId="314"/>
            <ac:inkMk id="55" creationId="{A575A0FE-D429-48D1-1A84-A01D275A528A}"/>
          </ac:inkMkLst>
        </pc:inkChg>
        <pc:inkChg chg="add mod">
          <ac:chgData name="Aniket Chhabra" userId="598e0514-bef3-4e71-b6aa-f2edd6441cff" providerId="ADAL" clId="{FFB5BFD2-246A-034F-B635-DE62B5FCF3A6}" dt="2023-05-27T12:28:42.819" v="1105"/>
          <ac:inkMkLst>
            <pc:docMk/>
            <pc:sldMk cId="3843549340" sldId="314"/>
            <ac:inkMk id="56" creationId="{FC272123-78AA-E02F-6FD3-DE9189349DBB}"/>
          </ac:inkMkLst>
        </pc:inkChg>
        <pc:inkChg chg="add mod">
          <ac:chgData name="Aniket Chhabra" userId="598e0514-bef3-4e71-b6aa-f2edd6441cff" providerId="ADAL" clId="{FFB5BFD2-246A-034F-B635-DE62B5FCF3A6}" dt="2023-05-27T12:28:42.819" v="1105"/>
          <ac:inkMkLst>
            <pc:docMk/>
            <pc:sldMk cId="3843549340" sldId="314"/>
            <ac:inkMk id="57" creationId="{1E92EF58-44AE-7981-BBC9-140712D74188}"/>
          </ac:inkMkLst>
        </pc:inkChg>
        <pc:inkChg chg="add mod">
          <ac:chgData name="Aniket Chhabra" userId="598e0514-bef3-4e71-b6aa-f2edd6441cff" providerId="ADAL" clId="{FFB5BFD2-246A-034F-B635-DE62B5FCF3A6}" dt="2023-05-27T12:28:42.819" v="1105"/>
          <ac:inkMkLst>
            <pc:docMk/>
            <pc:sldMk cId="3843549340" sldId="314"/>
            <ac:inkMk id="58" creationId="{5F4DB240-3403-6F4A-581A-18ED22202DC8}"/>
          </ac:inkMkLst>
        </pc:inkChg>
        <pc:inkChg chg="add mod">
          <ac:chgData name="Aniket Chhabra" userId="598e0514-bef3-4e71-b6aa-f2edd6441cff" providerId="ADAL" clId="{FFB5BFD2-246A-034F-B635-DE62B5FCF3A6}" dt="2023-05-27T12:29:46.643" v="1213"/>
          <ac:inkMkLst>
            <pc:docMk/>
            <pc:sldMk cId="3843549340" sldId="314"/>
            <ac:inkMk id="59" creationId="{8242C0CF-7E6B-6FAE-730C-72B1209EC3BA}"/>
          </ac:inkMkLst>
        </pc:inkChg>
        <pc:inkChg chg="add mod">
          <ac:chgData name="Aniket Chhabra" userId="598e0514-bef3-4e71-b6aa-f2edd6441cff" providerId="ADAL" clId="{FFB5BFD2-246A-034F-B635-DE62B5FCF3A6}" dt="2023-05-27T12:29:46.643" v="1213"/>
          <ac:inkMkLst>
            <pc:docMk/>
            <pc:sldMk cId="3843549340" sldId="314"/>
            <ac:inkMk id="61" creationId="{6B524C14-B747-5F74-1F51-A77C8D7D7852}"/>
          </ac:inkMkLst>
        </pc:inkChg>
        <pc:inkChg chg="add mod">
          <ac:chgData name="Aniket Chhabra" userId="598e0514-bef3-4e71-b6aa-f2edd6441cff" providerId="ADAL" clId="{FFB5BFD2-246A-034F-B635-DE62B5FCF3A6}" dt="2023-05-27T12:29:46.643" v="1213"/>
          <ac:inkMkLst>
            <pc:docMk/>
            <pc:sldMk cId="3843549340" sldId="314"/>
            <ac:inkMk id="62" creationId="{88F4A585-8AF4-D555-9335-1644A8D787C8}"/>
          </ac:inkMkLst>
        </pc:inkChg>
        <pc:inkChg chg="add del mod">
          <ac:chgData name="Aniket Chhabra" userId="598e0514-bef3-4e71-b6aa-f2edd6441cff" providerId="ADAL" clId="{FFB5BFD2-246A-034F-B635-DE62B5FCF3A6}" dt="2023-05-27T12:29:51.889" v="1215"/>
          <ac:inkMkLst>
            <pc:docMk/>
            <pc:sldMk cId="3843549340" sldId="314"/>
            <ac:inkMk id="64" creationId="{2A4DA9FA-B860-4794-8ED5-8407424517C4}"/>
          </ac:inkMkLst>
        </pc:inkChg>
        <pc:inkChg chg="add del mod">
          <ac:chgData name="Aniket Chhabra" userId="598e0514-bef3-4e71-b6aa-f2edd6441cff" providerId="ADAL" clId="{FFB5BFD2-246A-034F-B635-DE62B5FCF3A6}" dt="2023-05-27T12:29:51.888" v="1214"/>
          <ac:inkMkLst>
            <pc:docMk/>
            <pc:sldMk cId="3843549340" sldId="314"/>
            <ac:inkMk id="65" creationId="{EE4EAF9A-6A53-C2D3-6339-FF79743E56E2}"/>
          </ac:inkMkLst>
        </pc:inkChg>
        <pc:inkChg chg="add mod">
          <ac:chgData name="Aniket Chhabra" userId="598e0514-bef3-4e71-b6aa-f2edd6441cff" providerId="ADAL" clId="{FFB5BFD2-246A-034F-B635-DE62B5FCF3A6}" dt="2023-05-27T12:29:59.629" v="1222"/>
          <ac:inkMkLst>
            <pc:docMk/>
            <pc:sldMk cId="3843549340" sldId="314"/>
            <ac:inkMk id="67" creationId="{66437929-F566-F8CE-37D8-67279BF102BD}"/>
          </ac:inkMkLst>
        </pc:inkChg>
        <pc:inkChg chg="add mod">
          <ac:chgData name="Aniket Chhabra" userId="598e0514-bef3-4e71-b6aa-f2edd6441cff" providerId="ADAL" clId="{FFB5BFD2-246A-034F-B635-DE62B5FCF3A6}" dt="2023-05-27T12:29:59.629" v="1222"/>
          <ac:inkMkLst>
            <pc:docMk/>
            <pc:sldMk cId="3843549340" sldId="314"/>
            <ac:inkMk id="68" creationId="{4421F4B2-6BC6-4D84-214C-8700AFB5A134}"/>
          </ac:inkMkLst>
        </pc:inkChg>
        <pc:inkChg chg="add mod">
          <ac:chgData name="Aniket Chhabra" userId="598e0514-bef3-4e71-b6aa-f2edd6441cff" providerId="ADAL" clId="{FFB5BFD2-246A-034F-B635-DE62B5FCF3A6}" dt="2023-05-27T12:29:59.629" v="1222"/>
          <ac:inkMkLst>
            <pc:docMk/>
            <pc:sldMk cId="3843549340" sldId="314"/>
            <ac:inkMk id="69" creationId="{39493CAA-3D13-803F-90FB-D4DF872CE9FC}"/>
          </ac:inkMkLst>
        </pc:inkChg>
        <pc:inkChg chg="add mod">
          <ac:chgData name="Aniket Chhabra" userId="598e0514-bef3-4e71-b6aa-f2edd6441cff" providerId="ADAL" clId="{FFB5BFD2-246A-034F-B635-DE62B5FCF3A6}" dt="2023-05-27T12:29:59.629" v="1222"/>
          <ac:inkMkLst>
            <pc:docMk/>
            <pc:sldMk cId="3843549340" sldId="314"/>
            <ac:inkMk id="70" creationId="{B4415CB4-D584-1280-BC99-BB00226843B9}"/>
          </ac:inkMkLst>
        </pc:inkChg>
        <pc:inkChg chg="add mod">
          <ac:chgData name="Aniket Chhabra" userId="598e0514-bef3-4e71-b6aa-f2edd6441cff" providerId="ADAL" clId="{FFB5BFD2-246A-034F-B635-DE62B5FCF3A6}" dt="2023-05-27T12:29:59.629" v="1222"/>
          <ac:inkMkLst>
            <pc:docMk/>
            <pc:sldMk cId="3843549340" sldId="314"/>
            <ac:inkMk id="71" creationId="{1B73FEE7-BC3A-6EA6-8F0D-01868D4B574B}"/>
          </ac:inkMkLst>
        </pc:inkChg>
        <pc:inkChg chg="add mod">
          <ac:chgData name="Aniket Chhabra" userId="598e0514-bef3-4e71-b6aa-f2edd6441cff" providerId="ADAL" clId="{FFB5BFD2-246A-034F-B635-DE62B5FCF3A6}" dt="2023-05-27T12:29:59.629" v="1222"/>
          <ac:inkMkLst>
            <pc:docMk/>
            <pc:sldMk cId="3843549340" sldId="314"/>
            <ac:inkMk id="72" creationId="{162CDE3C-F79D-5DE3-8C1D-0DF3EB7FB7A9}"/>
          </ac:inkMkLst>
        </pc:inkChg>
        <pc:inkChg chg="add mod">
          <ac:chgData name="Aniket Chhabra" userId="598e0514-bef3-4e71-b6aa-f2edd6441cff" providerId="ADAL" clId="{FFB5BFD2-246A-034F-B635-DE62B5FCF3A6}" dt="2023-05-27T12:29:59.629" v="1222"/>
          <ac:inkMkLst>
            <pc:docMk/>
            <pc:sldMk cId="3843549340" sldId="314"/>
            <ac:inkMk id="73" creationId="{D5B74D4C-F242-B92F-3951-5705C6B70A35}"/>
          </ac:inkMkLst>
        </pc:inkChg>
        <pc:inkChg chg="add mod">
          <ac:chgData name="Aniket Chhabra" userId="598e0514-bef3-4e71-b6aa-f2edd6441cff" providerId="ADAL" clId="{FFB5BFD2-246A-034F-B635-DE62B5FCF3A6}" dt="2023-05-27T12:29:59.629" v="1222"/>
          <ac:inkMkLst>
            <pc:docMk/>
            <pc:sldMk cId="3843549340" sldId="314"/>
            <ac:inkMk id="74" creationId="{247791B5-4DED-363C-B000-4C49A2F647E8}"/>
          </ac:inkMkLst>
        </pc:inkChg>
        <pc:inkChg chg="add mod">
          <ac:chgData name="Aniket Chhabra" userId="598e0514-bef3-4e71-b6aa-f2edd6441cff" providerId="ADAL" clId="{FFB5BFD2-246A-034F-B635-DE62B5FCF3A6}" dt="2023-05-27T12:29:59.629" v="1222"/>
          <ac:inkMkLst>
            <pc:docMk/>
            <pc:sldMk cId="3843549340" sldId="314"/>
            <ac:inkMk id="75" creationId="{F90B6BA4-A9C3-574D-CEFC-580403EBA943}"/>
          </ac:inkMkLst>
        </pc:inkChg>
        <pc:inkChg chg="add mod">
          <ac:chgData name="Aniket Chhabra" userId="598e0514-bef3-4e71-b6aa-f2edd6441cff" providerId="ADAL" clId="{FFB5BFD2-246A-034F-B635-DE62B5FCF3A6}" dt="2023-05-27T12:29:59.629" v="1222"/>
          <ac:inkMkLst>
            <pc:docMk/>
            <pc:sldMk cId="3843549340" sldId="314"/>
            <ac:inkMk id="76" creationId="{84366ECA-4853-4F32-E231-E2CDCDAFA199}"/>
          </ac:inkMkLst>
        </pc:inkChg>
        <pc:inkChg chg="add mod">
          <ac:chgData name="Aniket Chhabra" userId="598e0514-bef3-4e71-b6aa-f2edd6441cff" providerId="ADAL" clId="{FFB5BFD2-246A-034F-B635-DE62B5FCF3A6}" dt="2023-05-27T12:29:59.629" v="1222"/>
          <ac:inkMkLst>
            <pc:docMk/>
            <pc:sldMk cId="3843549340" sldId="314"/>
            <ac:inkMk id="77" creationId="{A8532A77-B244-FB46-86BE-365036E303B6}"/>
          </ac:inkMkLst>
        </pc:inkChg>
        <pc:inkChg chg="add mod">
          <ac:chgData name="Aniket Chhabra" userId="598e0514-bef3-4e71-b6aa-f2edd6441cff" providerId="ADAL" clId="{FFB5BFD2-246A-034F-B635-DE62B5FCF3A6}" dt="2023-05-27T12:29:59.629" v="1222"/>
          <ac:inkMkLst>
            <pc:docMk/>
            <pc:sldMk cId="3843549340" sldId="314"/>
            <ac:inkMk id="78" creationId="{D58A77DC-0526-021A-A4B3-10B913352173}"/>
          </ac:inkMkLst>
        </pc:inkChg>
        <pc:inkChg chg="add mod">
          <ac:chgData name="Aniket Chhabra" userId="598e0514-bef3-4e71-b6aa-f2edd6441cff" providerId="ADAL" clId="{FFB5BFD2-246A-034F-B635-DE62B5FCF3A6}" dt="2023-05-27T12:29:59.629" v="1222"/>
          <ac:inkMkLst>
            <pc:docMk/>
            <pc:sldMk cId="3843549340" sldId="314"/>
            <ac:inkMk id="80" creationId="{68C01793-597F-740F-CF51-D9C2281CBE70}"/>
          </ac:inkMkLst>
        </pc:inkChg>
        <pc:inkChg chg="add mod">
          <ac:chgData name="Aniket Chhabra" userId="598e0514-bef3-4e71-b6aa-f2edd6441cff" providerId="ADAL" clId="{FFB5BFD2-246A-034F-B635-DE62B5FCF3A6}" dt="2023-05-27T12:29:59.629" v="1222"/>
          <ac:inkMkLst>
            <pc:docMk/>
            <pc:sldMk cId="3843549340" sldId="314"/>
            <ac:inkMk id="81" creationId="{14C50356-6515-B995-1957-9514CE7B87B7}"/>
          </ac:inkMkLst>
        </pc:inkChg>
        <pc:inkChg chg="add mod">
          <ac:chgData name="Aniket Chhabra" userId="598e0514-bef3-4e71-b6aa-f2edd6441cff" providerId="ADAL" clId="{FFB5BFD2-246A-034F-B635-DE62B5FCF3A6}" dt="2023-05-27T12:29:59.629" v="1222"/>
          <ac:inkMkLst>
            <pc:docMk/>
            <pc:sldMk cId="3843549340" sldId="314"/>
            <ac:inkMk id="82" creationId="{062FFC9E-7C0D-B8F6-CB6F-7C471780BDF2}"/>
          </ac:inkMkLst>
        </pc:inkChg>
        <pc:inkChg chg="add mod">
          <ac:chgData name="Aniket Chhabra" userId="598e0514-bef3-4e71-b6aa-f2edd6441cff" providerId="ADAL" clId="{FFB5BFD2-246A-034F-B635-DE62B5FCF3A6}" dt="2023-05-27T12:29:59.629" v="1222"/>
          <ac:inkMkLst>
            <pc:docMk/>
            <pc:sldMk cId="3843549340" sldId="314"/>
            <ac:inkMk id="83" creationId="{47722772-E4C3-B1C4-72AE-3FFAD949D50E}"/>
          </ac:inkMkLst>
        </pc:inkChg>
        <pc:inkChg chg="add mod">
          <ac:chgData name="Aniket Chhabra" userId="598e0514-bef3-4e71-b6aa-f2edd6441cff" providerId="ADAL" clId="{FFB5BFD2-246A-034F-B635-DE62B5FCF3A6}" dt="2023-05-27T12:29:59.629" v="1222"/>
          <ac:inkMkLst>
            <pc:docMk/>
            <pc:sldMk cId="3843549340" sldId="314"/>
            <ac:inkMk id="84" creationId="{648474B4-A93F-EF7E-9709-1F44378A1B06}"/>
          </ac:inkMkLst>
        </pc:inkChg>
        <pc:inkChg chg="add mod">
          <ac:chgData name="Aniket Chhabra" userId="598e0514-bef3-4e71-b6aa-f2edd6441cff" providerId="ADAL" clId="{FFB5BFD2-246A-034F-B635-DE62B5FCF3A6}" dt="2023-05-27T12:29:59.629" v="1222"/>
          <ac:inkMkLst>
            <pc:docMk/>
            <pc:sldMk cId="3843549340" sldId="314"/>
            <ac:inkMk id="85" creationId="{3949B5D3-D087-D5F4-2E5D-3DBE1390111B}"/>
          </ac:inkMkLst>
        </pc:inkChg>
        <pc:inkChg chg="add mod">
          <ac:chgData name="Aniket Chhabra" userId="598e0514-bef3-4e71-b6aa-f2edd6441cff" providerId="ADAL" clId="{FFB5BFD2-246A-034F-B635-DE62B5FCF3A6}" dt="2023-05-27T12:29:59.629" v="1222"/>
          <ac:inkMkLst>
            <pc:docMk/>
            <pc:sldMk cId="3843549340" sldId="314"/>
            <ac:inkMk id="86" creationId="{2C20B4FA-8F09-D4EF-4853-2B53B3C68B2A}"/>
          </ac:inkMkLst>
        </pc:inkChg>
        <pc:inkChg chg="add mod">
          <ac:chgData name="Aniket Chhabra" userId="598e0514-bef3-4e71-b6aa-f2edd6441cff" providerId="ADAL" clId="{FFB5BFD2-246A-034F-B635-DE62B5FCF3A6}" dt="2023-05-27T12:29:59.629" v="1222"/>
          <ac:inkMkLst>
            <pc:docMk/>
            <pc:sldMk cId="3843549340" sldId="314"/>
            <ac:inkMk id="87" creationId="{D732D929-AD90-626C-21CB-A62836CC901E}"/>
          </ac:inkMkLst>
        </pc:inkChg>
        <pc:inkChg chg="add mod">
          <ac:chgData name="Aniket Chhabra" userId="598e0514-bef3-4e71-b6aa-f2edd6441cff" providerId="ADAL" clId="{FFB5BFD2-246A-034F-B635-DE62B5FCF3A6}" dt="2023-05-27T12:29:59.629" v="1222"/>
          <ac:inkMkLst>
            <pc:docMk/>
            <pc:sldMk cId="3843549340" sldId="314"/>
            <ac:inkMk id="88" creationId="{AC5AE313-5D70-E99F-B022-C3B5FD042CFC}"/>
          </ac:inkMkLst>
        </pc:inkChg>
        <pc:inkChg chg="add mod">
          <ac:chgData name="Aniket Chhabra" userId="598e0514-bef3-4e71-b6aa-f2edd6441cff" providerId="ADAL" clId="{FFB5BFD2-246A-034F-B635-DE62B5FCF3A6}" dt="2023-05-27T12:29:59.629" v="1222"/>
          <ac:inkMkLst>
            <pc:docMk/>
            <pc:sldMk cId="3843549340" sldId="314"/>
            <ac:inkMk id="89" creationId="{AF32C074-C6FF-B398-A2C2-E05108E26BFF}"/>
          </ac:inkMkLst>
        </pc:inkChg>
        <pc:inkChg chg="add mod">
          <ac:chgData name="Aniket Chhabra" userId="598e0514-bef3-4e71-b6aa-f2edd6441cff" providerId="ADAL" clId="{FFB5BFD2-246A-034F-B635-DE62B5FCF3A6}" dt="2023-05-27T12:29:59.629" v="1222"/>
          <ac:inkMkLst>
            <pc:docMk/>
            <pc:sldMk cId="3843549340" sldId="314"/>
            <ac:inkMk id="90" creationId="{BF29997C-7D01-2EF4-426A-37B37FD7FDC2}"/>
          </ac:inkMkLst>
        </pc:inkChg>
        <pc:inkChg chg="add del mod">
          <ac:chgData name="Aniket Chhabra" userId="598e0514-bef3-4e71-b6aa-f2edd6441cff" providerId="ADAL" clId="{FFB5BFD2-246A-034F-B635-DE62B5FCF3A6}" dt="2023-05-27T12:29:23.798" v="1166"/>
          <ac:inkMkLst>
            <pc:docMk/>
            <pc:sldMk cId="3843549340" sldId="314"/>
            <ac:inkMk id="93" creationId="{12677433-A783-5A9F-A8CD-26DFD6C911A9}"/>
          </ac:inkMkLst>
        </pc:inkChg>
        <pc:inkChg chg="add del mod">
          <ac:chgData name="Aniket Chhabra" userId="598e0514-bef3-4e71-b6aa-f2edd6441cff" providerId="ADAL" clId="{FFB5BFD2-246A-034F-B635-DE62B5FCF3A6}" dt="2023-05-27T12:29:23.795" v="1161"/>
          <ac:inkMkLst>
            <pc:docMk/>
            <pc:sldMk cId="3843549340" sldId="314"/>
            <ac:inkMk id="94" creationId="{C40A4F01-DCF7-B8B1-B916-698ABDB86EAB}"/>
          </ac:inkMkLst>
        </pc:inkChg>
        <pc:inkChg chg="add del mod">
          <ac:chgData name="Aniket Chhabra" userId="598e0514-bef3-4e71-b6aa-f2edd6441cff" providerId="ADAL" clId="{FFB5BFD2-246A-034F-B635-DE62B5FCF3A6}" dt="2023-05-27T12:29:23.796" v="1162"/>
          <ac:inkMkLst>
            <pc:docMk/>
            <pc:sldMk cId="3843549340" sldId="314"/>
            <ac:inkMk id="95" creationId="{890A5D20-E385-84CB-1872-3245F6D3490A}"/>
          </ac:inkMkLst>
        </pc:inkChg>
        <pc:inkChg chg="add del mod">
          <ac:chgData name="Aniket Chhabra" userId="598e0514-bef3-4e71-b6aa-f2edd6441cff" providerId="ADAL" clId="{FFB5BFD2-246A-034F-B635-DE62B5FCF3A6}" dt="2023-05-27T12:29:23.801" v="1172"/>
          <ac:inkMkLst>
            <pc:docMk/>
            <pc:sldMk cId="3843549340" sldId="314"/>
            <ac:inkMk id="96" creationId="{0E035626-1E8C-E704-CCAD-72C23F6382C1}"/>
          </ac:inkMkLst>
        </pc:inkChg>
        <pc:inkChg chg="add del mod">
          <ac:chgData name="Aniket Chhabra" userId="598e0514-bef3-4e71-b6aa-f2edd6441cff" providerId="ADAL" clId="{FFB5BFD2-246A-034F-B635-DE62B5FCF3A6}" dt="2023-05-27T12:29:23.799" v="1168"/>
          <ac:inkMkLst>
            <pc:docMk/>
            <pc:sldMk cId="3843549340" sldId="314"/>
            <ac:inkMk id="97" creationId="{0D8AB59B-49D8-ABD1-4825-4065CB383662}"/>
          </ac:inkMkLst>
        </pc:inkChg>
        <pc:inkChg chg="add del mod">
          <ac:chgData name="Aniket Chhabra" userId="598e0514-bef3-4e71-b6aa-f2edd6441cff" providerId="ADAL" clId="{FFB5BFD2-246A-034F-B635-DE62B5FCF3A6}" dt="2023-05-27T12:29:23.794" v="1159"/>
          <ac:inkMkLst>
            <pc:docMk/>
            <pc:sldMk cId="3843549340" sldId="314"/>
            <ac:inkMk id="98" creationId="{667A2DE2-583B-EBC9-0EF5-1DF4A79B3D1B}"/>
          </ac:inkMkLst>
        </pc:inkChg>
        <pc:inkChg chg="add del mod">
          <ac:chgData name="Aniket Chhabra" userId="598e0514-bef3-4e71-b6aa-f2edd6441cff" providerId="ADAL" clId="{FFB5BFD2-246A-034F-B635-DE62B5FCF3A6}" dt="2023-05-27T12:29:23.801" v="1173"/>
          <ac:inkMkLst>
            <pc:docMk/>
            <pc:sldMk cId="3843549340" sldId="314"/>
            <ac:inkMk id="100" creationId="{E3BCA342-F80B-CC5E-B7AD-15E3F713B50E}"/>
          </ac:inkMkLst>
        </pc:inkChg>
        <pc:inkChg chg="add del mod">
          <ac:chgData name="Aniket Chhabra" userId="598e0514-bef3-4e71-b6aa-f2edd6441cff" providerId="ADAL" clId="{FFB5BFD2-246A-034F-B635-DE62B5FCF3A6}" dt="2023-05-27T12:29:23.793" v="1157"/>
          <ac:inkMkLst>
            <pc:docMk/>
            <pc:sldMk cId="3843549340" sldId="314"/>
            <ac:inkMk id="101" creationId="{5F1FFF22-2219-C2F0-B8D5-CAC64C20B7EB}"/>
          </ac:inkMkLst>
        </pc:inkChg>
        <pc:inkChg chg="add del mod">
          <ac:chgData name="Aniket Chhabra" userId="598e0514-bef3-4e71-b6aa-f2edd6441cff" providerId="ADAL" clId="{FFB5BFD2-246A-034F-B635-DE62B5FCF3A6}" dt="2023-05-27T12:29:23.801" v="1174"/>
          <ac:inkMkLst>
            <pc:docMk/>
            <pc:sldMk cId="3843549340" sldId="314"/>
            <ac:inkMk id="102" creationId="{76516F9F-C574-666C-CD5C-55178465C235}"/>
          </ac:inkMkLst>
        </pc:inkChg>
        <pc:inkChg chg="add del mod">
          <ac:chgData name="Aniket Chhabra" userId="598e0514-bef3-4e71-b6aa-f2edd6441cff" providerId="ADAL" clId="{FFB5BFD2-246A-034F-B635-DE62B5FCF3A6}" dt="2023-05-27T12:29:23.796" v="1163"/>
          <ac:inkMkLst>
            <pc:docMk/>
            <pc:sldMk cId="3843549340" sldId="314"/>
            <ac:inkMk id="103" creationId="{AD5A2A2F-A020-A934-A25D-D28D79273096}"/>
          </ac:inkMkLst>
        </pc:inkChg>
        <pc:inkChg chg="add del mod">
          <ac:chgData name="Aniket Chhabra" userId="598e0514-bef3-4e71-b6aa-f2edd6441cff" providerId="ADAL" clId="{FFB5BFD2-246A-034F-B635-DE62B5FCF3A6}" dt="2023-05-27T12:29:23.798" v="1167"/>
          <ac:inkMkLst>
            <pc:docMk/>
            <pc:sldMk cId="3843549340" sldId="314"/>
            <ac:inkMk id="104" creationId="{AF0DB5CE-F3E9-29BF-8F6A-8B05FA27EC9F}"/>
          </ac:inkMkLst>
        </pc:inkChg>
        <pc:inkChg chg="add del mod">
          <ac:chgData name="Aniket Chhabra" userId="598e0514-bef3-4e71-b6aa-f2edd6441cff" providerId="ADAL" clId="{FFB5BFD2-246A-034F-B635-DE62B5FCF3A6}" dt="2023-05-27T12:29:23.800" v="1170"/>
          <ac:inkMkLst>
            <pc:docMk/>
            <pc:sldMk cId="3843549340" sldId="314"/>
            <ac:inkMk id="105" creationId="{0DBCA116-6410-FAD7-7771-7B8A2033BABC}"/>
          </ac:inkMkLst>
        </pc:inkChg>
        <pc:inkChg chg="add del mod">
          <ac:chgData name="Aniket Chhabra" userId="598e0514-bef3-4e71-b6aa-f2edd6441cff" providerId="ADAL" clId="{FFB5BFD2-246A-034F-B635-DE62B5FCF3A6}" dt="2023-05-27T12:29:23.800" v="1171"/>
          <ac:inkMkLst>
            <pc:docMk/>
            <pc:sldMk cId="3843549340" sldId="314"/>
            <ac:inkMk id="106" creationId="{E6E19FBD-00BF-35B9-1754-DFE28C77DE02}"/>
          </ac:inkMkLst>
        </pc:inkChg>
        <pc:inkChg chg="add del mod">
          <ac:chgData name="Aniket Chhabra" userId="598e0514-bef3-4e71-b6aa-f2edd6441cff" providerId="ADAL" clId="{FFB5BFD2-246A-034F-B635-DE62B5FCF3A6}" dt="2023-05-27T12:29:23.799" v="1169"/>
          <ac:inkMkLst>
            <pc:docMk/>
            <pc:sldMk cId="3843549340" sldId="314"/>
            <ac:inkMk id="107" creationId="{FC7E2B11-D29A-9692-1E43-41E062E550F2}"/>
          </ac:inkMkLst>
        </pc:inkChg>
        <pc:inkChg chg="add del mod">
          <ac:chgData name="Aniket Chhabra" userId="598e0514-bef3-4e71-b6aa-f2edd6441cff" providerId="ADAL" clId="{FFB5BFD2-246A-034F-B635-DE62B5FCF3A6}" dt="2023-05-27T12:29:23.795" v="1160"/>
          <ac:inkMkLst>
            <pc:docMk/>
            <pc:sldMk cId="3843549340" sldId="314"/>
            <ac:inkMk id="108" creationId="{6D7FA139-426D-6A57-856E-5313A19A82A5}"/>
          </ac:inkMkLst>
        </pc:inkChg>
        <pc:inkChg chg="add del mod">
          <ac:chgData name="Aniket Chhabra" userId="598e0514-bef3-4e71-b6aa-f2edd6441cff" providerId="ADAL" clId="{FFB5BFD2-246A-034F-B635-DE62B5FCF3A6}" dt="2023-05-27T12:29:23.797" v="1165"/>
          <ac:inkMkLst>
            <pc:docMk/>
            <pc:sldMk cId="3843549340" sldId="314"/>
            <ac:inkMk id="109" creationId="{4663E475-E30D-1A09-D6BF-AB17EE0CBC30}"/>
          </ac:inkMkLst>
        </pc:inkChg>
        <pc:inkChg chg="add del mod">
          <ac:chgData name="Aniket Chhabra" userId="598e0514-bef3-4e71-b6aa-f2edd6441cff" providerId="ADAL" clId="{FFB5BFD2-246A-034F-B635-DE62B5FCF3A6}" dt="2023-05-27T12:29:23.794" v="1158"/>
          <ac:inkMkLst>
            <pc:docMk/>
            <pc:sldMk cId="3843549340" sldId="314"/>
            <ac:inkMk id="110" creationId="{9381CA63-82B5-DCCE-4E8E-CC91EFB70633}"/>
          </ac:inkMkLst>
        </pc:inkChg>
        <pc:inkChg chg="add del mod">
          <ac:chgData name="Aniket Chhabra" userId="598e0514-bef3-4e71-b6aa-f2edd6441cff" providerId="ADAL" clId="{FFB5BFD2-246A-034F-B635-DE62B5FCF3A6}" dt="2023-05-27T12:29:23.797" v="1164"/>
          <ac:inkMkLst>
            <pc:docMk/>
            <pc:sldMk cId="3843549340" sldId="314"/>
            <ac:inkMk id="111" creationId="{5187294B-C736-62BC-6C8E-FD78A798D302}"/>
          </ac:inkMkLst>
        </pc:inkChg>
        <pc:inkChg chg="add mod">
          <ac:chgData name="Aniket Chhabra" userId="598e0514-bef3-4e71-b6aa-f2edd6441cff" providerId="ADAL" clId="{FFB5BFD2-246A-034F-B635-DE62B5FCF3A6}" dt="2023-05-27T12:29:59.629" v="1222"/>
          <ac:inkMkLst>
            <pc:docMk/>
            <pc:sldMk cId="3843549340" sldId="314"/>
            <ac:inkMk id="114" creationId="{36486711-8851-1A7F-3222-33B2654FDDA6}"/>
          </ac:inkMkLst>
        </pc:inkChg>
        <pc:inkChg chg="add mod">
          <ac:chgData name="Aniket Chhabra" userId="598e0514-bef3-4e71-b6aa-f2edd6441cff" providerId="ADAL" clId="{FFB5BFD2-246A-034F-B635-DE62B5FCF3A6}" dt="2023-05-27T12:29:59.629" v="1222"/>
          <ac:inkMkLst>
            <pc:docMk/>
            <pc:sldMk cId="3843549340" sldId="314"/>
            <ac:inkMk id="115" creationId="{FB385B79-6621-77E7-50E4-C288CFA377B3}"/>
          </ac:inkMkLst>
        </pc:inkChg>
        <pc:inkChg chg="add mod">
          <ac:chgData name="Aniket Chhabra" userId="598e0514-bef3-4e71-b6aa-f2edd6441cff" providerId="ADAL" clId="{FFB5BFD2-246A-034F-B635-DE62B5FCF3A6}" dt="2023-05-27T12:29:59.629" v="1222"/>
          <ac:inkMkLst>
            <pc:docMk/>
            <pc:sldMk cId="3843549340" sldId="314"/>
            <ac:inkMk id="116" creationId="{7F503957-BA16-A8A5-79D6-8E68EE782893}"/>
          </ac:inkMkLst>
        </pc:inkChg>
        <pc:inkChg chg="add mod">
          <ac:chgData name="Aniket Chhabra" userId="598e0514-bef3-4e71-b6aa-f2edd6441cff" providerId="ADAL" clId="{FFB5BFD2-246A-034F-B635-DE62B5FCF3A6}" dt="2023-05-27T12:29:59.629" v="1222"/>
          <ac:inkMkLst>
            <pc:docMk/>
            <pc:sldMk cId="3843549340" sldId="314"/>
            <ac:inkMk id="117" creationId="{B14B4ED5-4AF3-3131-5973-54962BA9B0BC}"/>
          </ac:inkMkLst>
        </pc:inkChg>
        <pc:inkChg chg="add mod">
          <ac:chgData name="Aniket Chhabra" userId="598e0514-bef3-4e71-b6aa-f2edd6441cff" providerId="ADAL" clId="{FFB5BFD2-246A-034F-B635-DE62B5FCF3A6}" dt="2023-05-27T12:29:59.629" v="1222"/>
          <ac:inkMkLst>
            <pc:docMk/>
            <pc:sldMk cId="3843549340" sldId="314"/>
            <ac:inkMk id="118" creationId="{AF31766A-758C-9D5C-4C88-D91514752229}"/>
          </ac:inkMkLst>
        </pc:inkChg>
        <pc:inkChg chg="add mod">
          <ac:chgData name="Aniket Chhabra" userId="598e0514-bef3-4e71-b6aa-f2edd6441cff" providerId="ADAL" clId="{FFB5BFD2-246A-034F-B635-DE62B5FCF3A6}" dt="2023-05-27T12:29:59.629" v="1222"/>
          <ac:inkMkLst>
            <pc:docMk/>
            <pc:sldMk cId="3843549340" sldId="314"/>
            <ac:inkMk id="119" creationId="{49A68FDB-EA15-4A84-32E5-2960E9696FFE}"/>
          </ac:inkMkLst>
        </pc:inkChg>
        <pc:inkChg chg="add mod">
          <ac:chgData name="Aniket Chhabra" userId="598e0514-bef3-4e71-b6aa-f2edd6441cff" providerId="ADAL" clId="{FFB5BFD2-246A-034F-B635-DE62B5FCF3A6}" dt="2023-05-27T12:29:59.629" v="1222"/>
          <ac:inkMkLst>
            <pc:docMk/>
            <pc:sldMk cId="3843549340" sldId="314"/>
            <ac:inkMk id="120" creationId="{FC482E3A-35B5-E62A-CA73-42EC7C0336D6}"/>
          </ac:inkMkLst>
        </pc:inkChg>
        <pc:inkChg chg="add mod">
          <ac:chgData name="Aniket Chhabra" userId="598e0514-bef3-4e71-b6aa-f2edd6441cff" providerId="ADAL" clId="{FFB5BFD2-246A-034F-B635-DE62B5FCF3A6}" dt="2023-05-27T12:29:59.629" v="1222"/>
          <ac:inkMkLst>
            <pc:docMk/>
            <pc:sldMk cId="3843549340" sldId="314"/>
            <ac:inkMk id="121" creationId="{36EE766D-50C6-EEFC-DFF5-4C834228AF92}"/>
          </ac:inkMkLst>
        </pc:inkChg>
        <pc:inkChg chg="add mod">
          <ac:chgData name="Aniket Chhabra" userId="598e0514-bef3-4e71-b6aa-f2edd6441cff" providerId="ADAL" clId="{FFB5BFD2-246A-034F-B635-DE62B5FCF3A6}" dt="2023-05-27T12:29:59.629" v="1222"/>
          <ac:inkMkLst>
            <pc:docMk/>
            <pc:sldMk cId="3843549340" sldId="314"/>
            <ac:inkMk id="123" creationId="{5BFCD638-D9C2-40D8-C251-CB074C5DEEB8}"/>
          </ac:inkMkLst>
        </pc:inkChg>
        <pc:inkChg chg="add mod">
          <ac:chgData name="Aniket Chhabra" userId="598e0514-bef3-4e71-b6aa-f2edd6441cff" providerId="ADAL" clId="{FFB5BFD2-246A-034F-B635-DE62B5FCF3A6}" dt="2023-05-27T12:29:59.629" v="1222"/>
          <ac:inkMkLst>
            <pc:docMk/>
            <pc:sldMk cId="3843549340" sldId="314"/>
            <ac:inkMk id="124" creationId="{9B545F31-DDB8-5AD5-D8C9-9DC4456034B7}"/>
          </ac:inkMkLst>
        </pc:inkChg>
        <pc:inkChg chg="add mod">
          <ac:chgData name="Aniket Chhabra" userId="598e0514-bef3-4e71-b6aa-f2edd6441cff" providerId="ADAL" clId="{FFB5BFD2-246A-034F-B635-DE62B5FCF3A6}" dt="2023-05-27T12:29:59.629" v="1222"/>
          <ac:inkMkLst>
            <pc:docMk/>
            <pc:sldMk cId="3843549340" sldId="314"/>
            <ac:inkMk id="125" creationId="{9E0EABED-77FB-2090-E6E8-B677F4A903B6}"/>
          </ac:inkMkLst>
        </pc:inkChg>
        <pc:inkChg chg="add mod">
          <ac:chgData name="Aniket Chhabra" userId="598e0514-bef3-4e71-b6aa-f2edd6441cff" providerId="ADAL" clId="{FFB5BFD2-246A-034F-B635-DE62B5FCF3A6}" dt="2023-05-27T12:29:59.629" v="1222"/>
          <ac:inkMkLst>
            <pc:docMk/>
            <pc:sldMk cId="3843549340" sldId="314"/>
            <ac:inkMk id="126" creationId="{D70FE0CE-AE12-B908-5B78-0047924E0679}"/>
          </ac:inkMkLst>
        </pc:inkChg>
        <pc:inkChg chg="add mod">
          <ac:chgData name="Aniket Chhabra" userId="598e0514-bef3-4e71-b6aa-f2edd6441cff" providerId="ADAL" clId="{FFB5BFD2-246A-034F-B635-DE62B5FCF3A6}" dt="2023-05-27T12:29:59.629" v="1222"/>
          <ac:inkMkLst>
            <pc:docMk/>
            <pc:sldMk cId="3843549340" sldId="314"/>
            <ac:inkMk id="127" creationId="{C1290135-A6AF-8C24-D947-662766B4A813}"/>
          </ac:inkMkLst>
        </pc:inkChg>
        <pc:inkChg chg="add mod">
          <ac:chgData name="Aniket Chhabra" userId="598e0514-bef3-4e71-b6aa-f2edd6441cff" providerId="ADAL" clId="{FFB5BFD2-246A-034F-B635-DE62B5FCF3A6}" dt="2023-05-27T12:29:59.629" v="1222"/>
          <ac:inkMkLst>
            <pc:docMk/>
            <pc:sldMk cId="3843549340" sldId="314"/>
            <ac:inkMk id="128" creationId="{61EC3370-C2C3-B615-4252-9068E442B9FA}"/>
          </ac:inkMkLst>
        </pc:inkChg>
        <pc:inkChg chg="add mod">
          <ac:chgData name="Aniket Chhabra" userId="598e0514-bef3-4e71-b6aa-f2edd6441cff" providerId="ADAL" clId="{FFB5BFD2-246A-034F-B635-DE62B5FCF3A6}" dt="2023-05-27T12:29:59.629" v="1222"/>
          <ac:inkMkLst>
            <pc:docMk/>
            <pc:sldMk cId="3843549340" sldId="314"/>
            <ac:inkMk id="129" creationId="{256BA50D-625D-FD31-610F-9488D596D24D}"/>
          </ac:inkMkLst>
        </pc:inkChg>
        <pc:inkChg chg="add mod">
          <ac:chgData name="Aniket Chhabra" userId="598e0514-bef3-4e71-b6aa-f2edd6441cff" providerId="ADAL" clId="{FFB5BFD2-246A-034F-B635-DE62B5FCF3A6}" dt="2023-05-27T12:29:59.629" v="1222"/>
          <ac:inkMkLst>
            <pc:docMk/>
            <pc:sldMk cId="3843549340" sldId="314"/>
            <ac:inkMk id="130" creationId="{D3FCE54C-224A-1F76-7388-577782C11786}"/>
          </ac:inkMkLst>
        </pc:inkChg>
        <pc:inkChg chg="add mod">
          <ac:chgData name="Aniket Chhabra" userId="598e0514-bef3-4e71-b6aa-f2edd6441cff" providerId="ADAL" clId="{FFB5BFD2-246A-034F-B635-DE62B5FCF3A6}" dt="2023-05-27T12:29:59.629" v="1222"/>
          <ac:inkMkLst>
            <pc:docMk/>
            <pc:sldMk cId="3843549340" sldId="314"/>
            <ac:inkMk id="131" creationId="{D62BB66B-C15A-CFC9-4C0F-606A1FD41D5F}"/>
          </ac:inkMkLst>
        </pc:inkChg>
        <pc:inkChg chg="add mod">
          <ac:chgData name="Aniket Chhabra" userId="598e0514-bef3-4e71-b6aa-f2edd6441cff" providerId="ADAL" clId="{FFB5BFD2-246A-034F-B635-DE62B5FCF3A6}" dt="2023-05-27T12:29:46.643" v="1213"/>
          <ac:inkMkLst>
            <pc:docMk/>
            <pc:sldMk cId="3843549340" sldId="314"/>
            <ac:inkMk id="132" creationId="{BECB672F-5B6B-B222-D737-008435CCD8DC}"/>
          </ac:inkMkLst>
        </pc:inkChg>
        <pc:inkChg chg="add mod">
          <ac:chgData name="Aniket Chhabra" userId="598e0514-bef3-4e71-b6aa-f2edd6441cff" providerId="ADAL" clId="{FFB5BFD2-246A-034F-B635-DE62B5FCF3A6}" dt="2023-05-27T12:29:46.643" v="1213"/>
          <ac:inkMkLst>
            <pc:docMk/>
            <pc:sldMk cId="3843549340" sldId="314"/>
            <ac:inkMk id="133" creationId="{348CED9A-570B-F1D6-C55A-F213B7751A04}"/>
          </ac:inkMkLst>
        </pc:inkChg>
        <pc:inkChg chg="add mod">
          <ac:chgData name="Aniket Chhabra" userId="598e0514-bef3-4e71-b6aa-f2edd6441cff" providerId="ADAL" clId="{FFB5BFD2-246A-034F-B635-DE62B5FCF3A6}" dt="2023-05-27T12:29:46.643" v="1213"/>
          <ac:inkMkLst>
            <pc:docMk/>
            <pc:sldMk cId="3843549340" sldId="314"/>
            <ac:inkMk id="134" creationId="{1CD3FAE0-93A0-B246-A706-36D187787FBE}"/>
          </ac:inkMkLst>
        </pc:inkChg>
        <pc:inkChg chg="add mod">
          <ac:chgData name="Aniket Chhabra" userId="598e0514-bef3-4e71-b6aa-f2edd6441cff" providerId="ADAL" clId="{FFB5BFD2-246A-034F-B635-DE62B5FCF3A6}" dt="2023-05-27T12:29:46.643" v="1213"/>
          <ac:inkMkLst>
            <pc:docMk/>
            <pc:sldMk cId="3843549340" sldId="314"/>
            <ac:inkMk id="135" creationId="{6B7EFFB7-CE81-B8CD-5DF6-7E7A661356C5}"/>
          </ac:inkMkLst>
        </pc:inkChg>
        <pc:inkChg chg="add mod">
          <ac:chgData name="Aniket Chhabra" userId="598e0514-bef3-4e71-b6aa-f2edd6441cff" providerId="ADAL" clId="{FFB5BFD2-246A-034F-B635-DE62B5FCF3A6}" dt="2023-05-27T12:29:46.643" v="1213"/>
          <ac:inkMkLst>
            <pc:docMk/>
            <pc:sldMk cId="3843549340" sldId="314"/>
            <ac:inkMk id="136" creationId="{D037BCDA-E6D4-2D56-912F-5DA345D8DBDA}"/>
          </ac:inkMkLst>
        </pc:inkChg>
        <pc:inkChg chg="add mod">
          <ac:chgData name="Aniket Chhabra" userId="598e0514-bef3-4e71-b6aa-f2edd6441cff" providerId="ADAL" clId="{FFB5BFD2-246A-034F-B635-DE62B5FCF3A6}" dt="2023-05-27T12:29:46.643" v="1213"/>
          <ac:inkMkLst>
            <pc:docMk/>
            <pc:sldMk cId="3843549340" sldId="314"/>
            <ac:inkMk id="137" creationId="{CA47F23D-FB9C-AACB-058E-663E816FFCC5}"/>
          </ac:inkMkLst>
        </pc:inkChg>
        <pc:inkChg chg="add mod">
          <ac:chgData name="Aniket Chhabra" userId="598e0514-bef3-4e71-b6aa-f2edd6441cff" providerId="ADAL" clId="{FFB5BFD2-246A-034F-B635-DE62B5FCF3A6}" dt="2023-05-27T12:29:46.643" v="1213"/>
          <ac:inkMkLst>
            <pc:docMk/>
            <pc:sldMk cId="3843549340" sldId="314"/>
            <ac:inkMk id="138" creationId="{0AA3D0AF-3B95-6521-747E-CCD57B1B7448}"/>
          </ac:inkMkLst>
        </pc:inkChg>
        <pc:inkChg chg="add mod">
          <ac:chgData name="Aniket Chhabra" userId="598e0514-bef3-4e71-b6aa-f2edd6441cff" providerId="ADAL" clId="{FFB5BFD2-246A-034F-B635-DE62B5FCF3A6}" dt="2023-05-27T12:29:46.643" v="1213"/>
          <ac:inkMkLst>
            <pc:docMk/>
            <pc:sldMk cId="3843549340" sldId="314"/>
            <ac:inkMk id="139" creationId="{98623CAA-259A-CB85-6338-2391EE2DE327}"/>
          </ac:inkMkLst>
        </pc:inkChg>
        <pc:inkChg chg="add mod">
          <ac:chgData name="Aniket Chhabra" userId="598e0514-bef3-4e71-b6aa-f2edd6441cff" providerId="ADAL" clId="{FFB5BFD2-246A-034F-B635-DE62B5FCF3A6}" dt="2023-05-27T12:29:46.643" v="1213"/>
          <ac:inkMkLst>
            <pc:docMk/>
            <pc:sldMk cId="3843549340" sldId="314"/>
            <ac:inkMk id="140" creationId="{5419E1A7-3F3D-4449-8DA0-0257A4AFC9D3}"/>
          </ac:inkMkLst>
        </pc:inkChg>
        <pc:inkChg chg="add mod">
          <ac:chgData name="Aniket Chhabra" userId="598e0514-bef3-4e71-b6aa-f2edd6441cff" providerId="ADAL" clId="{FFB5BFD2-246A-034F-B635-DE62B5FCF3A6}" dt="2023-05-27T12:29:46.643" v="1213"/>
          <ac:inkMkLst>
            <pc:docMk/>
            <pc:sldMk cId="3843549340" sldId="314"/>
            <ac:inkMk id="141" creationId="{21B62A3D-00D8-C65E-CFB1-2138F25BA8E9}"/>
          </ac:inkMkLst>
        </pc:inkChg>
        <pc:inkChg chg="add mod">
          <ac:chgData name="Aniket Chhabra" userId="598e0514-bef3-4e71-b6aa-f2edd6441cff" providerId="ADAL" clId="{FFB5BFD2-246A-034F-B635-DE62B5FCF3A6}" dt="2023-05-27T12:29:46.643" v="1213"/>
          <ac:inkMkLst>
            <pc:docMk/>
            <pc:sldMk cId="3843549340" sldId="314"/>
            <ac:inkMk id="142" creationId="{8DF829CF-BF02-7C15-D004-7C4F190D3B30}"/>
          </ac:inkMkLst>
        </pc:inkChg>
        <pc:inkChg chg="add mod">
          <ac:chgData name="Aniket Chhabra" userId="598e0514-bef3-4e71-b6aa-f2edd6441cff" providerId="ADAL" clId="{FFB5BFD2-246A-034F-B635-DE62B5FCF3A6}" dt="2023-05-27T12:29:46.643" v="1213"/>
          <ac:inkMkLst>
            <pc:docMk/>
            <pc:sldMk cId="3843549340" sldId="314"/>
            <ac:inkMk id="143" creationId="{CB704710-061A-F46A-AACC-9BAAF8C74F4F}"/>
          </ac:inkMkLst>
        </pc:inkChg>
        <pc:inkChg chg="add mod">
          <ac:chgData name="Aniket Chhabra" userId="598e0514-bef3-4e71-b6aa-f2edd6441cff" providerId="ADAL" clId="{FFB5BFD2-246A-034F-B635-DE62B5FCF3A6}" dt="2023-05-27T12:29:46.643" v="1213"/>
          <ac:inkMkLst>
            <pc:docMk/>
            <pc:sldMk cId="3843549340" sldId="314"/>
            <ac:inkMk id="144" creationId="{F74AB4C8-5665-BFDB-C30B-F2092DBAB20A}"/>
          </ac:inkMkLst>
        </pc:inkChg>
        <pc:inkChg chg="add mod">
          <ac:chgData name="Aniket Chhabra" userId="598e0514-bef3-4e71-b6aa-f2edd6441cff" providerId="ADAL" clId="{FFB5BFD2-246A-034F-B635-DE62B5FCF3A6}" dt="2023-05-27T12:29:46.643" v="1213"/>
          <ac:inkMkLst>
            <pc:docMk/>
            <pc:sldMk cId="3843549340" sldId="314"/>
            <ac:inkMk id="145" creationId="{810D1B7B-6CB7-07C0-B146-8D806379E1FE}"/>
          </ac:inkMkLst>
        </pc:inkChg>
        <pc:inkChg chg="add mod">
          <ac:chgData name="Aniket Chhabra" userId="598e0514-bef3-4e71-b6aa-f2edd6441cff" providerId="ADAL" clId="{FFB5BFD2-246A-034F-B635-DE62B5FCF3A6}" dt="2023-05-27T12:29:46.643" v="1213"/>
          <ac:inkMkLst>
            <pc:docMk/>
            <pc:sldMk cId="3843549340" sldId="314"/>
            <ac:inkMk id="146" creationId="{C59BD319-A890-52D3-455B-2635E342C6E8}"/>
          </ac:inkMkLst>
        </pc:inkChg>
        <pc:inkChg chg="add mod">
          <ac:chgData name="Aniket Chhabra" userId="598e0514-bef3-4e71-b6aa-f2edd6441cff" providerId="ADAL" clId="{FFB5BFD2-246A-034F-B635-DE62B5FCF3A6}" dt="2023-05-27T12:29:46.643" v="1213"/>
          <ac:inkMkLst>
            <pc:docMk/>
            <pc:sldMk cId="3843549340" sldId="314"/>
            <ac:inkMk id="147" creationId="{9AD3D444-795B-F6F5-3807-0BA312A754B8}"/>
          </ac:inkMkLst>
        </pc:inkChg>
        <pc:inkChg chg="add mod">
          <ac:chgData name="Aniket Chhabra" userId="598e0514-bef3-4e71-b6aa-f2edd6441cff" providerId="ADAL" clId="{FFB5BFD2-246A-034F-B635-DE62B5FCF3A6}" dt="2023-05-27T12:29:46.643" v="1213"/>
          <ac:inkMkLst>
            <pc:docMk/>
            <pc:sldMk cId="3843549340" sldId="314"/>
            <ac:inkMk id="148" creationId="{C4E8D58E-5F81-22EB-F352-236DEB09F3D1}"/>
          </ac:inkMkLst>
        </pc:inkChg>
        <pc:inkChg chg="add mod">
          <ac:chgData name="Aniket Chhabra" userId="598e0514-bef3-4e71-b6aa-f2edd6441cff" providerId="ADAL" clId="{FFB5BFD2-246A-034F-B635-DE62B5FCF3A6}" dt="2023-05-27T12:29:46.643" v="1213"/>
          <ac:inkMkLst>
            <pc:docMk/>
            <pc:sldMk cId="3843549340" sldId="314"/>
            <ac:inkMk id="149" creationId="{B693D31F-F37C-DE89-9E31-3CEEE3624A8E}"/>
          </ac:inkMkLst>
        </pc:inkChg>
        <pc:inkChg chg="add mod">
          <ac:chgData name="Aniket Chhabra" userId="598e0514-bef3-4e71-b6aa-f2edd6441cff" providerId="ADAL" clId="{FFB5BFD2-246A-034F-B635-DE62B5FCF3A6}" dt="2023-05-27T12:29:46.643" v="1213"/>
          <ac:inkMkLst>
            <pc:docMk/>
            <pc:sldMk cId="3843549340" sldId="314"/>
            <ac:inkMk id="150" creationId="{82AB74DD-1633-BDB6-C1B0-CAC6F4B23E28}"/>
          </ac:inkMkLst>
        </pc:inkChg>
        <pc:inkChg chg="add mod">
          <ac:chgData name="Aniket Chhabra" userId="598e0514-bef3-4e71-b6aa-f2edd6441cff" providerId="ADAL" clId="{FFB5BFD2-246A-034F-B635-DE62B5FCF3A6}" dt="2023-05-27T12:29:46.643" v="1213"/>
          <ac:inkMkLst>
            <pc:docMk/>
            <pc:sldMk cId="3843549340" sldId="314"/>
            <ac:inkMk id="151" creationId="{E519E57A-D7C4-E812-52F0-F22B1503496B}"/>
          </ac:inkMkLst>
        </pc:inkChg>
        <pc:inkChg chg="add mod">
          <ac:chgData name="Aniket Chhabra" userId="598e0514-bef3-4e71-b6aa-f2edd6441cff" providerId="ADAL" clId="{FFB5BFD2-246A-034F-B635-DE62B5FCF3A6}" dt="2023-05-27T12:29:59.629" v="1222"/>
          <ac:inkMkLst>
            <pc:docMk/>
            <pc:sldMk cId="3843549340" sldId="314"/>
            <ac:inkMk id="160" creationId="{6EB9099D-23DB-5BC7-BBAA-AA191119FC2E}"/>
          </ac:inkMkLst>
        </pc:inkChg>
        <pc:inkChg chg="add mod">
          <ac:chgData name="Aniket Chhabra" userId="598e0514-bef3-4e71-b6aa-f2edd6441cff" providerId="ADAL" clId="{FFB5BFD2-246A-034F-B635-DE62B5FCF3A6}" dt="2023-05-27T12:29:59.629" v="1222"/>
          <ac:inkMkLst>
            <pc:docMk/>
            <pc:sldMk cId="3843549340" sldId="314"/>
            <ac:inkMk id="161" creationId="{0252CFF3-D9C7-7106-F457-1F3BA4C1F154}"/>
          </ac:inkMkLst>
        </pc:inkChg>
        <pc:inkChg chg="add mod">
          <ac:chgData name="Aniket Chhabra" userId="598e0514-bef3-4e71-b6aa-f2edd6441cff" providerId="ADAL" clId="{FFB5BFD2-246A-034F-B635-DE62B5FCF3A6}" dt="2023-05-27T12:29:59.629" v="1222"/>
          <ac:inkMkLst>
            <pc:docMk/>
            <pc:sldMk cId="3843549340" sldId="314"/>
            <ac:inkMk id="162" creationId="{3C79B382-ECFB-9AE9-588B-23C9EE5ACBB4}"/>
          </ac:inkMkLst>
        </pc:inkChg>
        <pc:inkChg chg="add mod">
          <ac:chgData name="Aniket Chhabra" userId="598e0514-bef3-4e71-b6aa-f2edd6441cff" providerId="ADAL" clId="{FFB5BFD2-246A-034F-B635-DE62B5FCF3A6}" dt="2023-05-27T12:29:59.629" v="1222"/>
          <ac:inkMkLst>
            <pc:docMk/>
            <pc:sldMk cId="3843549340" sldId="314"/>
            <ac:inkMk id="163" creationId="{D934EC9E-4315-FE47-8647-7577A89162E4}"/>
          </ac:inkMkLst>
        </pc:inkChg>
        <pc:inkChg chg="add mod">
          <ac:chgData name="Aniket Chhabra" userId="598e0514-bef3-4e71-b6aa-f2edd6441cff" providerId="ADAL" clId="{FFB5BFD2-246A-034F-B635-DE62B5FCF3A6}" dt="2023-05-27T12:29:59.629" v="1222"/>
          <ac:inkMkLst>
            <pc:docMk/>
            <pc:sldMk cId="3843549340" sldId="314"/>
            <ac:inkMk id="164" creationId="{4444A9DA-EBC7-FD4C-0B2D-2685743B976A}"/>
          </ac:inkMkLst>
        </pc:inkChg>
        <pc:inkChg chg="add mod">
          <ac:chgData name="Aniket Chhabra" userId="598e0514-bef3-4e71-b6aa-f2edd6441cff" providerId="ADAL" clId="{FFB5BFD2-246A-034F-B635-DE62B5FCF3A6}" dt="2023-05-27T12:29:59.629" v="1222"/>
          <ac:inkMkLst>
            <pc:docMk/>
            <pc:sldMk cId="3843549340" sldId="314"/>
            <ac:inkMk id="165" creationId="{060228B6-EA1D-656D-F3CE-6D3B118F939E}"/>
          </ac:inkMkLst>
        </pc:inkChg>
      </pc:sldChg>
      <pc:sldChg chg="addSp delSp modSp new del mod">
        <pc:chgData name="Aniket Chhabra" userId="598e0514-bef3-4e71-b6aa-f2edd6441cff" providerId="ADAL" clId="{FFB5BFD2-246A-034F-B635-DE62B5FCF3A6}" dt="2023-06-17T12:41:51.151" v="1597" actId="2696"/>
        <pc:sldMkLst>
          <pc:docMk/>
          <pc:sldMk cId="490526934" sldId="315"/>
        </pc:sldMkLst>
        <pc:grpChg chg="mod">
          <ac:chgData name="Aniket Chhabra" userId="598e0514-bef3-4e71-b6aa-f2edd6441cff" providerId="ADAL" clId="{FFB5BFD2-246A-034F-B635-DE62B5FCF3A6}" dt="2023-06-03T15:43:23.632" v="1388"/>
          <ac:grpSpMkLst>
            <pc:docMk/>
            <pc:sldMk cId="490526934" sldId="315"/>
            <ac:grpSpMk id="24" creationId="{97F8C9F8-63EC-942F-57F3-A43A567F6F1C}"/>
          </ac:grpSpMkLst>
        </pc:grpChg>
        <pc:grpChg chg="mod">
          <ac:chgData name="Aniket Chhabra" userId="598e0514-bef3-4e71-b6aa-f2edd6441cff" providerId="ADAL" clId="{FFB5BFD2-246A-034F-B635-DE62B5FCF3A6}" dt="2023-06-03T15:43:23.632" v="1388"/>
          <ac:grpSpMkLst>
            <pc:docMk/>
            <pc:sldMk cId="490526934" sldId="315"/>
            <ac:grpSpMk id="25" creationId="{47CF50CC-AD52-8E96-A3C9-F98EC2CAE67E}"/>
          </ac:grpSpMkLst>
        </pc:grpChg>
        <pc:grpChg chg="del mod">
          <ac:chgData name="Aniket Chhabra" userId="598e0514-bef3-4e71-b6aa-f2edd6441cff" providerId="ADAL" clId="{FFB5BFD2-246A-034F-B635-DE62B5FCF3A6}" dt="2023-06-03T15:43:32.766" v="1396"/>
          <ac:grpSpMkLst>
            <pc:docMk/>
            <pc:sldMk cId="490526934" sldId="315"/>
            <ac:grpSpMk id="30" creationId="{F8CAD122-7A51-1530-7B75-C4F444A80D48}"/>
          </ac:grpSpMkLst>
        </pc:grpChg>
        <pc:grpChg chg="del mod">
          <ac:chgData name="Aniket Chhabra" userId="598e0514-bef3-4e71-b6aa-f2edd6441cff" providerId="ADAL" clId="{FFB5BFD2-246A-034F-B635-DE62B5FCF3A6}" dt="2023-06-03T15:43:33.518" v="1398"/>
          <ac:grpSpMkLst>
            <pc:docMk/>
            <pc:sldMk cId="490526934" sldId="315"/>
            <ac:grpSpMk id="33" creationId="{6C7934B7-C66C-EF20-EFC2-72BD12F76CB4}"/>
          </ac:grpSpMkLst>
        </pc:grpChg>
        <pc:grpChg chg="del mod">
          <ac:chgData name="Aniket Chhabra" userId="598e0514-bef3-4e71-b6aa-f2edd6441cff" providerId="ADAL" clId="{FFB5BFD2-246A-034F-B635-DE62B5FCF3A6}" dt="2023-06-03T15:43:35.498" v="1401"/>
          <ac:grpSpMkLst>
            <pc:docMk/>
            <pc:sldMk cId="490526934" sldId="315"/>
            <ac:grpSpMk id="35" creationId="{0AB80C5A-2156-E87D-24D7-C2A94A31422D}"/>
          </ac:grpSpMkLst>
        </pc:grpChg>
        <pc:grpChg chg="del mod">
          <ac:chgData name="Aniket Chhabra" userId="598e0514-bef3-4e71-b6aa-f2edd6441cff" providerId="ADAL" clId="{FFB5BFD2-246A-034F-B635-DE62B5FCF3A6}" dt="2023-06-03T15:43:52.297" v="1403"/>
          <ac:grpSpMkLst>
            <pc:docMk/>
            <pc:sldMk cId="490526934" sldId="315"/>
            <ac:grpSpMk id="38" creationId="{1C3E8EC5-7D1E-3647-1209-4515A9D685D0}"/>
          </ac:grpSpMkLst>
        </pc:grpChg>
        <pc:grpChg chg="del mod">
          <ac:chgData name="Aniket Chhabra" userId="598e0514-bef3-4e71-b6aa-f2edd6441cff" providerId="ADAL" clId="{FFB5BFD2-246A-034F-B635-DE62B5FCF3A6}" dt="2023-06-03T15:43:53.134" v="1405"/>
          <ac:grpSpMkLst>
            <pc:docMk/>
            <pc:sldMk cId="490526934" sldId="315"/>
            <ac:grpSpMk id="40" creationId="{4E5ACEA7-BB3F-535D-2A6B-A331203F161A}"/>
          </ac:grpSpMkLst>
        </pc:grpChg>
        <pc:grpChg chg="del mod">
          <ac:chgData name="Aniket Chhabra" userId="598e0514-bef3-4e71-b6aa-f2edd6441cff" providerId="ADAL" clId="{FFB5BFD2-246A-034F-B635-DE62B5FCF3A6}" dt="2023-06-03T15:43:54.129" v="1407"/>
          <ac:grpSpMkLst>
            <pc:docMk/>
            <pc:sldMk cId="490526934" sldId="315"/>
            <ac:grpSpMk id="42" creationId="{35CAE6D3-22DB-EE3F-4EC5-251B47A53696}"/>
          </ac:grpSpMkLst>
        </pc:grpChg>
        <pc:grpChg chg="del mod">
          <ac:chgData name="Aniket Chhabra" userId="598e0514-bef3-4e71-b6aa-f2edd6441cff" providerId="ADAL" clId="{FFB5BFD2-246A-034F-B635-DE62B5FCF3A6}" dt="2023-06-03T15:43:54.892" v="1409"/>
          <ac:grpSpMkLst>
            <pc:docMk/>
            <pc:sldMk cId="490526934" sldId="315"/>
            <ac:grpSpMk id="44" creationId="{ECA38B9E-6251-71CC-3304-27D8447375CB}"/>
          </ac:grpSpMkLst>
        </pc:grpChg>
        <pc:grpChg chg="del mod">
          <ac:chgData name="Aniket Chhabra" userId="598e0514-bef3-4e71-b6aa-f2edd6441cff" providerId="ADAL" clId="{FFB5BFD2-246A-034F-B635-DE62B5FCF3A6}" dt="2023-06-03T15:45:50.391" v="1462"/>
          <ac:grpSpMkLst>
            <pc:docMk/>
            <pc:sldMk cId="490526934" sldId="315"/>
            <ac:grpSpMk id="46" creationId="{02CD4E73-9072-BF8D-0CF9-1DE9E2EE33BA}"/>
          </ac:grpSpMkLst>
        </pc:grpChg>
        <pc:grpChg chg="mod">
          <ac:chgData name="Aniket Chhabra" userId="598e0514-bef3-4e71-b6aa-f2edd6441cff" providerId="ADAL" clId="{FFB5BFD2-246A-034F-B635-DE62B5FCF3A6}" dt="2023-06-03T15:43:58.771" v="1414"/>
          <ac:grpSpMkLst>
            <pc:docMk/>
            <pc:sldMk cId="490526934" sldId="315"/>
            <ac:grpSpMk id="51" creationId="{6FB7FB34-5A99-5B4C-6D70-C4527FA992C1}"/>
          </ac:grpSpMkLst>
        </pc:grpChg>
        <pc:grpChg chg="mod">
          <ac:chgData name="Aniket Chhabra" userId="598e0514-bef3-4e71-b6aa-f2edd6441cff" providerId="ADAL" clId="{FFB5BFD2-246A-034F-B635-DE62B5FCF3A6}" dt="2023-06-03T15:44:05.449" v="1429"/>
          <ac:grpSpMkLst>
            <pc:docMk/>
            <pc:sldMk cId="490526934" sldId="315"/>
            <ac:grpSpMk id="66" creationId="{D5B240EE-1821-BCAD-A777-4E98350940C8}"/>
          </ac:grpSpMkLst>
        </pc:grpChg>
        <pc:grpChg chg="mod">
          <ac:chgData name="Aniket Chhabra" userId="598e0514-bef3-4e71-b6aa-f2edd6441cff" providerId="ADAL" clId="{FFB5BFD2-246A-034F-B635-DE62B5FCF3A6}" dt="2023-06-03T15:44:05.449" v="1429"/>
          <ac:grpSpMkLst>
            <pc:docMk/>
            <pc:sldMk cId="490526934" sldId="315"/>
            <ac:grpSpMk id="67" creationId="{AEB6FD56-69CD-90B6-A057-FE1ECE80B106}"/>
          </ac:grpSpMkLst>
        </pc:grpChg>
        <pc:grpChg chg="mod">
          <ac:chgData name="Aniket Chhabra" userId="598e0514-bef3-4e71-b6aa-f2edd6441cff" providerId="ADAL" clId="{FFB5BFD2-246A-034F-B635-DE62B5FCF3A6}" dt="2023-06-03T15:44:21.736" v="1440"/>
          <ac:grpSpMkLst>
            <pc:docMk/>
            <pc:sldMk cId="490526934" sldId="315"/>
            <ac:grpSpMk id="78" creationId="{F993C5C7-4FA9-5C98-003E-C2C90BC2D423}"/>
          </ac:grpSpMkLst>
        </pc:grpChg>
        <pc:grpChg chg="mod">
          <ac:chgData name="Aniket Chhabra" userId="598e0514-bef3-4e71-b6aa-f2edd6441cff" providerId="ADAL" clId="{FFB5BFD2-246A-034F-B635-DE62B5FCF3A6}" dt="2023-06-03T15:44:45.174" v="1453"/>
          <ac:grpSpMkLst>
            <pc:docMk/>
            <pc:sldMk cId="490526934" sldId="315"/>
            <ac:grpSpMk id="91" creationId="{A0D3CB20-A7EF-9598-0FB8-1D841E3FE249}"/>
          </ac:grpSpMkLst>
        </pc:grpChg>
        <pc:grpChg chg="del mod">
          <ac:chgData name="Aniket Chhabra" userId="598e0514-bef3-4e71-b6aa-f2edd6441cff" providerId="ADAL" clId="{FFB5BFD2-246A-034F-B635-DE62B5FCF3A6}" dt="2023-06-03T15:45:52.480" v="1464"/>
          <ac:grpSpMkLst>
            <pc:docMk/>
            <pc:sldMk cId="490526934" sldId="315"/>
            <ac:grpSpMk id="93" creationId="{32D9E914-D8B4-CF0E-8778-A9638E52463D}"/>
          </ac:grpSpMkLst>
        </pc:grpChg>
        <pc:grpChg chg="del mod">
          <ac:chgData name="Aniket Chhabra" userId="598e0514-bef3-4e71-b6aa-f2edd6441cff" providerId="ADAL" clId="{FFB5BFD2-246A-034F-B635-DE62B5FCF3A6}" dt="2023-06-03T15:45:54.322" v="1466"/>
          <ac:grpSpMkLst>
            <pc:docMk/>
            <pc:sldMk cId="490526934" sldId="315"/>
            <ac:grpSpMk id="95" creationId="{A94DA09F-7230-21F1-34BF-EB91C9B4D168}"/>
          </ac:grpSpMkLst>
        </pc:grpChg>
        <pc:grpChg chg="mod">
          <ac:chgData name="Aniket Chhabra" userId="598e0514-bef3-4e71-b6aa-f2edd6441cff" providerId="ADAL" clId="{FFB5BFD2-246A-034F-B635-DE62B5FCF3A6}" dt="2023-06-03T15:45:54.322" v="1466"/>
          <ac:grpSpMkLst>
            <pc:docMk/>
            <pc:sldMk cId="490526934" sldId="315"/>
            <ac:grpSpMk id="97" creationId="{09FEB55B-AFC2-4CAC-60BD-FE0E2FC9BD6B}"/>
          </ac:grpSpMkLst>
        </pc:grpChg>
        <pc:inkChg chg="add">
          <ac:chgData name="Aniket Chhabra" userId="598e0514-bef3-4e71-b6aa-f2edd6441cff" providerId="ADAL" clId="{FFB5BFD2-246A-034F-B635-DE62B5FCF3A6}" dt="2023-06-03T15:43:08.299" v="1367" actId="9405"/>
          <ac:inkMkLst>
            <pc:docMk/>
            <pc:sldMk cId="490526934" sldId="315"/>
            <ac:inkMk id="3" creationId="{CB776092-1159-2242-0D6D-F5532A7EBFD3}"/>
          </ac:inkMkLst>
        </pc:inkChg>
        <pc:inkChg chg="add">
          <ac:chgData name="Aniket Chhabra" userId="598e0514-bef3-4e71-b6aa-f2edd6441cff" providerId="ADAL" clId="{FFB5BFD2-246A-034F-B635-DE62B5FCF3A6}" dt="2023-06-03T15:43:09.328" v="1368" actId="9405"/>
          <ac:inkMkLst>
            <pc:docMk/>
            <pc:sldMk cId="490526934" sldId="315"/>
            <ac:inkMk id="4" creationId="{BA6A9DEB-54B7-A9F1-6B11-5E041D8F7972}"/>
          </ac:inkMkLst>
        </pc:inkChg>
        <pc:inkChg chg="add mod">
          <ac:chgData name="Aniket Chhabra" userId="598e0514-bef3-4e71-b6aa-f2edd6441cff" providerId="ADAL" clId="{FFB5BFD2-246A-034F-B635-DE62B5FCF3A6}" dt="2023-06-03T15:43:23.632" v="1388"/>
          <ac:inkMkLst>
            <pc:docMk/>
            <pc:sldMk cId="490526934" sldId="315"/>
            <ac:inkMk id="5" creationId="{A84C8C77-5F29-B6E7-4B2C-F42F1081B2DE}"/>
          </ac:inkMkLst>
        </pc:inkChg>
        <pc:inkChg chg="add mod">
          <ac:chgData name="Aniket Chhabra" userId="598e0514-bef3-4e71-b6aa-f2edd6441cff" providerId="ADAL" clId="{FFB5BFD2-246A-034F-B635-DE62B5FCF3A6}" dt="2023-06-03T15:43:23.632" v="1388"/>
          <ac:inkMkLst>
            <pc:docMk/>
            <pc:sldMk cId="490526934" sldId="315"/>
            <ac:inkMk id="6" creationId="{268B27DA-57A4-26C9-D4B0-D8E4F8DCDCDC}"/>
          </ac:inkMkLst>
        </pc:inkChg>
        <pc:inkChg chg="add mod">
          <ac:chgData name="Aniket Chhabra" userId="598e0514-bef3-4e71-b6aa-f2edd6441cff" providerId="ADAL" clId="{FFB5BFD2-246A-034F-B635-DE62B5FCF3A6}" dt="2023-06-03T15:43:23.632" v="1388"/>
          <ac:inkMkLst>
            <pc:docMk/>
            <pc:sldMk cId="490526934" sldId="315"/>
            <ac:inkMk id="7" creationId="{D6F49FA0-462B-A0D7-454D-93953E74434E}"/>
          </ac:inkMkLst>
        </pc:inkChg>
        <pc:inkChg chg="add mod">
          <ac:chgData name="Aniket Chhabra" userId="598e0514-bef3-4e71-b6aa-f2edd6441cff" providerId="ADAL" clId="{FFB5BFD2-246A-034F-B635-DE62B5FCF3A6}" dt="2023-06-03T15:43:23.632" v="1388"/>
          <ac:inkMkLst>
            <pc:docMk/>
            <pc:sldMk cId="490526934" sldId="315"/>
            <ac:inkMk id="8" creationId="{F1EB469D-B667-3A0F-10B7-6953FFDB509E}"/>
          </ac:inkMkLst>
        </pc:inkChg>
        <pc:inkChg chg="add mod">
          <ac:chgData name="Aniket Chhabra" userId="598e0514-bef3-4e71-b6aa-f2edd6441cff" providerId="ADAL" clId="{FFB5BFD2-246A-034F-B635-DE62B5FCF3A6}" dt="2023-06-03T15:43:23.632" v="1388"/>
          <ac:inkMkLst>
            <pc:docMk/>
            <pc:sldMk cId="490526934" sldId="315"/>
            <ac:inkMk id="9" creationId="{D923C7C7-D392-37B0-2E92-8B3557D2338D}"/>
          </ac:inkMkLst>
        </pc:inkChg>
        <pc:inkChg chg="add mod">
          <ac:chgData name="Aniket Chhabra" userId="598e0514-bef3-4e71-b6aa-f2edd6441cff" providerId="ADAL" clId="{FFB5BFD2-246A-034F-B635-DE62B5FCF3A6}" dt="2023-06-03T15:43:23.632" v="1388"/>
          <ac:inkMkLst>
            <pc:docMk/>
            <pc:sldMk cId="490526934" sldId="315"/>
            <ac:inkMk id="10" creationId="{0D021434-293E-4780-3082-698D25E2E519}"/>
          </ac:inkMkLst>
        </pc:inkChg>
        <pc:inkChg chg="add mod">
          <ac:chgData name="Aniket Chhabra" userId="598e0514-bef3-4e71-b6aa-f2edd6441cff" providerId="ADAL" clId="{FFB5BFD2-246A-034F-B635-DE62B5FCF3A6}" dt="2023-06-03T15:43:23.632" v="1388"/>
          <ac:inkMkLst>
            <pc:docMk/>
            <pc:sldMk cId="490526934" sldId="315"/>
            <ac:inkMk id="11" creationId="{C923C44A-67E6-0FFD-A049-0E6BA7E8FD55}"/>
          </ac:inkMkLst>
        </pc:inkChg>
        <pc:inkChg chg="add">
          <ac:chgData name="Aniket Chhabra" userId="598e0514-bef3-4e71-b6aa-f2edd6441cff" providerId="ADAL" clId="{FFB5BFD2-246A-034F-B635-DE62B5FCF3A6}" dt="2023-06-03T15:43:17.490" v="1376" actId="9405"/>
          <ac:inkMkLst>
            <pc:docMk/>
            <pc:sldMk cId="490526934" sldId="315"/>
            <ac:inkMk id="12" creationId="{1744ED75-973F-852F-3D95-F30CB2C80E0F}"/>
          </ac:inkMkLst>
        </pc:inkChg>
        <pc:inkChg chg="add">
          <ac:chgData name="Aniket Chhabra" userId="598e0514-bef3-4e71-b6aa-f2edd6441cff" providerId="ADAL" clId="{FFB5BFD2-246A-034F-B635-DE62B5FCF3A6}" dt="2023-06-03T15:43:18.664" v="1377" actId="9405"/>
          <ac:inkMkLst>
            <pc:docMk/>
            <pc:sldMk cId="490526934" sldId="315"/>
            <ac:inkMk id="13" creationId="{9D472100-669A-9C38-F2D7-866A30CE0A03}"/>
          </ac:inkMkLst>
        </pc:inkChg>
        <pc:inkChg chg="add mod">
          <ac:chgData name="Aniket Chhabra" userId="598e0514-bef3-4e71-b6aa-f2edd6441cff" providerId="ADAL" clId="{FFB5BFD2-246A-034F-B635-DE62B5FCF3A6}" dt="2023-06-03T15:43:23.632" v="1388"/>
          <ac:inkMkLst>
            <pc:docMk/>
            <pc:sldMk cId="490526934" sldId="315"/>
            <ac:inkMk id="14" creationId="{53AD1518-4ACA-593F-523F-592EE4931CE0}"/>
          </ac:inkMkLst>
        </pc:inkChg>
        <pc:inkChg chg="add mod">
          <ac:chgData name="Aniket Chhabra" userId="598e0514-bef3-4e71-b6aa-f2edd6441cff" providerId="ADAL" clId="{FFB5BFD2-246A-034F-B635-DE62B5FCF3A6}" dt="2023-06-03T15:43:23.632" v="1388"/>
          <ac:inkMkLst>
            <pc:docMk/>
            <pc:sldMk cId="490526934" sldId="315"/>
            <ac:inkMk id="15" creationId="{9CFB208F-FF56-36F6-CAA9-83E996E04B06}"/>
          </ac:inkMkLst>
        </pc:inkChg>
        <pc:inkChg chg="add mod">
          <ac:chgData name="Aniket Chhabra" userId="598e0514-bef3-4e71-b6aa-f2edd6441cff" providerId="ADAL" clId="{FFB5BFD2-246A-034F-B635-DE62B5FCF3A6}" dt="2023-06-03T15:43:23.632" v="1388"/>
          <ac:inkMkLst>
            <pc:docMk/>
            <pc:sldMk cId="490526934" sldId="315"/>
            <ac:inkMk id="16" creationId="{8258138B-C100-5DCE-F91B-AA66805F7DEA}"/>
          </ac:inkMkLst>
        </pc:inkChg>
        <pc:inkChg chg="add mod">
          <ac:chgData name="Aniket Chhabra" userId="598e0514-bef3-4e71-b6aa-f2edd6441cff" providerId="ADAL" clId="{FFB5BFD2-246A-034F-B635-DE62B5FCF3A6}" dt="2023-06-03T15:43:23.632" v="1388"/>
          <ac:inkMkLst>
            <pc:docMk/>
            <pc:sldMk cId="490526934" sldId="315"/>
            <ac:inkMk id="17" creationId="{91A59606-0EDD-C9F5-7BBA-347CFC212E73}"/>
          </ac:inkMkLst>
        </pc:inkChg>
        <pc:inkChg chg="add mod">
          <ac:chgData name="Aniket Chhabra" userId="598e0514-bef3-4e71-b6aa-f2edd6441cff" providerId="ADAL" clId="{FFB5BFD2-246A-034F-B635-DE62B5FCF3A6}" dt="2023-06-03T15:43:23.632" v="1388"/>
          <ac:inkMkLst>
            <pc:docMk/>
            <pc:sldMk cId="490526934" sldId="315"/>
            <ac:inkMk id="18" creationId="{BDD1C1C9-5093-4B77-CA38-C3AEC9C0D2D7}"/>
          </ac:inkMkLst>
        </pc:inkChg>
        <pc:inkChg chg="add mod">
          <ac:chgData name="Aniket Chhabra" userId="598e0514-bef3-4e71-b6aa-f2edd6441cff" providerId="ADAL" clId="{FFB5BFD2-246A-034F-B635-DE62B5FCF3A6}" dt="2023-06-03T15:43:23.632" v="1388"/>
          <ac:inkMkLst>
            <pc:docMk/>
            <pc:sldMk cId="490526934" sldId="315"/>
            <ac:inkMk id="19" creationId="{854CB7A4-1896-9ABF-9AE1-CCBE591BEE3F}"/>
          </ac:inkMkLst>
        </pc:inkChg>
        <pc:inkChg chg="add mod">
          <ac:chgData name="Aniket Chhabra" userId="598e0514-bef3-4e71-b6aa-f2edd6441cff" providerId="ADAL" clId="{FFB5BFD2-246A-034F-B635-DE62B5FCF3A6}" dt="2023-06-03T15:43:23.632" v="1388"/>
          <ac:inkMkLst>
            <pc:docMk/>
            <pc:sldMk cId="490526934" sldId="315"/>
            <ac:inkMk id="20" creationId="{B8BBFBC2-A968-3CC5-CFAA-E55F9F3BAAC5}"/>
          </ac:inkMkLst>
        </pc:inkChg>
        <pc:inkChg chg="add mod">
          <ac:chgData name="Aniket Chhabra" userId="598e0514-bef3-4e71-b6aa-f2edd6441cff" providerId="ADAL" clId="{FFB5BFD2-246A-034F-B635-DE62B5FCF3A6}" dt="2023-06-03T15:43:23.632" v="1388"/>
          <ac:inkMkLst>
            <pc:docMk/>
            <pc:sldMk cId="490526934" sldId="315"/>
            <ac:inkMk id="21" creationId="{861500A3-256E-F896-AC2A-3418B2BBA547}"/>
          </ac:inkMkLst>
        </pc:inkChg>
        <pc:inkChg chg="add mod">
          <ac:chgData name="Aniket Chhabra" userId="598e0514-bef3-4e71-b6aa-f2edd6441cff" providerId="ADAL" clId="{FFB5BFD2-246A-034F-B635-DE62B5FCF3A6}" dt="2023-06-03T15:43:23.632" v="1388"/>
          <ac:inkMkLst>
            <pc:docMk/>
            <pc:sldMk cId="490526934" sldId="315"/>
            <ac:inkMk id="22" creationId="{F1FF7C6F-A34E-16B7-3B60-E1AA17743901}"/>
          </ac:inkMkLst>
        </pc:inkChg>
        <pc:inkChg chg="add">
          <ac:chgData name="Aniket Chhabra" userId="598e0514-bef3-4e71-b6aa-f2edd6441cff" providerId="ADAL" clId="{FFB5BFD2-246A-034F-B635-DE62B5FCF3A6}" dt="2023-06-03T15:43:23.017" v="1387" actId="9405"/>
          <ac:inkMkLst>
            <pc:docMk/>
            <pc:sldMk cId="490526934" sldId="315"/>
            <ac:inkMk id="23" creationId="{544BF7B3-3BFC-6E32-7576-CDF7862F346B}"/>
          </ac:inkMkLst>
        </pc:inkChg>
        <pc:inkChg chg="add">
          <ac:chgData name="Aniket Chhabra" userId="598e0514-bef3-4e71-b6aa-f2edd6441cff" providerId="ADAL" clId="{FFB5BFD2-246A-034F-B635-DE62B5FCF3A6}" dt="2023-06-03T15:43:24.868" v="1389" actId="9405"/>
          <ac:inkMkLst>
            <pc:docMk/>
            <pc:sldMk cId="490526934" sldId="315"/>
            <ac:inkMk id="26" creationId="{07F492B0-668C-B236-F83F-F2930D5EEA24}"/>
          </ac:inkMkLst>
        </pc:inkChg>
        <pc:inkChg chg="add mod">
          <ac:chgData name="Aniket Chhabra" userId="598e0514-bef3-4e71-b6aa-f2edd6441cff" providerId="ADAL" clId="{FFB5BFD2-246A-034F-B635-DE62B5FCF3A6}" dt="2023-06-03T15:45:54.322" v="1466"/>
          <ac:inkMkLst>
            <pc:docMk/>
            <pc:sldMk cId="490526934" sldId="315"/>
            <ac:inkMk id="27" creationId="{94A893CE-547E-C72F-1FB0-C6D1B3EAB2F6}"/>
          </ac:inkMkLst>
        </pc:inkChg>
        <pc:inkChg chg="add mod">
          <ac:chgData name="Aniket Chhabra" userId="598e0514-bef3-4e71-b6aa-f2edd6441cff" providerId="ADAL" clId="{FFB5BFD2-246A-034F-B635-DE62B5FCF3A6}" dt="2023-06-03T15:45:54.322" v="1466"/>
          <ac:inkMkLst>
            <pc:docMk/>
            <pc:sldMk cId="490526934" sldId="315"/>
            <ac:inkMk id="28" creationId="{DE418815-4094-77EA-2534-FA987D728D3E}"/>
          </ac:inkMkLst>
        </pc:inkChg>
        <pc:inkChg chg="add mod">
          <ac:chgData name="Aniket Chhabra" userId="598e0514-bef3-4e71-b6aa-f2edd6441cff" providerId="ADAL" clId="{FFB5BFD2-246A-034F-B635-DE62B5FCF3A6}" dt="2023-06-03T15:45:54.322" v="1466"/>
          <ac:inkMkLst>
            <pc:docMk/>
            <pc:sldMk cId="490526934" sldId="315"/>
            <ac:inkMk id="29" creationId="{1D3A387F-0B64-97E4-1EFA-6824BF990144}"/>
          </ac:inkMkLst>
        </pc:inkChg>
        <pc:inkChg chg="add mod">
          <ac:chgData name="Aniket Chhabra" userId="598e0514-bef3-4e71-b6aa-f2edd6441cff" providerId="ADAL" clId="{FFB5BFD2-246A-034F-B635-DE62B5FCF3A6}" dt="2023-06-03T15:45:54.322" v="1466"/>
          <ac:inkMkLst>
            <pc:docMk/>
            <pc:sldMk cId="490526934" sldId="315"/>
            <ac:inkMk id="31" creationId="{7CE415BC-50F4-2F85-C961-ADAB591D8887}"/>
          </ac:inkMkLst>
        </pc:inkChg>
        <pc:inkChg chg="add mod">
          <ac:chgData name="Aniket Chhabra" userId="598e0514-bef3-4e71-b6aa-f2edd6441cff" providerId="ADAL" clId="{FFB5BFD2-246A-034F-B635-DE62B5FCF3A6}" dt="2023-06-03T15:45:54.322" v="1466"/>
          <ac:inkMkLst>
            <pc:docMk/>
            <pc:sldMk cId="490526934" sldId="315"/>
            <ac:inkMk id="32" creationId="{F135A12C-F104-E359-36C3-357402A0D033}"/>
          </ac:inkMkLst>
        </pc:inkChg>
        <pc:inkChg chg="add mod">
          <ac:chgData name="Aniket Chhabra" userId="598e0514-bef3-4e71-b6aa-f2edd6441cff" providerId="ADAL" clId="{FFB5BFD2-246A-034F-B635-DE62B5FCF3A6}" dt="2023-06-03T15:45:54.322" v="1466"/>
          <ac:inkMkLst>
            <pc:docMk/>
            <pc:sldMk cId="490526934" sldId="315"/>
            <ac:inkMk id="34" creationId="{14751B01-7228-66EC-0C07-5AF7953306A1}"/>
          </ac:inkMkLst>
        </pc:inkChg>
        <pc:inkChg chg="add mod">
          <ac:chgData name="Aniket Chhabra" userId="598e0514-bef3-4e71-b6aa-f2edd6441cff" providerId="ADAL" clId="{FFB5BFD2-246A-034F-B635-DE62B5FCF3A6}" dt="2023-06-03T15:45:54.322" v="1466"/>
          <ac:inkMkLst>
            <pc:docMk/>
            <pc:sldMk cId="490526934" sldId="315"/>
            <ac:inkMk id="36" creationId="{6006864F-5B15-1F83-619A-439EBE94AD90}"/>
          </ac:inkMkLst>
        </pc:inkChg>
        <pc:inkChg chg="add mod">
          <ac:chgData name="Aniket Chhabra" userId="598e0514-bef3-4e71-b6aa-f2edd6441cff" providerId="ADAL" clId="{FFB5BFD2-246A-034F-B635-DE62B5FCF3A6}" dt="2023-06-03T15:45:54.322" v="1466"/>
          <ac:inkMkLst>
            <pc:docMk/>
            <pc:sldMk cId="490526934" sldId="315"/>
            <ac:inkMk id="37" creationId="{6E538BE9-3CF4-8E41-4364-D46E9C97E045}"/>
          </ac:inkMkLst>
        </pc:inkChg>
        <pc:inkChg chg="add mod">
          <ac:chgData name="Aniket Chhabra" userId="598e0514-bef3-4e71-b6aa-f2edd6441cff" providerId="ADAL" clId="{FFB5BFD2-246A-034F-B635-DE62B5FCF3A6}" dt="2023-06-03T15:45:54.322" v="1466"/>
          <ac:inkMkLst>
            <pc:docMk/>
            <pc:sldMk cId="490526934" sldId="315"/>
            <ac:inkMk id="39" creationId="{8BD29F6B-E843-A7EE-98AE-8B9E6FC95C64}"/>
          </ac:inkMkLst>
        </pc:inkChg>
        <pc:inkChg chg="add mod">
          <ac:chgData name="Aniket Chhabra" userId="598e0514-bef3-4e71-b6aa-f2edd6441cff" providerId="ADAL" clId="{FFB5BFD2-246A-034F-B635-DE62B5FCF3A6}" dt="2023-06-03T15:45:54.322" v="1466"/>
          <ac:inkMkLst>
            <pc:docMk/>
            <pc:sldMk cId="490526934" sldId="315"/>
            <ac:inkMk id="41" creationId="{773E4FB9-0113-1C8D-FC29-1C0FAF09BE07}"/>
          </ac:inkMkLst>
        </pc:inkChg>
        <pc:inkChg chg="add mod">
          <ac:chgData name="Aniket Chhabra" userId="598e0514-bef3-4e71-b6aa-f2edd6441cff" providerId="ADAL" clId="{FFB5BFD2-246A-034F-B635-DE62B5FCF3A6}" dt="2023-06-03T15:45:54.322" v="1466"/>
          <ac:inkMkLst>
            <pc:docMk/>
            <pc:sldMk cId="490526934" sldId="315"/>
            <ac:inkMk id="43" creationId="{304D38F3-A632-FC6A-6B45-63DBC45A5C13}"/>
          </ac:inkMkLst>
        </pc:inkChg>
        <pc:inkChg chg="add mod">
          <ac:chgData name="Aniket Chhabra" userId="598e0514-bef3-4e71-b6aa-f2edd6441cff" providerId="ADAL" clId="{FFB5BFD2-246A-034F-B635-DE62B5FCF3A6}" dt="2023-06-03T15:45:54.322" v="1466"/>
          <ac:inkMkLst>
            <pc:docMk/>
            <pc:sldMk cId="490526934" sldId="315"/>
            <ac:inkMk id="45" creationId="{1030927B-F93F-3C55-0C46-4CFBADB8F1F7}"/>
          </ac:inkMkLst>
        </pc:inkChg>
        <pc:inkChg chg="add mod">
          <ac:chgData name="Aniket Chhabra" userId="598e0514-bef3-4e71-b6aa-f2edd6441cff" providerId="ADAL" clId="{FFB5BFD2-246A-034F-B635-DE62B5FCF3A6}" dt="2023-06-03T15:43:58.771" v="1414"/>
          <ac:inkMkLst>
            <pc:docMk/>
            <pc:sldMk cId="490526934" sldId="315"/>
            <ac:inkMk id="47" creationId="{3A4BD979-5962-205D-1018-D4DAE94B7E55}"/>
          </ac:inkMkLst>
        </pc:inkChg>
        <pc:inkChg chg="add mod">
          <ac:chgData name="Aniket Chhabra" userId="598e0514-bef3-4e71-b6aa-f2edd6441cff" providerId="ADAL" clId="{FFB5BFD2-246A-034F-B635-DE62B5FCF3A6}" dt="2023-06-03T15:43:58.771" v="1414"/>
          <ac:inkMkLst>
            <pc:docMk/>
            <pc:sldMk cId="490526934" sldId="315"/>
            <ac:inkMk id="48" creationId="{2E2A348E-DB99-6214-2674-8049A9660A0B}"/>
          </ac:inkMkLst>
        </pc:inkChg>
        <pc:inkChg chg="add mod">
          <ac:chgData name="Aniket Chhabra" userId="598e0514-bef3-4e71-b6aa-f2edd6441cff" providerId="ADAL" clId="{FFB5BFD2-246A-034F-B635-DE62B5FCF3A6}" dt="2023-06-03T15:43:58.771" v="1414"/>
          <ac:inkMkLst>
            <pc:docMk/>
            <pc:sldMk cId="490526934" sldId="315"/>
            <ac:inkMk id="49" creationId="{2E1C9868-DFD1-0C43-EF59-219B36869DED}"/>
          </ac:inkMkLst>
        </pc:inkChg>
        <pc:inkChg chg="add mod">
          <ac:chgData name="Aniket Chhabra" userId="598e0514-bef3-4e71-b6aa-f2edd6441cff" providerId="ADAL" clId="{FFB5BFD2-246A-034F-B635-DE62B5FCF3A6}" dt="2023-06-03T15:43:58.771" v="1414"/>
          <ac:inkMkLst>
            <pc:docMk/>
            <pc:sldMk cId="490526934" sldId="315"/>
            <ac:inkMk id="50" creationId="{3D467F9E-15FF-C1CA-2010-895E12920310}"/>
          </ac:inkMkLst>
        </pc:inkChg>
        <pc:inkChg chg="add">
          <ac:chgData name="Aniket Chhabra" userId="598e0514-bef3-4e71-b6aa-f2edd6441cff" providerId="ADAL" clId="{FFB5BFD2-246A-034F-B635-DE62B5FCF3A6}" dt="2023-06-03T15:43:59.401" v="1415" actId="9405"/>
          <ac:inkMkLst>
            <pc:docMk/>
            <pc:sldMk cId="490526934" sldId="315"/>
            <ac:inkMk id="52" creationId="{11656306-ED88-0AD1-FB3B-7F37793711ED}"/>
          </ac:inkMkLst>
        </pc:inkChg>
        <pc:inkChg chg="add mod">
          <ac:chgData name="Aniket Chhabra" userId="598e0514-bef3-4e71-b6aa-f2edd6441cff" providerId="ADAL" clId="{FFB5BFD2-246A-034F-B635-DE62B5FCF3A6}" dt="2023-06-03T15:44:05.449" v="1429"/>
          <ac:inkMkLst>
            <pc:docMk/>
            <pc:sldMk cId="490526934" sldId="315"/>
            <ac:inkMk id="53" creationId="{D8DED553-9F55-00B7-E331-DA3CEB34F593}"/>
          </ac:inkMkLst>
        </pc:inkChg>
        <pc:inkChg chg="add mod">
          <ac:chgData name="Aniket Chhabra" userId="598e0514-bef3-4e71-b6aa-f2edd6441cff" providerId="ADAL" clId="{FFB5BFD2-246A-034F-B635-DE62B5FCF3A6}" dt="2023-06-03T15:44:05.449" v="1429"/>
          <ac:inkMkLst>
            <pc:docMk/>
            <pc:sldMk cId="490526934" sldId="315"/>
            <ac:inkMk id="54" creationId="{0B00C7C1-97E8-5D77-BDD7-FAC4A0611E7C}"/>
          </ac:inkMkLst>
        </pc:inkChg>
        <pc:inkChg chg="add mod">
          <ac:chgData name="Aniket Chhabra" userId="598e0514-bef3-4e71-b6aa-f2edd6441cff" providerId="ADAL" clId="{FFB5BFD2-246A-034F-B635-DE62B5FCF3A6}" dt="2023-06-03T15:44:05.449" v="1429"/>
          <ac:inkMkLst>
            <pc:docMk/>
            <pc:sldMk cId="490526934" sldId="315"/>
            <ac:inkMk id="55" creationId="{E17894AE-2B3A-6FA3-84D9-D14DEB712691}"/>
          </ac:inkMkLst>
        </pc:inkChg>
        <pc:inkChg chg="add mod">
          <ac:chgData name="Aniket Chhabra" userId="598e0514-bef3-4e71-b6aa-f2edd6441cff" providerId="ADAL" clId="{FFB5BFD2-246A-034F-B635-DE62B5FCF3A6}" dt="2023-06-03T15:44:05.449" v="1429"/>
          <ac:inkMkLst>
            <pc:docMk/>
            <pc:sldMk cId="490526934" sldId="315"/>
            <ac:inkMk id="56" creationId="{BB1A9EA0-CAC4-FE0A-9D06-A78F8AFA1C35}"/>
          </ac:inkMkLst>
        </pc:inkChg>
        <pc:inkChg chg="add mod">
          <ac:chgData name="Aniket Chhabra" userId="598e0514-bef3-4e71-b6aa-f2edd6441cff" providerId="ADAL" clId="{FFB5BFD2-246A-034F-B635-DE62B5FCF3A6}" dt="2023-06-03T15:44:05.449" v="1429"/>
          <ac:inkMkLst>
            <pc:docMk/>
            <pc:sldMk cId="490526934" sldId="315"/>
            <ac:inkMk id="57" creationId="{1A7E1729-3A61-F978-8BF6-2F60761111A3}"/>
          </ac:inkMkLst>
        </pc:inkChg>
        <pc:inkChg chg="add mod">
          <ac:chgData name="Aniket Chhabra" userId="598e0514-bef3-4e71-b6aa-f2edd6441cff" providerId="ADAL" clId="{FFB5BFD2-246A-034F-B635-DE62B5FCF3A6}" dt="2023-06-03T15:44:05.449" v="1429"/>
          <ac:inkMkLst>
            <pc:docMk/>
            <pc:sldMk cId="490526934" sldId="315"/>
            <ac:inkMk id="58" creationId="{6A89B088-2026-25E0-FAD7-7C8B2C6D14D6}"/>
          </ac:inkMkLst>
        </pc:inkChg>
        <pc:inkChg chg="add mod">
          <ac:chgData name="Aniket Chhabra" userId="598e0514-bef3-4e71-b6aa-f2edd6441cff" providerId="ADAL" clId="{FFB5BFD2-246A-034F-B635-DE62B5FCF3A6}" dt="2023-06-03T15:44:05.449" v="1429"/>
          <ac:inkMkLst>
            <pc:docMk/>
            <pc:sldMk cId="490526934" sldId="315"/>
            <ac:inkMk id="59" creationId="{5FCC430F-DE0A-60BA-3146-1C528DD5432F}"/>
          </ac:inkMkLst>
        </pc:inkChg>
        <pc:inkChg chg="add mod">
          <ac:chgData name="Aniket Chhabra" userId="598e0514-bef3-4e71-b6aa-f2edd6441cff" providerId="ADAL" clId="{FFB5BFD2-246A-034F-B635-DE62B5FCF3A6}" dt="2023-06-03T15:44:05.449" v="1429"/>
          <ac:inkMkLst>
            <pc:docMk/>
            <pc:sldMk cId="490526934" sldId="315"/>
            <ac:inkMk id="60" creationId="{99CBA2C1-1636-8F06-97DE-981DFF948091}"/>
          </ac:inkMkLst>
        </pc:inkChg>
        <pc:inkChg chg="add mod">
          <ac:chgData name="Aniket Chhabra" userId="598e0514-bef3-4e71-b6aa-f2edd6441cff" providerId="ADAL" clId="{FFB5BFD2-246A-034F-B635-DE62B5FCF3A6}" dt="2023-06-03T15:44:05.449" v="1429"/>
          <ac:inkMkLst>
            <pc:docMk/>
            <pc:sldMk cId="490526934" sldId="315"/>
            <ac:inkMk id="61" creationId="{0867BDA0-D2DC-5C54-71DB-DD473E06ECDB}"/>
          </ac:inkMkLst>
        </pc:inkChg>
        <pc:inkChg chg="add mod">
          <ac:chgData name="Aniket Chhabra" userId="598e0514-bef3-4e71-b6aa-f2edd6441cff" providerId="ADAL" clId="{FFB5BFD2-246A-034F-B635-DE62B5FCF3A6}" dt="2023-06-03T15:44:05.449" v="1429"/>
          <ac:inkMkLst>
            <pc:docMk/>
            <pc:sldMk cId="490526934" sldId="315"/>
            <ac:inkMk id="62" creationId="{632724CF-C45B-D3B9-1EB7-9AAA3EF6A0B2}"/>
          </ac:inkMkLst>
        </pc:inkChg>
        <pc:inkChg chg="add mod">
          <ac:chgData name="Aniket Chhabra" userId="598e0514-bef3-4e71-b6aa-f2edd6441cff" providerId="ADAL" clId="{FFB5BFD2-246A-034F-B635-DE62B5FCF3A6}" dt="2023-06-03T15:44:05.449" v="1429"/>
          <ac:inkMkLst>
            <pc:docMk/>
            <pc:sldMk cId="490526934" sldId="315"/>
            <ac:inkMk id="63" creationId="{A308EE99-7737-90B7-7526-963475689B21}"/>
          </ac:inkMkLst>
        </pc:inkChg>
        <pc:inkChg chg="add mod">
          <ac:chgData name="Aniket Chhabra" userId="598e0514-bef3-4e71-b6aa-f2edd6441cff" providerId="ADAL" clId="{FFB5BFD2-246A-034F-B635-DE62B5FCF3A6}" dt="2023-06-03T15:44:05.449" v="1429"/>
          <ac:inkMkLst>
            <pc:docMk/>
            <pc:sldMk cId="490526934" sldId="315"/>
            <ac:inkMk id="64" creationId="{3527AB81-CBAE-7452-1852-FD2E877C7B9C}"/>
          </ac:inkMkLst>
        </pc:inkChg>
        <pc:inkChg chg="add mod">
          <ac:chgData name="Aniket Chhabra" userId="598e0514-bef3-4e71-b6aa-f2edd6441cff" providerId="ADAL" clId="{FFB5BFD2-246A-034F-B635-DE62B5FCF3A6}" dt="2023-06-03T15:44:05.449" v="1429"/>
          <ac:inkMkLst>
            <pc:docMk/>
            <pc:sldMk cId="490526934" sldId="315"/>
            <ac:inkMk id="65" creationId="{698BEDDC-8EC4-FCEA-F366-3E20E7D4F97E}"/>
          </ac:inkMkLst>
        </pc:inkChg>
        <pc:inkChg chg="add mod">
          <ac:chgData name="Aniket Chhabra" userId="598e0514-bef3-4e71-b6aa-f2edd6441cff" providerId="ADAL" clId="{FFB5BFD2-246A-034F-B635-DE62B5FCF3A6}" dt="2023-06-03T15:44:21.736" v="1440"/>
          <ac:inkMkLst>
            <pc:docMk/>
            <pc:sldMk cId="490526934" sldId="315"/>
            <ac:inkMk id="68" creationId="{D6872063-109B-1E7F-11EF-B4BA29D99E17}"/>
          </ac:inkMkLst>
        </pc:inkChg>
        <pc:inkChg chg="add mod">
          <ac:chgData name="Aniket Chhabra" userId="598e0514-bef3-4e71-b6aa-f2edd6441cff" providerId="ADAL" clId="{FFB5BFD2-246A-034F-B635-DE62B5FCF3A6}" dt="2023-06-03T15:44:21.736" v="1440"/>
          <ac:inkMkLst>
            <pc:docMk/>
            <pc:sldMk cId="490526934" sldId="315"/>
            <ac:inkMk id="69" creationId="{D4F32245-BF58-F042-C613-C56F6349047E}"/>
          </ac:inkMkLst>
        </pc:inkChg>
        <pc:inkChg chg="add mod">
          <ac:chgData name="Aniket Chhabra" userId="598e0514-bef3-4e71-b6aa-f2edd6441cff" providerId="ADAL" clId="{FFB5BFD2-246A-034F-B635-DE62B5FCF3A6}" dt="2023-06-03T15:44:21.736" v="1440"/>
          <ac:inkMkLst>
            <pc:docMk/>
            <pc:sldMk cId="490526934" sldId="315"/>
            <ac:inkMk id="70" creationId="{C1086DBE-9E2B-9BD7-D122-4A34DEC8D04A}"/>
          </ac:inkMkLst>
        </pc:inkChg>
        <pc:inkChg chg="add mod">
          <ac:chgData name="Aniket Chhabra" userId="598e0514-bef3-4e71-b6aa-f2edd6441cff" providerId="ADAL" clId="{FFB5BFD2-246A-034F-B635-DE62B5FCF3A6}" dt="2023-06-03T15:44:21.736" v="1440"/>
          <ac:inkMkLst>
            <pc:docMk/>
            <pc:sldMk cId="490526934" sldId="315"/>
            <ac:inkMk id="71" creationId="{220409F5-1DFE-A9A7-0FA3-14A926624EFC}"/>
          </ac:inkMkLst>
        </pc:inkChg>
        <pc:inkChg chg="add mod">
          <ac:chgData name="Aniket Chhabra" userId="598e0514-bef3-4e71-b6aa-f2edd6441cff" providerId="ADAL" clId="{FFB5BFD2-246A-034F-B635-DE62B5FCF3A6}" dt="2023-06-03T15:44:21.736" v="1440"/>
          <ac:inkMkLst>
            <pc:docMk/>
            <pc:sldMk cId="490526934" sldId="315"/>
            <ac:inkMk id="72" creationId="{37E3E6F3-E49C-9D48-507E-F6751AD33F88}"/>
          </ac:inkMkLst>
        </pc:inkChg>
        <pc:inkChg chg="add mod">
          <ac:chgData name="Aniket Chhabra" userId="598e0514-bef3-4e71-b6aa-f2edd6441cff" providerId="ADAL" clId="{FFB5BFD2-246A-034F-B635-DE62B5FCF3A6}" dt="2023-06-03T15:44:21.736" v="1440"/>
          <ac:inkMkLst>
            <pc:docMk/>
            <pc:sldMk cId="490526934" sldId="315"/>
            <ac:inkMk id="73" creationId="{CC27EA1F-A6FA-6DA1-32EC-398D87D19A8A}"/>
          </ac:inkMkLst>
        </pc:inkChg>
        <pc:inkChg chg="add mod">
          <ac:chgData name="Aniket Chhabra" userId="598e0514-bef3-4e71-b6aa-f2edd6441cff" providerId="ADAL" clId="{FFB5BFD2-246A-034F-B635-DE62B5FCF3A6}" dt="2023-06-03T15:44:21.736" v="1440"/>
          <ac:inkMkLst>
            <pc:docMk/>
            <pc:sldMk cId="490526934" sldId="315"/>
            <ac:inkMk id="74" creationId="{F594ACEF-FDAE-56A9-D823-226272F13CC0}"/>
          </ac:inkMkLst>
        </pc:inkChg>
        <pc:inkChg chg="add mod">
          <ac:chgData name="Aniket Chhabra" userId="598e0514-bef3-4e71-b6aa-f2edd6441cff" providerId="ADAL" clId="{FFB5BFD2-246A-034F-B635-DE62B5FCF3A6}" dt="2023-06-03T15:44:21.736" v="1440"/>
          <ac:inkMkLst>
            <pc:docMk/>
            <pc:sldMk cId="490526934" sldId="315"/>
            <ac:inkMk id="75" creationId="{8C99CAD0-4D1E-081D-C5CC-6B883C647ED1}"/>
          </ac:inkMkLst>
        </pc:inkChg>
        <pc:inkChg chg="add mod">
          <ac:chgData name="Aniket Chhabra" userId="598e0514-bef3-4e71-b6aa-f2edd6441cff" providerId="ADAL" clId="{FFB5BFD2-246A-034F-B635-DE62B5FCF3A6}" dt="2023-06-03T15:44:21.736" v="1440"/>
          <ac:inkMkLst>
            <pc:docMk/>
            <pc:sldMk cId="490526934" sldId="315"/>
            <ac:inkMk id="76" creationId="{CF9F60F0-DAA7-2D1C-3627-7E9582395E84}"/>
          </ac:inkMkLst>
        </pc:inkChg>
        <pc:inkChg chg="add mod">
          <ac:chgData name="Aniket Chhabra" userId="598e0514-bef3-4e71-b6aa-f2edd6441cff" providerId="ADAL" clId="{FFB5BFD2-246A-034F-B635-DE62B5FCF3A6}" dt="2023-06-03T15:44:21.736" v="1440"/>
          <ac:inkMkLst>
            <pc:docMk/>
            <pc:sldMk cId="490526934" sldId="315"/>
            <ac:inkMk id="77" creationId="{B1C2065D-3F41-48B4-DA57-6B473AAD3CD2}"/>
          </ac:inkMkLst>
        </pc:inkChg>
        <pc:inkChg chg="add">
          <ac:chgData name="Aniket Chhabra" userId="598e0514-bef3-4e71-b6aa-f2edd6441cff" providerId="ADAL" clId="{FFB5BFD2-246A-034F-B635-DE62B5FCF3A6}" dt="2023-06-03T15:44:27.593" v="1441" actId="9405"/>
          <ac:inkMkLst>
            <pc:docMk/>
            <pc:sldMk cId="490526934" sldId="315"/>
            <ac:inkMk id="79" creationId="{06F3CF20-03B8-A4C7-8539-33C75873F205}"/>
          </ac:inkMkLst>
        </pc:inkChg>
        <pc:inkChg chg="add mod">
          <ac:chgData name="Aniket Chhabra" userId="598e0514-bef3-4e71-b6aa-f2edd6441cff" providerId="ADAL" clId="{FFB5BFD2-246A-034F-B635-DE62B5FCF3A6}" dt="2023-06-03T15:44:45.174" v="1453"/>
          <ac:inkMkLst>
            <pc:docMk/>
            <pc:sldMk cId="490526934" sldId="315"/>
            <ac:inkMk id="80" creationId="{7CCA768A-29C2-0B20-0524-5FC71F153CAC}"/>
          </ac:inkMkLst>
        </pc:inkChg>
        <pc:inkChg chg="add mod">
          <ac:chgData name="Aniket Chhabra" userId="598e0514-bef3-4e71-b6aa-f2edd6441cff" providerId="ADAL" clId="{FFB5BFD2-246A-034F-B635-DE62B5FCF3A6}" dt="2023-06-03T15:44:45.174" v="1453"/>
          <ac:inkMkLst>
            <pc:docMk/>
            <pc:sldMk cId="490526934" sldId="315"/>
            <ac:inkMk id="81" creationId="{90AB9062-FD67-F49F-C61D-E2DA078E245F}"/>
          </ac:inkMkLst>
        </pc:inkChg>
        <pc:inkChg chg="add mod">
          <ac:chgData name="Aniket Chhabra" userId="598e0514-bef3-4e71-b6aa-f2edd6441cff" providerId="ADAL" clId="{FFB5BFD2-246A-034F-B635-DE62B5FCF3A6}" dt="2023-06-03T15:44:45.174" v="1453"/>
          <ac:inkMkLst>
            <pc:docMk/>
            <pc:sldMk cId="490526934" sldId="315"/>
            <ac:inkMk id="82" creationId="{50309C31-C105-FA48-B6AA-0EBDF7E5B7DD}"/>
          </ac:inkMkLst>
        </pc:inkChg>
        <pc:inkChg chg="add mod">
          <ac:chgData name="Aniket Chhabra" userId="598e0514-bef3-4e71-b6aa-f2edd6441cff" providerId="ADAL" clId="{FFB5BFD2-246A-034F-B635-DE62B5FCF3A6}" dt="2023-06-03T15:44:45.174" v="1453"/>
          <ac:inkMkLst>
            <pc:docMk/>
            <pc:sldMk cId="490526934" sldId="315"/>
            <ac:inkMk id="83" creationId="{62D3A442-15AA-BC7D-5786-1E9842FCE3A0}"/>
          </ac:inkMkLst>
        </pc:inkChg>
        <pc:inkChg chg="add mod">
          <ac:chgData name="Aniket Chhabra" userId="598e0514-bef3-4e71-b6aa-f2edd6441cff" providerId="ADAL" clId="{FFB5BFD2-246A-034F-B635-DE62B5FCF3A6}" dt="2023-06-03T15:44:45.174" v="1453"/>
          <ac:inkMkLst>
            <pc:docMk/>
            <pc:sldMk cId="490526934" sldId="315"/>
            <ac:inkMk id="84" creationId="{1FCDC155-D852-5FB1-DB1C-58CBA1C3A5EE}"/>
          </ac:inkMkLst>
        </pc:inkChg>
        <pc:inkChg chg="add mod">
          <ac:chgData name="Aniket Chhabra" userId="598e0514-bef3-4e71-b6aa-f2edd6441cff" providerId="ADAL" clId="{FFB5BFD2-246A-034F-B635-DE62B5FCF3A6}" dt="2023-06-03T15:44:45.174" v="1453"/>
          <ac:inkMkLst>
            <pc:docMk/>
            <pc:sldMk cId="490526934" sldId="315"/>
            <ac:inkMk id="85" creationId="{98C85E8E-5E3C-A7E7-1C8A-C94741672684}"/>
          </ac:inkMkLst>
        </pc:inkChg>
        <pc:inkChg chg="add mod">
          <ac:chgData name="Aniket Chhabra" userId="598e0514-bef3-4e71-b6aa-f2edd6441cff" providerId="ADAL" clId="{FFB5BFD2-246A-034F-B635-DE62B5FCF3A6}" dt="2023-06-03T15:44:45.174" v="1453"/>
          <ac:inkMkLst>
            <pc:docMk/>
            <pc:sldMk cId="490526934" sldId="315"/>
            <ac:inkMk id="86" creationId="{75BE78D4-79A1-0C87-8ECC-0BC06CD2B171}"/>
          </ac:inkMkLst>
        </pc:inkChg>
        <pc:inkChg chg="add mod">
          <ac:chgData name="Aniket Chhabra" userId="598e0514-bef3-4e71-b6aa-f2edd6441cff" providerId="ADAL" clId="{FFB5BFD2-246A-034F-B635-DE62B5FCF3A6}" dt="2023-06-03T15:44:45.174" v="1453"/>
          <ac:inkMkLst>
            <pc:docMk/>
            <pc:sldMk cId="490526934" sldId="315"/>
            <ac:inkMk id="87" creationId="{4AB1C0F8-4976-C82F-0695-98954DABB839}"/>
          </ac:inkMkLst>
        </pc:inkChg>
        <pc:inkChg chg="add mod">
          <ac:chgData name="Aniket Chhabra" userId="598e0514-bef3-4e71-b6aa-f2edd6441cff" providerId="ADAL" clId="{FFB5BFD2-246A-034F-B635-DE62B5FCF3A6}" dt="2023-06-03T15:44:45.174" v="1453"/>
          <ac:inkMkLst>
            <pc:docMk/>
            <pc:sldMk cId="490526934" sldId="315"/>
            <ac:inkMk id="88" creationId="{1C32E4D7-5CE7-CEDD-57EB-8C99352671FB}"/>
          </ac:inkMkLst>
        </pc:inkChg>
        <pc:inkChg chg="add mod">
          <ac:chgData name="Aniket Chhabra" userId="598e0514-bef3-4e71-b6aa-f2edd6441cff" providerId="ADAL" clId="{FFB5BFD2-246A-034F-B635-DE62B5FCF3A6}" dt="2023-06-03T15:44:45.174" v="1453"/>
          <ac:inkMkLst>
            <pc:docMk/>
            <pc:sldMk cId="490526934" sldId="315"/>
            <ac:inkMk id="89" creationId="{6CF8AF53-F90C-5723-C672-C83E4E45364B}"/>
          </ac:inkMkLst>
        </pc:inkChg>
        <pc:inkChg chg="add mod">
          <ac:chgData name="Aniket Chhabra" userId="598e0514-bef3-4e71-b6aa-f2edd6441cff" providerId="ADAL" clId="{FFB5BFD2-246A-034F-B635-DE62B5FCF3A6}" dt="2023-06-03T15:44:45.174" v="1453"/>
          <ac:inkMkLst>
            <pc:docMk/>
            <pc:sldMk cId="490526934" sldId="315"/>
            <ac:inkMk id="90" creationId="{7015F741-A044-8A5B-4D81-AC111CA3B129}"/>
          </ac:inkMkLst>
        </pc:inkChg>
        <pc:inkChg chg="add mod">
          <ac:chgData name="Aniket Chhabra" userId="598e0514-bef3-4e71-b6aa-f2edd6441cff" providerId="ADAL" clId="{FFB5BFD2-246A-034F-B635-DE62B5FCF3A6}" dt="2023-06-03T15:45:54.322" v="1466"/>
          <ac:inkMkLst>
            <pc:docMk/>
            <pc:sldMk cId="490526934" sldId="315"/>
            <ac:inkMk id="92" creationId="{D5B5E44D-9CF4-2AD0-9EBF-ECD77FD84045}"/>
          </ac:inkMkLst>
        </pc:inkChg>
        <pc:inkChg chg="add mod">
          <ac:chgData name="Aniket Chhabra" userId="598e0514-bef3-4e71-b6aa-f2edd6441cff" providerId="ADAL" clId="{FFB5BFD2-246A-034F-B635-DE62B5FCF3A6}" dt="2023-06-03T15:45:54.322" v="1466"/>
          <ac:inkMkLst>
            <pc:docMk/>
            <pc:sldMk cId="490526934" sldId="315"/>
            <ac:inkMk id="94" creationId="{596EBAAA-2172-AFD1-6E4F-7A93EEAEDAC9}"/>
          </ac:inkMkLst>
        </pc:inkChg>
        <pc:inkChg chg="add mod">
          <ac:chgData name="Aniket Chhabra" userId="598e0514-bef3-4e71-b6aa-f2edd6441cff" providerId="ADAL" clId="{FFB5BFD2-246A-034F-B635-DE62B5FCF3A6}" dt="2023-06-03T15:45:54.322" v="1466"/>
          <ac:inkMkLst>
            <pc:docMk/>
            <pc:sldMk cId="490526934" sldId="315"/>
            <ac:inkMk id="96" creationId="{3AD94750-C250-2580-C57E-331F234AD78E}"/>
          </ac:inkMkLst>
        </pc:inkChg>
      </pc:sldChg>
      <pc:sldChg chg="addSp delSp modSp new del mod">
        <pc:chgData name="Aniket Chhabra" userId="598e0514-bef3-4e71-b6aa-f2edd6441cff" providerId="ADAL" clId="{FFB5BFD2-246A-034F-B635-DE62B5FCF3A6}" dt="2023-06-17T14:03:05.736" v="1610" actId="2696"/>
        <pc:sldMkLst>
          <pc:docMk/>
          <pc:sldMk cId="1880318617" sldId="316"/>
        </pc:sldMkLst>
        <pc:grpChg chg="mod">
          <ac:chgData name="Aniket Chhabra" userId="598e0514-bef3-4e71-b6aa-f2edd6441cff" providerId="ADAL" clId="{FFB5BFD2-246A-034F-B635-DE62B5FCF3A6}" dt="2023-06-03T15:57:16.221" v="1566"/>
          <ac:grpSpMkLst>
            <pc:docMk/>
            <pc:sldMk cId="1880318617" sldId="316"/>
            <ac:grpSpMk id="14" creationId="{A6DFCD26-E626-E631-04C2-189ACE0775AE}"/>
          </ac:grpSpMkLst>
        </pc:grpChg>
        <pc:grpChg chg="del mod">
          <ac:chgData name="Aniket Chhabra" userId="598e0514-bef3-4e71-b6aa-f2edd6441cff" providerId="ADAL" clId="{FFB5BFD2-246A-034F-B635-DE62B5FCF3A6}" dt="2023-06-03T15:57:29.272" v="1596"/>
          <ac:grpSpMkLst>
            <pc:docMk/>
            <pc:sldMk cId="1880318617" sldId="316"/>
            <ac:grpSpMk id="41" creationId="{3E159814-CA4B-9CCD-5079-7F382EF19097}"/>
          </ac:grpSpMkLst>
        </pc:grpChg>
        <pc:grpChg chg="mod">
          <ac:chgData name="Aniket Chhabra" userId="598e0514-bef3-4e71-b6aa-f2edd6441cff" providerId="ADAL" clId="{FFB5BFD2-246A-034F-B635-DE62B5FCF3A6}" dt="2023-06-03T15:57:25.515" v="1593"/>
          <ac:grpSpMkLst>
            <pc:docMk/>
            <pc:sldMk cId="1880318617" sldId="316"/>
            <ac:grpSpMk id="42" creationId="{4C9AD434-3332-4F9D-A221-39AB5A2FE1F9}"/>
          </ac:grpSpMkLst>
        </pc:grpChg>
        <pc:grpChg chg="mod">
          <ac:chgData name="Aniket Chhabra" userId="598e0514-bef3-4e71-b6aa-f2edd6441cff" providerId="ADAL" clId="{FFB5BFD2-246A-034F-B635-DE62B5FCF3A6}" dt="2023-06-03T15:57:25.515" v="1593"/>
          <ac:grpSpMkLst>
            <pc:docMk/>
            <pc:sldMk cId="1880318617" sldId="316"/>
            <ac:grpSpMk id="43" creationId="{96D2A134-862E-C466-CF08-0625F08DC379}"/>
          </ac:grpSpMkLst>
        </pc:grpChg>
        <pc:grpChg chg="mod">
          <ac:chgData name="Aniket Chhabra" userId="598e0514-bef3-4e71-b6aa-f2edd6441cff" providerId="ADAL" clId="{FFB5BFD2-246A-034F-B635-DE62B5FCF3A6}" dt="2023-06-03T15:57:25.515" v="1593"/>
          <ac:grpSpMkLst>
            <pc:docMk/>
            <pc:sldMk cId="1880318617" sldId="316"/>
            <ac:grpSpMk id="44" creationId="{D1E1ED2E-F6B9-59B5-35FB-69FAA9835AA7}"/>
          </ac:grpSpMkLst>
        </pc:grpChg>
        <pc:grpChg chg="mod">
          <ac:chgData name="Aniket Chhabra" userId="598e0514-bef3-4e71-b6aa-f2edd6441cff" providerId="ADAL" clId="{FFB5BFD2-246A-034F-B635-DE62B5FCF3A6}" dt="2023-06-03T15:57:25.515" v="1593"/>
          <ac:grpSpMkLst>
            <pc:docMk/>
            <pc:sldMk cId="1880318617" sldId="316"/>
            <ac:grpSpMk id="45" creationId="{46B40778-CAB2-E737-3BF0-182AA9293897}"/>
          </ac:grpSpMkLst>
        </pc:grpChg>
        <pc:grpChg chg="mod">
          <ac:chgData name="Aniket Chhabra" userId="598e0514-bef3-4e71-b6aa-f2edd6441cff" providerId="ADAL" clId="{FFB5BFD2-246A-034F-B635-DE62B5FCF3A6}" dt="2023-06-03T15:57:29.272" v="1596"/>
          <ac:grpSpMkLst>
            <pc:docMk/>
            <pc:sldMk cId="1880318617" sldId="316"/>
            <ac:grpSpMk id="48" creationId="{F5FD0BDA-85E0-FEFB-2C66-02F7221BAEF8}"/>
          </ac:grpSpMkLst>
        </pc:grpChg>
        <pc:inkChg chg="add mod">
          <ac:chgData name="Aniket Chhabra" userId="598e0514-bef3-4e71-b6aa-f2edd6441cff" providerId="ADAL" clId="{FFB5BFD2-246A-034F-B635-DE62B5FCF3A6}" dt="2023-06-03T15:57:16.221" v="1566"/>
          <ac:inkMkLst>
            <pc:docMk/>
            <pc:sldMk cId="1880318617" sldId="316"/>
            <ac:inkMk id="4" creationId="{DF929A28-6DA5-043C-2872-324328029064}"/>
          </ac:inkMkLst>
        </pc:inkChg>
        <pc:inkChg chg="add mod">
          <ac:chgData name="Aniket Chhabra" userId="598e0514-bef3-4e71-b6aa-f2edd6441cff" providerId="ADAL" clId="{FFB5BFD2-246A-034F-B635-DE62B5FCF3A6}" dt="2023-06-03T15:57:16.221" v="1566"/>
          <ac:inkMkLst>
            <pc:docMk/>
            <pc:sldMk cId="1880318617" sldId="316"/>
            <ac:inkMk id="5" creationId="{97FB869F-57E4-8541-9417-2F32DBF877C9}"/>
          </ac:inkMkLst>
        </pc:inkChg>
        <pc:inkChg chg="add mod">
          <ac:chgData name="Aniket Chhabra" userId="598e0514-bef3-4e71-b6aa-f2edd6441cff" providerId="ADAL" clId="{FFB5BFD2-246A-034F-B635-DE62B5FCF3A6}" dt="2023-06-03T15:57:16.221" v="1566"/>
          <ac:inkMkLst>
            <pc:docMk/>
            <pc:sldMk cId="1880318617" sldId="316"/>
            <ac:inkMk id="6" creationId="{6071BF97-7ABC-F837-AAE4-FEBC53A7F318}"/>
          </ac:inkMkLst>
        </pc:inkChg>
        <pc:inkChg chg="add mod">
          <ac:chgData name="Aniket Chhabra" userId="598e0514-bef3-4e71-b6aa-f2edd6441cff" providerId="ADAL" clId="{FFB5BFD2-246A-034F-B635-DE62B5FCF3A6}" dt="2023-06-03T15:57:16.221" v="1566"/>
          <ac:inkMkLst>
            <pc:docMk/>
            <pc:sldMk cId="1880318617" sldId="316"/>
            <ac:inkMk id="7" creationId="{FF9493E8-7155-5ED8-FC8B-A2BB2E211032}"/>
          </ac:inkMkLst>
        </pc:inkChg>
        <pc:inkChg chg="add mod">
          <ac:chgData name="Aniket Chhabra" userId="598e0514-bef3-4e71-b6aa-f2edd6441cff" providerId="ADAL" clId="{FFB5BFD2-246A-034F-B635-DE62B5FCF3A6}" dt="2023-06-03T15:57:16.221" v="1566"/>
          <ac:inkMkLst>
            <pc:docMk/>
            <pc:sldMk cId="1880318617" sldId="316"/>
            <ac:inkMk id="8" creationId="{DF695C4A-BE0C-BC63-5F24-B13D7682F830}"/>
          </ac:inkMkLst>
        </pc:inkChg>
        <pc:inkChg chg="add mod">
          <ac:chgData name="Aniket Chhabra" userId="598e0514-bef3-4e71-b6aa-f2edd6441cff" providerId="ADAL" clId="{FFB5BFD2-246A-034F-B635-DE62B5FCF3A6}" dt="2023-06-03T15:57:16.221" v="1566"/>
          <ac:inkMkLst>
            <pc:docMk/>
            <pc:sldMk cId="1880318617" sldId="316"/>
            <ac:inkMk id="9" creationId="{2C6D3174-B23F-B878-9BDB-F18A14FD0C69}"/>
          </ac:inkMkLst>
        </pc:inkChg>
        <pc:inkChg chg="add mod">
          <ac:chgData name="Aniket Chhabra" userId="598e0514-bef3-4e71-b6aa-f2edd6441cff" providerId="ADAL" clId="{FFB5BFD2-246A-034F-B635-DE62B5FCF3A6}" dt="2023-06-03T15:57:16.221" v="1566"/>
          <ac:inkMkLst>
            <pc:docMk/>
            <pc:sldMk cId="1880318617" sldId="316"/>
            <ac:inkMk id="10" creationId="{74C31E29-F67E-AD82-734E-A8B97CACEDBC}"/>
          </ac:inkMkLst>
        </pc:inkChg>
        <pc:inkChg chg="add mod">
          <ac:chgData name="Aniket Chhabra" userId="598e0514-bef3-4e71-b6aa-f2edd6441cff" providerId="ADAL" clId="{FFB5BFD2-246A-034F-B635-DE62B5FCF3A6}" dt="2023-06-03T15:57:16.221" v="1566"/>
          <ac:inkMkLst>
            <pc:docMk/>
            <pc:sldMk cId="1880318617" sldId="316"/>
            <ac:inkMk id="11" creationId="{B4B4C18F-4AFA-2066-2A00-05ADA0A06418}"/>
          </ac:inkMkLst>
        </pc:inkChg>
        <pc:inkChg chg="add mod">
          <ac:chgData name="Aniket Chhabra" userId="598e0514-bef3-4e71-b6aa-f2edd6441cff" providerId="ADAL" clId="{FFB5BFD2-246A-034F-B635-DE62B5FCF3A6}" dt="2023-06-03T15:57:16.221" v="1566"/>
          <ac:inkMkLst>
            <pc:docMk/>
            <pc:sldMk cId="1880318617" sldId="316"/>
            <ac:inkMk id="12" creationId="{8BD8C62A-3D81-2699-18EF-CE85F10C0182}"/>
          </ac:inkMkLst>
        </pc:inkChg>
        <pc:inkChg chg="add mod">
          <ac:chgData name="Aniket Chhabra" userId="598e0514-bef3-4e71-b6aa-f2edd6441cff" providerId="ADAL" clId="{FFB5BFD2-246A-034F-B635-DE62B5FCF3A6}" dt="2023-06-03T15:57:25.515" v="1593"/>
          <ac:inkMkLst>
            <pc:docMk/>
            <pc:sldMk cId="1880318617" sldId="316"/>
            <ac:inkMk id="13" creationId="{69A2D8BD-7351-ECB4-242E-CE439E402776}"/>
          </ac:inkMkLst>
        </pc:inkChg>
        <pc:inkChg chg="add">
          <ac:chgData name="Aniket Chhabra" userId="598e0514-bef3-4e71-b6aa-f2edd6441cff" providerId="ADAL" clId="{FFB5BFD2-246A-034F-B635-DE62B5FCF3A6}" dt="2023-06-03T15:57:16.625" v="1567" actId="9405"/>
          <ac:inkMkLst>
            <pc:docMk/>
            <pc:sldMk cId="1880318617" sldId="316"/>
            <ac:inkMk id="15" creationId="{D7A4F1F5-DB88-47D2-4F4B-2B55161FFB71}"/>
          </ac:inkMkLst>
        </pc:inkChg>
        <pc:inkChg chg="add mod">
          <ac:chgData name="Aniket Chhabra" userId="598e0514-bef3-4e71-b6aa-f2edd6441cff" providerId="ADAL" clId="{FFB5BFD2-246A-034F-B635-DE62B5FCF3A6}" dt="2023-06-03T15:57:25.515" v="1593"/>
          <ac:inkMkLst>
            <pc:docMk/>
            <pc:sldMk cId="1880318617" sldId="316"/>
            <ac:inkMk id="16" creationId="{3603444C-B4F2-0AA3-46E5-50F3953227FC}"/>
          </ac:inkMkLst>
        </pc:inkChg>
        <pc:inkChg chg="add mod">
          <ac:chgData name="Aniket Chhabra" userId="598e0514-bef3-4e71-b6aa-f2edd6441cff" providerId="ADAL" clId="{FFB5BFD2-246A-034F-B635-DE62B5FCF3A6}" dt="2023-06-03T15:57:25.515" v="1593"/>
          <ac:inkMkLst>
            <pc:docMk/>
            <pc:sldMk cId="1880318617" sldId="316"/>
            <ac:inkMk id="17" creationId="{4D7D269E-4F07-A967-F84F-75E42FAF79BE}"/>
          </ac:inkMkLst>
        </pc:inkChg>
        <pc:inkChg chg="add mod">
          <ac:chgData name="Aniket Chhabra" userId="598e0514-bef3-4e71-b6aa-f2edd6441cff" providerId="ADAL" clId="{FFB5BFD2-246A-034F-B635-DE62B5FCF3A6}" dt="2023-06-03T15:57:25.515" v="1593"/>
          <ac:inkMkLst>
            <pc:docMk/>
            <pc:sldMk cId="1880318617" sldId="316"/>
            <ac:inkMk id="18" creationId="{D8B55DB5-24AD-795A-CAF7-4DC3BB1BA337}"/>
          </ac:inkMkLst>
        </pc:inkChg>
        <pc:inkChg chg="add mod">
          <ac:chgData name="Aniket Chhabra" userId="598e0514-bef3-4e71-b6aa-f2edd6441cff" providerId="ADAL" clId="{FFB5BFD2-246A-034F-B635-DE62B5FCF3A6}" dt="2023-06-03T15:57:25.515" v="1593"/>
          <ac:inkMkLst>
            <pc:docMk/>
            <pc:sldMk cId="1880318617" sldId="316"/>
            <ac:inkMk id="19" creationId="{F8467C45-4CF8-A182-CE49-A1315D73B91D}"/>
          </ac:inkMkLst>
        </pc:inkChg>
        <pc:inkChg chg="add mod">
          <ac:chgData name="Aniket Chhabra" userId="598e0514-bef3-4e71-b6aa-f2edd6441cff" providerId="ADAL" clId="{FFB5BFD2-246A-034F-B635-DE62B5FCF3A6}" dt="2023-06-03T15:57:25.515" v="1593"/>
          <ac:inkMkLst>
            <pc:docMk/>
            <pc:sldMk cId="1880318617" sldId="316"/>
            <ac:inkMk id="20" creationId="{9DFB023F-E980-EF32-5292-4CCC1FF69B3C}"/>
          </ac:inkMkLst>
        </pc:inkChg>
        <pc:inkChg chg="add mod">
          <ac:chgData name="Aniket Chhabra" userId="598e0514-bef3-4e71-b6aa-f2edd6441cff" providerId="ADAL" clId="{FFB5BFD2-246A-034F-B635-DE62B5FCF3A6}" dt="2023-06-03T15:57:25.515" v="1593"/>
          <ac:inkMkLst>
            <pc:docMk/>
            <pc:sldMk cId="1880318617" sldId="316"/>
            <ac:inkMk id="21" creationId="{C0AFDCC7-8ED8-8B6A-9A45-0FAEE4F05B98}"/>
          </ac:inkMkLst>
        </pc:inkChg>
        <pc:inkChg chg="add mod">
          <ac:chgData name="Aniket Chhabra" userId="598e0514-bef3-4e71-b6aa-f2edd6441cff" providerId="ADAL" clId="{FFB5BFD2-246A-034F-B635-DE62B5FCF3A6}" dt="2023-06-03T15:57:25.515" v="1593"/>
          <ac:inkMkLst>
            <pc:docMk/>
            <pc:sldMk cId="1880318617" sldId="316"/>
            <ac:inkMk id="22" creationId="{94952C6A-054E-76DD-2FEE-CB1D85189E7A}"/>
          </ac:inkMkLst>
        </pc:inkChg>
        <pc:inkChg chg="add mod">
          <ac:chgData name="Aniket Chhabra" userId="598e0514-bef3-4e71-b6aa-f2edd6441cff" providerId="ADAL" clId="{FFB5BFD2-246A-034F-B635-DE62B5FCF3A6}" dt="2023-06-03T15:57:25.515" v="1593"/>
          <ac:inkMkLst>
            <pc:docMk/>
            <pc:sldMk cId="1880318617" sldId="316"/>
            <ac:inkMk id="23" creationId="{4597791C-7195-32D8-2378-BEC3997517EE}"/>
          </ac:inkMkLst>
        </pc:inkChg>
        <pc:inkChg chg="add mod">
          <ac:chgData name="Aniket Chhabra" userId="598e0514-bef3-4e71-b6aa-f2edd6441cff" providerId="ADAL" clId="{FFB5BFD2-246A-034F-B635-DE62B5FCF3A6}" dt="2023-06-03T15:57:25.515" v="1593"/>
          <ac:inkMkLst>
            <pc:docMk/>
            <pc:sldMk cId="1880318617" sldId="316"/>
            <ac:inkMk id="24" creationId="{C56B4FA9-FB89-0A2B-9932-F79C558F4762}"/>
          </ac:inkMkLst>
        </pc:inkChg>
        <pc:inkChg chg="add mod">
          <ac:chgData name="Aniket Chhabra" userId="598e0514-bef3-4e71-b6aa-f2edd6441cff" providerId="ADAL" clId="{FFB5BFD2-246A-034F-B635-DE62B5FCF3A6}" dt="2023-06-03T15:57:25.515" v="1593"/>
          <ac:inkMkLst>
            <pc:docMk/>
            <pc:sldMk cId="1880318617" sldId="316"/>
            <ac:inkMk id="25" creationId="{2A3DC865-9419-00B8-A65D-0FB9AC3E7522}"/>
          </ac:inkMkLst>
        </pc:inkChg>
        <pc:inkChg chg="add mod">
          <ac:chgData name="Aniket Chhabra" userId="598e0514-bef3-4e71-b6aa-f2edd6441cff" providerId="ADAL" clId="{FFB5BFD2-246A-034F-B635-DE62B5FCF3A6}" dt="2023-06-03T15:57:25.515" v="1593"/>
          <ac:inkMkLst>
            <pc:docMk/>
            <pc:sldMk cId="1880318617" sldId="316"/>
            <ac:inkMk id="26" creationId="{83E9E9EB-BA5D-C474-0B43-D5A2D9F7C924}"/>
          </ac:inkMkLst>
        </pc:inkChg>
        <pc:inkChg chg="add mod">
          <ac:chgData name="Aniket Chhabra" userId="598e0514-bef3-4e71-b6aa-f2edd6441cff" providerId="ADAL" clId="{FFB5BFD2-246A-034F-B635-DE62B5FCF3A6}" dt="2023-06-03T15:57:25.515" v="1593"/>
          <ac:inkMkLst>
            <pc:docMk/>
            <pc:sldMk cId="1880318617" sldId="316"/>
            <ac:inkMk id="27" creationId="{643C4553-28B0-7A6C-E415-56C28B1AD7DF}"/>
          </ac:inkMkLst>
        </pc:inkChg>
        <pc:inkChg chg="add mod">
          <ac:chgData name="Aniket Chhabra" userId="598e0514-bef3-4e71-b6aa-f2edd6441cff" providerId="ADAL" clId="{FFB5BFD2-246A-034F-B635-DE62B5FCF3A6}" dt="2023-06-03T15:57:25.515" v="1593"/>
          <ac:inkMkLst>
            <pc:docMk/>
            <pc:sldMk cId="1880318617" sldId="316"/>
            <ac:inkMk id="28" creationId="{2E13009A-8F63-8F7E-C82F-CE56D76C197C}"/>
          </ac:inkMkLst>
        </pc:inkChg>
        <pc:inkChg chg="add mod">
          <ac:chgData name="Aniket Chhabra" userId="598e0514-bef3-4e71-b6aa-f2edd6441cff" providerId="ADAL" clId="{FFB5BFD2-246A-034F-B635-DE62B5FCF3A6}" dt="2023-06-03T15:57:25.515" v="1593"/>
          <ac:inkMkLst>
            <pc:docMk/>
            <pc:sldMk cId="1880318617" sldId="316"/>
            <ac:inkMk id="29" creationId="{1C1DB493-0F47-E832-88A3-445356716587}"/>
          </ac:inkMkLst>
        </pc:inkChg>
        <pc:inkChg chg="add mod">
          <ac:chgData name="Aniket Chhabra" userId="598e0514-bef3-4e71-b6aa-f2edd6441cff" providerId="ADAL" clId="{FFB5BFD2-246A-034F-B635-DE62B5FCF3A6}" dt="2023-06-03T15:57:25.515" v="1593"/>
          <ac:inkMkLst>
            <pc:docMk/>
            <pc:sldMk cId="1880318617" sldId="316"/>
            <ac:inkMk id="30" creationId="{27ACA0E5-9009-6149-7ED6-A593C1FF2FAE}"/>
          </ac:inkMkLst>
        </pc:inkChg>
        <pc:inkChg chg="add mod">
          <ac:chgData name="Aniket Chhabra" userId="598e0514-bef3-4e71-b6aa-f2edd6441cff" providerId="ADAL" clId="{FFB5BFD2-246A-034F-B635-DE62B5FCF3A6}" dt="2023-06-03T15:57:25.515" v="1593"/>
          <ac:inkMkLst>
            <pc:docMk/>
            <pc:sldMk cId="1880318617" sldId="316"/>
            <ac:inkMk id="31" creationId="{143ED237-0264-25A5-C68E-B24FE6339905}"/>
          </ac:inkMkLst>
        </pc:inkChg>
        <pc:inkChg chg="add mod">
          <ac:chgData name="Aniket Chhabra" userId="598e0514-bef3-4e71-b6aa-f2edd6441cff" providerId="ADAL" clId="{FFB5BFD2-246A-034F-B635-DE62B5FCF3A6}" dt="2023-06-03T15:57:25.515" v="1593"/>
          <ac:inkMkLst>
            <pc:docMk/>
            <pc:sldMk cId="1880318617" sldId="316"/>
            <ac:inkMk id="32" creationId="{A8BBC81A-BEF4-4255-F667-E001D5887864}"/>
          </ac:inkMkLst>
        </pc:inkChg>
        <pc:inkChg chg="add mod">
          <ac:chgData name="Aniket Chhabra" userId="598e0514-bef3-4e71-b6aa-f2edd6441cff" providerId="ADAL" clId="{FFB5BFD2-246A-034F-B635-DE62B5FCF3A6}" dt="2023-06-03T15:57:29.272" v="1596"/>
          <ac:inkMkLst>
            <pc:docMk/>
            <pc:sldMk cId="1880318617" sldId="316"/>
            <ac:inkMk id="33" creationId="{3D3ACD1B-C59D-387C-2389-2693B19769D4}"/>
          </ac:inkMkLst>
        </pc:inkChg>
        <pc:inkChg chg="add mod">
          <ac:chgData name="Aniket Chhabra" userId="598e0514-bef3-4e71-b6aa-f2edd6441cff" providerId="ADAL" clId="{FFB5BFD2-246A-034F-B635-DE62B5FCF3A6}" dt="2023-06-03T15:57:29.272" v="1596"/>
          <ac:inkMkLst>
            <pc:docMk/>
            <pc:sldMk cId="1880318617" sldId="316"/>
            <ac:inkMk id="34" creationId="{F56845FB-87A4-1709-EF6A-289045A08BFE}"/>
          </ac:inkMkLst>
        </pc:inkChg>
        <pc:inkChg chg="add mod">
          <ac:chgData name="Aniket Chhabra" userId="598e0514-bef3-4e71-b6aa-f2edd6441cff" providerId="ADAL" clId="{FFB5BFD2-246A-034F-B635-DE62B5FCF3A6}" dt="2023-06-03T15:57:29.272" v="1596"/>
          <ac:inkMkLst>
            <pc:docMk/>
            <pc:sldMk cId="1880318617" sldId="316"/>
            <ac:inkMk id="35" creationId="{5E21FEED-B6A7-83D1-DEF2-2D02EA997B97}"/>
          </ac:inkMkLst>
        </pc:inkChg>
        <pc:inkChg chg="add mod">
          <ac:chgData name="Aniket Chhabra" userId="598e0514-bef3-4e71-b6aa-f2edd6441cff" providerId="ADAL" clId="{FFB5BFD2-246A-034F-B635-DE62B5FCF3A6}" dt="2023-06-03T15:57:29.272" v="1596"/>
          <ac:inkMkLst>
            <pc:docMk/>
            <pc:sldMk cId="1880318617" sldId="316"/>
            <ac:inkMk id="36" creationId="{0F370107-B4F2-E569-8BB7-D083B2337782}"/>
          </ac:inkMkLst>
        </pc:inkChg>
        <pc:inkChg chg="add mod">
          <ac:chgData name="Aniket Chhabra" userId="598e0514-bef3-4e71-b6aa-f2edd6441cff" providerId="ADAL" clId="{FFB5BFD2-246A-034F-B635-DE62B5FCF3A6}" dt="2023-06-03T15:57:29.272" v="1596"/>
          <ac:inkMkLst>
            <pc:docMk/>
            <pc:sldMk cId="1880318617" sldId="316"/>
            <ac:inkMk id="37" creationId="{056D4C75-2BA5-CB33-5884-DCF9B61D5799}"/>
          </ac:inkMkLst>
        </pc:inkChg>
        <pc:inkChg chg="add mod">
          <ac:chgData name="Aniket Chhabra" userId="598e0514-bef3-4e71-b6aa-f2edd6441cff" providerId="ADAL" clId="{FFB5BFD2-246A-034F-B635-DE62B5FCF3A6}" dt="2023-06-03T15:57:29.272" v="1596"/>
          <ac:inkMkLst>
            <pc:docMk/>
            <pc:sldMk cId="1880318617" sldId="316"/>
            <ac:inkMk id="38" creationId="{7302C27B-0B66-DE58-C822-41707783EDED}"/>
          </ac:inkMkLst>
        </pc:inkChg>
        <pc:inkChg chg="add mod">
          <ac:chgData name="Aniket Chhabra" userId="598e0514-bef3-4e71-b6aa-f2edd6441cff" providerId="ADAL" clId="{FFB5BFD2-246A-034F-B635-DE62B5FCF3A6}" dt="2023-06-03T15:57:29.272" v="1596"/>
          <ac:inkMkLst>
            <pc:docMk/>
            <pc:sldMk cId="1880318617" sldId="316"/>
            <ac:inkMk id="39" creationId="{69103BAB-98C5-B566-EC03-09E91FE9B7C3}"/>
          </ac:inkMkLst>
        </pc:inkChg>
        <pc:inkChg chg="add mod">
          <ac:chgData name="Aniket Chhabra" userId="598e0514-bef3-4e71-b6aa-f2edd6441cff" providerId="ADAL" clId="{FFB5BFD2-246A-034F-B635-DE62B5FCF3A6}" dt="2023-06-03T15:57:29.272" v="1596"/>
          <ac:inkMkLst>
            <pc:docMk/>
            <pc:sldMk cId="1880318617" sldId="316"/>
            <ac:inkMk id="40" creationId="{5B59CD24-F140-283A-B79A-FD5275D6573B}"/>
          </ac:inkMkLst>
        </pc:inkChg>
        <pc:inkChg chg="add mod">
          <ac:chgData name="Aniket Chhabra" userId="598e0514-bef3-4e71-b6aa-f2edd6441cff" providerId="ADAL" clId="{FFB5BFD2-246A-034F-B635-DE62B5FCF3A6}" dt="2023-06-03T15:57:29.272" v="1596"/>
          <ac:inkMkLst>
            <pc:docMk/>
            <pc:sldMk cId="1880318617" sldId="316"/>
            <ac:inkMk id="46" creationId="{B2415006-1765-6B16-B5D1-8FED6129F1B8}"/>
          </ac:inkMkLst>
        </pc:inkChg>
        <pc:inkChg chg="add mod">
          <ac:chgData name="Aniket Chhabra" userId="598e0514-bef3-4e71-b6aa-f2edd6441cff" providerId="ADAL" clId="{FFB5BFD2-246A-034F-B635-DE62B5FCF3A6}" dt="2023-06-03T15:57:29.272" v="1596"/>
          <ac:inkMkLst>
            <pc:docMk/>
            <pc:sldMk cId="1880318617" sldId="316"/>
            <ac:inkMk id="47" creationId="{8FE5C02B-04A3-7B9C-B6D4-FD1102583184}"/>
          </ac:inkMkLst>
        </pc:inkChg>
      </pc:sldChg>
    </pc:docChg>
  </pc:docChgLst>
  <pc:docChgLst>
    <pc:chgData name="Aniket Chhabra" userId="598e0514-bef3-4e71-b6aa-f2edd6441cff" providerId="ADAL" clId="{153E9B05-E716-C145-8F37-DAA74CA754CA}"/>
    <pc:docChg chg="sldOrd">
      <pc:chgData name="Aniket Chhabra" userId="598e0514-bef3-4e71-b6aa-f2edd6441cff" providerId="ADAL" clId="{153E9B05-E716-C145-8F37-DAA74CA754CA}" dt="2022-05-01T07:25:53.006" v="2" actId="20578"/>
      <pc:docMkLst>
        <pc:docMk/>
      </pc:docMkLst>
      <pc:sldChg chg="ord">
        <pc:chgData name="Aniket Chhabra" userId="598e0514-bef3-4e71-b6aa-f2edd6441cff" providerId="ADAL" clId="{153E9B05-E716-C145-8F37-DAA74CA754CA}" dt="2022-05-01T07:25:53.006" v="2" actId="20578"/>
        <pc:sldMkLst>
          <pc:docMk/>
          <pc:sldMk cId="3497284152" sldId="280"/>
        </pc:sldMkLst>
      </pc:sldChg>
      <pc:sldChg chg="ord">
        <pc:chgData name="Aniket Chhabra" userId="598e0514-bef3-4e71-b6aa-f2edd6441cff" providerId="ADAL" clId="{153E9B05-E716-C145-8F37-DAA74CA754CA}" dt="2022-05-01T07:25:48.165" v="1" actId="20578"/>
        <pc:sldMkLst>
          <pc:docMk/>
          <pc:sldMk cId="3369082074" sldId="288"/>
        </pc:sldMkLst>
      </pc:sldChg>
    </pc:docChg>
  </pc:docChgLst>
  <pc:docChgLst>
    <pc:chgData name="Aniket Chhabra" userId="598e0514-bef3-4e71-b6aa-f2edd6441cff" providerId="ADAL" clId="{7299E33A-FE09-9D4F-B2AA-68E1D4D3DAE6}"/>
    <pc:docChg chg="undo custSel modSld sldOrd">
      <pc:chgData name="Aniket Chhabra" userId="598e0514-bef3-4e71-b6aa-f2edd6441cff" providerId="ADAL" clId="{7299E33A-FE09-9D4F-B2AA-68E1D4D3DAE6}" dt="2022-06-26T06:42:30.856" v="394"/>
      <pc:docMkLst>
        <pc:docMk/>
      </pc:docMkLst>
      <pc:sldChg chg="ord">
        <pc:chgData name="Aniket Chhabra" userId="598e0514-bef3-4e71-b6aa-f2edd6441cff" providerId="ADAL" clId="{7299E33A-FE09-9D4F-B2AA-68E1D4D3DAE6}" dt="2022-06-26T06:25:30.290" v="89" actId="20578"/>
        <pc:sldMkLst>
          <pc:docMk/>
          <pc:sldMk cId="3497284152" sldId="280"/>
        </pc:sldMkLst>
      </pc:sldChg>
      <pc:sldChg chg="addSp delSp modSp mod">
        <pc:chgData name="Aniket Chhabra" userId="598e0514-bef3-4e71-b6aa-f2edd6441cff" providerId="ADAL" clId="{7299E33A-FE09-9D4F-B2AA-68E1D4D3DAE6}" dt="2022-06-26T06:22:13.786" v="76"/>
        <pc:sldMkLst>
          <pc:docMk/>
          <pc:sldMk cId="302558819" sldId="281"/>
        </pc:sldMkLst>
        <pc:grpChg chg="del mod">
          <ac:chgData name="Aniket Chhabra" userId="598e0514-bef3-4e71-b6aa-f2edd6441cff" providerId="ADAL" clId="{7299E33A-FE09-9D4F-B2AA-68E1D4D3DAE6}" dt="2022-06-26T06:21:30.842" v="17"/>
          <ac:grpSpMkLst>
            <pc:docMk/>
            <pc:sldMk cId="302558819" sldId="281"/>
            <ac:grpSpMk id="11" creationId="{C7ADC728-90BA-D73C-EF7E-3934AA04E784}"/>
          </ac:grpSpMkLst>
        </pc:grpChg>
        <pc:grpChg chg="del mod">
          <ac:chgData name="Aniket Chhabra" userId="598e0514-bef3-4e71-b6aa-f2edd6441cff" providerId="ADAL" clId="{7299E33A-FE09-9D4F-B2AA-68E1D4D3DAE6}" dt="2022-06-26T06:21:42.267" v="26"/>
          <ac:grpSpMkLst>
            <pc:docMk/>
            <pc:sldMk cId="302558819" sldId="281"/>
            <ac:grpSpMk id="15" creationId="{1746EA2A-0ED6-C395-4F02-E4CDDF7C67EA}"/>
          </ac:grpSpMkLst>
        </pc:grpChg>
        <pc:grpChg chg="del mod">
          <ac:chgData name="Aniket Chhabra" userId="598e0514-bef3-4e71-b6aa-f2edd6441cff" providerId="ADAL" clId="{7299E33A-FE09-9D4F-B2AA-68E1D4D3DAE6}" dt="2022-06-26T06:21:54.019" v="37"/>
          <ac:grpSpMkLst>
            <pc:docMk/>
            <pc:sldMk cId="302558819" sldId="281"/>
            <ac:grpSpMk id="25" creationId="{C427D87B-4595-ED83-DAB2-1E39BDA5FCDD}"/>
          </ac:grpSpMkLst>
        </pc:grpChg>
        <pc:grpChg chg="del mod">
          <ac:chgData name="Aniket Chhabra" userId="598e0514-bef3-4e71-b6aa-f2edd6441cff" providerId="ADAL" clId="{7299E33A-FE09-9D4F-B2AA-68E1D4D3DAE6}" dt="2022-06-26T06:21:54.019" v="37"/>
          <ac:grpSpMkLst>
            <pc:docMk/>
            <pc:sldMk cId="302558819" sldId="281"/>
            <ac:grpSpMk id="29" creationId="{D6836D26-D624-02E5-CE5E-5585CC779E5B}"/>
          </ac:grpSpMkLst>
        </pc:grpChg>
        <pc:grpChg chg="mod">
          <ac:chgData name="Aniket Chhabra" userId="598e0514-bef3-4e71-b6aa-f2edd6441cff" providerId="ADAL" clId="{7299E33A-FE09-9D4F-B2AA-68E1D4D3DAE6}" dt="2022-06-26T06:21:50.650" v="34"/>
          <ac:grpSpMkLst>
            <pc:docMk/>
            <pc:sldMk cId="302558819" sldId="281"/>
            <ac:grpSpMk id="33" creationId="{B4E1A846-21EF-D264-BE6B-70ECE4D59469}"/>
          </ac:grpSpMkLst>
        </pc:grpChg>
        <pc:grpChg chg="del mod">
          <ac:chgData name="Aniket Chhabra" userId="598e0514-bef3-4e71-b6aa-f2edd6441cff" providerId="ADAL" clId="{7299E33A-FE09-9D4F-B2AA-68E1D4D3DAE6}" dt="2022-06-26T06:22:03.113" v="59"/>
          <ac:grpSpMkLst>
            <pc:docMk/>
            <pc:sldMk cId="302558819" sldId="281"/>
            <ac:grpSpMk id="36" creationId="{CA53F385-4766-4740-B7B0-39E5D14D99DE}"/>
          </ac:grpSpMkLst>
        </pc:grpChg>
        <pc:grpChg chg="mod">
          <ac:chgData name="Aniket Chhabra" userId="598e0514-bef3-4e71-b6aa-f2edd6441cff" providerId="ADAL" clId="{7299E33A-FE09-9D4F-B2AA-68E1D4D3DAE6}" dt="2022-06-26T06:21:56.060" v="40"/>
          <ac:grpSpMkLst>
            <pc:docMk/>
            <pc:sldMk cId="302558819" sldId="281"/>
            <ac:grpSpMk id="39" creationId="{B517C9FD-ABED-D7C4-6287-E946A5BF5560}"/>
          </ac:grpSpMkLst>
        </pc:grpChg>
        <pc:grpChg chg="del mod">
          <ac:chgData name="Aniket Chhabra" userId="598e0514-bef3-4e71-b6aa-f2edd6441cff" providerId="ADAL" clId="{7299E33A-FE09-9D4F-B2AA-68E1D4D3DAE6}" dt="2022-06-26T06:22:04.077" v="61"/>
          <ac:grpSpMkLst>
            <pc:docMk/>
            <pc:sldMk cId="302558819" sldId="281"/>
            <ac:grpSpMk id="58" creationId="{696C6DB8-5F69-AC42-7A4E-D8CF1F4B6D18}"/>
          </ac:grpSpMkLst>
        </pc:grpChg>
        <pc:grpChg chg="del mod">
          <ac:chgData name="Aniket Chhabra" userId="598e0514-bef3-4e71-b6aa-f2edd6441cff" providerId="ADAL" clId="{7299E33A-FE09-9D4F-B2AA-68E1D4D3DAE6}" dt="2022-06-26T06:22:06.965" v="65"/>
          <ac:grpSpMkLst>
            <pc:docMk/>
            <pc:sldMk cId="302558819" sldId="281"/>
            <ac:grpSpMk id="60" creationId="{9B756349-C129-0995-65B0-CD7A99C2B2C9}"/>
          </ac:grpSpMkLst>
        </pc:grpChg>
        <pc:grpChg chg="del mod">
          <ac:chgData name="Aniket Chhabra" userId="598e0514-bef3-4e71-b6aa-f2edd6441cff" providerId="ADAL" clId="{7299E33A-FE09-9D4F-B2AA-68E1D4D3DAE6}" dt="2022-06-26T06:22:12.155" v="74"/>
          <ac:grpSpMkLst>
            <pc:docMk/>
            <pc:sldMk cId="302558819" sldId="281"/>
            <ac:grpSpMk id="64" creationId="{1A90FFAD-6805-372D-386C-28492A977102}"/>
          </ac:grpSpMkLst>
        </pc:grpChg>
        <pc:grpChg chg="del mod">
          <ac:chgData name="Aniket Chhabra" userId="598e0514-bef3-4e71-b6aa-f2edd6441cff" providerId="ADAL" clId="{7299E33A-FE09-9D4F-B2AA-68E1D4D3DAE6}" dt="2022-06-26T06:22:12.155" v="74"/>
          <ac:grpSpMkLst>
            <pc:docMk/>
            <pc:sldMk cId="302558819" sldId="281"/>
            <ac:grpSpMk id="73" creationId="{F09C2E9D-5729-91C0-37A1-696E1C1D7C42}"/>
          </ac:grpSpMkLst>
        </pc:grpChg>
        <pc:grpChg chg="del mod">
          <ac:chgData name="Aniket Chhabra" userId="598e0514-bef3-4e71-b6aa-f2edd6441cff" providerId="ADAL" clId="{7299E33A-FE09-9D4F-B2AA-68E1D4D3DAE6}" dt="2022-06-26T06:22:13.786" v="76"/>
          <ac:grpSpMkLst>
            <pc:docMk/>
            <pc:sldMk cId="302558819" sldId="281"/>
            <ac:grpSpMk id="74" creationId="{CCFFA5D7-BBDF-9E8B-8C4E-57053C08CCA2}"/>
          </ac:grpSpMkLst>
        </pc:grpChg>
        <pc:grpChg chg="mod">
          <ac:chgData name="Aniket Chhabra" userId="598e0514-bef3-4e71-b6aa-f2edd6441cff" providerId="ADAL" clId="{7299E33A-FE09-9D4F-B2AA-68E1D4D3DAE6}" dt="2022-06-26T06:22:13.786" v="76"/>
          <ac:grpSpMkLst>
            <pc:docMk/>
            <pc:sldMk cId="302558819" sldId="281"/>
            <ac:grpSpMk id="76" creationId="{38757851-4854-3B5E-2C54-761585DD0123}"/>
          </ac:grpSpMkLst>
        </pc:grpChg>
        <pc:inkChg chg="add mod">
          <ac:chgData name="Aniket Chhabra" userId="598e0514-bef3-4e71-b6aa-f2edd6441cff" providerId="ADAL" clId="{7299E33A-FE09-9D4F-B2AA-68E1D4D3DAE6}" dt="2022-06-26T06:22:13.786" v="76"/>
          <ac:inkMkLst>
            <pc:docMk/>
            <pc:sldMk cId="302558819" sldId="281"/>
            <ac:inkMk id="5" creationId="{4322C5D4-49B5-6526-3C1D-C2FBACBB8381}"/>
          </ac:inkMkLst>
        </pc:inkChg>
        <pc:inkChg chg="add mod">
          <ac:chgData name="Aniket Chhabra" userId="598e0514-bef3-4e71-b6aa-f2edd6441cff" providerId="ADAL" clId="{7299E33A-FE09-9D4F-B2AA-68E1D4D3DAE6}" dt="2022-06-26T06:22:13.786" v="76"/>
          <ac:inkMkLst>
            <pc:docMk/>
            <pc:sldMk cId="302558819" sldId="281"/>
            <ac:inkMk id="7" creationId="{A3A98EED-56B4-284D-80BA-2DCE7107FD51}"/>
          </ac:inkMkLst>
        </pc:inkChg>
        <pc:inkChg chg="add mod">
          <ac:chgData name="Aniket Chhabra" userId="598e0514-bef3-4e71-b6aa-f2edd6441cff" providerId="ADAL" clId="{7299E33A-FE09-9D4F-B2AA-68E1D4D3DAE6}" dt="2022-06-26T06:22:13.786" v="76"/>
          <ac:inkMkLst>
            <pc:docMk/>
            <pc:sldMk cId="302558819" sldId="281"/>
            <ac:inkMk id="8" creationId="{3A8DA971-C47C-B277-17A7-A688F21B5483}"/>
          </ac:inkMkLst>
        </pc:inkChg>
        <pc:inkChg chg="add mod">
          <ac:chgData name="Aniket Chhabra" userId="598e0514-bef3-4e71-b6aa-f2edd6441cff" providerId="ADAL" clId="{7299E33A-FE09-9D4F-B2AA-68E1D4D3DAE6}" dt="2022-06-26T06:22:13.786" v="76"/>
          <ac:inkMkLst>
            <pc:docMk/>
            <pc:sldMk cId="302558819" sldId="281"/>
            <ac:inkMk id="9" creationId="{C81158EC-3496-ACC7-B124-2849C6854F80}"/>
          </ac:inkMkLst>
        </pc:inkChg>
        <pc:inkChg chg="add mod">
          <ac:chgData name="Aniket Chhabra" userId="598e0514-bef3-4e71-b6aa-f2edd6441cff" providerId="ADAL" clId="{7299E33A-FE09-9D4F-B2AA-68E1D4D3DAE6}" dt="2022-06-26T06:22:13.786" v="76"/>
          <ac:inkMkLst>
            <pc:docMk/>
            <pc:sldMk cId="302558819" sldId="281"/>
            <ac:inkMk id="10" creationId="{90C1805C-4847-88AB-85D7-609E5D2053F6}"/>
          </ac:inkMkLst>
        </pc:inkChg>
        <pc:inkChg chg="add mod">
          <ac:chgData name="Aniket Chhabra" userId="598e0514-bef3-4e71-b6aa-f2edd6441cff" providerId="ADAL" clId="{7299E33A-FE09-9D4F-B2AA-68E1D4D3DAE6}" dt="2022-06-26T06:22:13.786" v="76"/>
          <ac:inkMkLst>
            <pc:docMk/>
            <pc:sldMk cId="302558819" sldId="281"/>
            <ac:inkMk id="12" creationId="{A262BCBE-FBF8-3289-A82F-AE1D715FC12F}"/>
          </ac:inkMkLst>
        </pc:inkChg>
        <pc:inkChg chg="add mod">
          <ac:chgData name="Aniket Chhabra" userId="598e0514-bef3-4e71-b6aa-f2edd6441cff" providerId="ADAL" clId="{7299E33A-FE09-9D4F-B2AA-68E1D4D3DAE6}" dt="2022-06-26T06:22:13.786" v="76"/>
          <ac:inkMkLst>
            <pc:docMk/>
            <pc:sldMk cId="302558819" sldId="281"/>
            <ac:inkMk id="14" creationId="{E43FF970-0271-7AC6-C343-915A2F03F874}"/>
          </ac:inkMkLst>
        </pc:inkChg>
        <pc:inkChg chg="add mod">
          <ac:chgData name="Aniket Chhabra" userId="598e0514-bef3-4e71-b6aa-f2edd6441cff" providerId="ADAL" clId="{7299E33A-FE09-9D4F-B2AA-68E1D4D3DAE6}" dt="2022-06-26T06:22:13.786" v="76"/>
          <ac:inkMkLst>
            <pc:docMk/>
            <pc:sldMk cId="302558819" sldId="281"/>
            <ac:inkMk id="16" creationId="{3D78BD71-5D8A-A1D5-86D1-558DA1182F86}"/>
          </ac:inkMkLst>
        </pc:inkChg>
        <pc:inkChg chg="add mod">
          <ac:chgData name="Aniket Chhabra" userId="598e0514-bef3-4e71-b6aa-f2edd6441cff" providerId="ADAL" clId="{7299E33A-FE09-9D4F-B2AA-68E1D4D3DAE6}" dt="2022-06-26T06:22:13.786" v="76"/>
          <ac:inkMkLst>
            <pc:docMk/>
            <pc:sldMk cId="302558819" sldId="281"/>
            <ac:inkMk id="17" creationId="{5C4BC236-3181-5FDB-E766-A4AD9BA89AA3}"/>
          </ac:inkMkLst>
        </pc:inkChg>
        <pc:inkChg chg="add mod">
          <ac:chgData name="Aniket Chhabra" userId="598e0514-bef3-4e71-b6aa-f2edd6441cff" providerId="ADAL" clId="{7299E33A-FE09-9D4F-B2AA-68E1D4D3DAE6}" dt="2022-06-26T06:22:13.786" v="76"/>
          <ac:inkMkLst>
            <pc:docMk/>
            <pc:sldMk cId="302558819" sldId="281"/>
            <ac:inkMk id="19" creationId="{86AD21D9-8C86-22DC-3945-4FED49250FD8}"/>
          </ac:inkMkLst>
        </pc:inkChg>
        <pc:inkChg chg="add mod">
          <ac:chgData name="Aniket Chhabra" userId="598e0514-bef3-4e71-b6aa-f2edd6441cff" providerId="ADAL" clId="{7299E33A-FE09-9D4F-B2AA-68E1D4D3DAE6}" dt="2022-06-26T06:22:13.786" v="76"/>
          <ac:inkMkLst>
            <pc:docMk/>
            <pc:sldMk cId="302558819" sldId="281"/>
            <ac:inkMk id="20" creationId="{D5A16E5A-93F2-1D2B-E77C-38DFF4BC6612}"/>
          </ac:inkMkLst>
        </pc:inkChg>
        <pc:inkChg chg="add mod">
          <ac:chgData name="Aniket Chhabra" userId="598e0514-bef3-4e71-b6aa-f2edd6441cff" providerId="ADAL" clId="{7299E33A-FE09-9D4F-B2AA-68E1D4D3DAE6}" dt="2022-06-26T06:22:13.786" v="76"/>
          <ac:inkMkLst>
            <pc:docMk/>
            <pc:sldMk cId="302558819" sldId="281"/>
            <ac:inkMk id="21" creationId="{BCB48795-295E-AF26-6F01-86D0DA5A1BFC}"/>
          </ac:inkMkLst>
        </pc:inkChg>
        <pc:inkChg chg="add mod">
          <ac:chgData name="Aniket Chhabra" userId="598e0514-bef3-4e71-b6aa-f2edd6441cff" providerId="ADAL" clId="{7299E33A-FE09-9D4F-B2AA-68E1D4D3DAE6}" dt="2022-06-26T06:22:13.786" v="76"/>
          <ac:inkMkLst>
            <pc:docMk/>
            <pc:sldMk cId="302558819" sldId="281"/>
            <ac:inkMk id="22" creationId="{CFF93EA7-55F5-91D3-6AF6-2093991493D8}"/>
          </ac:inkMkLst>
        </pc:inkChg>
        <pc:inkChg chg="add mod">
          <ac:chgData name="Aniket Chhabra" userId="598e0514-bef3-4e71-b6aa-f2edd6441cff" providerId="ADAL" clId="{7299E33A-FE09-9D4F-B2AA-68E1D4D3DAE6}" dt="2022-06-26T06:22:13.786" v="76"/>
          <ac:inkMkLst>
            <pc:docMk/>
            <pc:sldMk cId="302558819" sldId="281"/>
            <ac:inkMk id="23" creationId="{AA68FC99-5573-F191-25A7-0104E5FC3552}"/>
          </ac:inkMkLst>
        </pc:inkChg>
        <pc:inkChg chg="add mod">
          <ac:chgData name="Aniket Chhabra" userId="598e0514-bef3-4e71-b6aa-f2edd6441cff" providerId="ADAL" clId="{7299E33A-FE09-9D4F-B2AA-68E1D4D3DAE6}" dt="2022-06-26T06:22:13.786" v="76"/>
          <ac:inkMkLst>
            <pc:docMk/>
            <pc:sldMk cId="302558819" sldId="281"/>
            <ac:inkMk id="24" creationId="{03B947A2-550B-C912-8001-02731E888D99}"/>
          </ac:inkMkLst>
        </pc:inkChg>
        <pc:inkChg chg="add mod">
          <ac:chgData name="Aniket Chhabra" userId="598e0514-bef3-4e71-b6aa-f2edd6441cff" providerId="ADAL" clId="{7299E33A-FE09-9D4F-B2AA-68E1D4D3DAE6}" dt="2022-06-26T06:22:13.786" v="76"/>
          <ac:inkMkLst>
            <pc:docMk/>
            <pc:sldMk cId="302558819" sldId="281"/>
            <ac:inkMk id="26" creationId="{E3109CA9-AB6F-B3BA-93A9-17A5B2D5C5F4}"/>
          </ac:inkMkLst>
        </pc:inkChg>
        <pc:inkChg chg="add mod">
          <ac:chgData name="Aniket Chhabra" userId="598e0514-bef3-4e71-b6aa-f2edd6441cff" providerId="ADAL" clId="{7299E33A-FE09-9D4F-B2AA-68E1D4D3DAE6}" dt="2022-06-26T06:22:13.786" v="76"/>
          <ac:inkMkLst>
            <pc:docMk/>
            <pc:sldMk cId="302558819" sldId="281"/>
            <ac:inkMk id="27" creationId="{EABD148D-BD8D-5391-D1BF-6AA2BC1FF621}"/>
          </ac:inkMkLst>
        </pc:inkChg>
        <pc:inkChg chg="add mod">
          <ac:chgData name="Aniket Chhabra" userId="598e0514-bef3-4e71-b6aa-f2edd6441cff" providerId="ADAL" clId="{7299E33A-FE09-9D4F-B2AA-68E1D4D3DAE6}" dt="2022-06-26T06:22:13.786" v="76"/>
          <ac:inkMkLst>
            <pc:docMk/>
            <pc:sldMk cId="302558819" sldId="281"/>
            <ac:inkMk id="28" creationId="{024FB00C-B1FB-8B10-73E8-B69B2A745EC8}"/>
          </ac:inkMkLst>
        </pc:inkChg>
        <pc:inkChg chg="add mod">
          <ac:chgData name="Aniket Chhabra" userId="598e0514-bef3-4e71-b6aa-f2edd6441cff" providerId="ADAL" clId="{7299E33A-FE09-9D4F-B2AA-68E1D4D3DAE6}" dt="2022-06-26T06:21:50.650" v="34"/>
          <ac:inkMkLst>
            <pc:docMk/>
            <pc:sldMk cId="302558819" sldId="281"/>
            <ac:inkMk id="30" creationId="{7102748D-19D1-BD40-B611-13AFD5FD0C38}"/>
          </ac:inkMkLst>
        </pc:inkChg>
        <pc:inkChg chg="add mod">
          <ac:chgData name="Aniket Chhabra" userId="598e0514-bef3-4e71-b6aa-f2edd6441cff" providerId="ADAL" clId="{7299E33A-FE09-9D4F-B2AA-68E1D4D3DAE6}" dt="2022-06-26T06:21:50.650" v="34"/>
          <ac:inkMkLst>
            <pc:docMk/>
            <pc:sldMk cId="302558819" sldId="281"/>
            <ac:inkMk id="31" creationId="{D3423F40-90FD-F770-E57C-DE4A75CCFD03}"/>
          </ac:inkMkLst>
        </pc:inkChg>
        <pc:inkChg chg="add">
          <ac:chgData name="Aniket Chhabra" userId="598e0514-bef3-4e71-b6aa-f2edd6441cff" providerId="ADAL" clId="{7299E33A-FE09-9D4F-B2AA-68E1D4D3DAE6}" dt="2022-06-26T06:21:49.731" v="33" actId="9405"/>
          <ac:inkMkLst>
            <pc:docMk/>
            <pc:sldMk cId="302558819" sldId="281"/>
            <ac:inkMk id="32" creationId="{CFDAE5EF-2BEF-C1A3-0E94-CD7E283CF36F}"/>
          </ac:inkMkLst>
        </pc:inkChg>
        <pc:inkChg chg="add mod">
          <ac:chgData name="Aniket Chhabra" userId="598e0514-bef3-4e71-b6aa-f2edd6441cff" providerId="ADAL" clId="{7299E33A-FE09-9D4F-B2AA-68E1D4D3DAE6}" dt="2022-06-26T06:22:13.786" v="76"/>
          <ac:inkMkLst>
            <pc:docMk/>
            <pc:sldMk cId="302558819" sldId="281"/>
            <ac:inkMk id="34" creationId="{2B8940E3-58D6-BEDA-F126-28301C7C863A}"/>
          </ac:inkMkLst>
        </pc:inkChg>
        <pc:inkChg chg="add mod">
          <ac:chgData name="Aniket Chhabra" userId="598e0514-bef3-4e71-b6aa-f2edd6441cff" providerId="ADAL" clId="{7299E33A-FE09-9D4F-B2AA-68E1D4D3DAE6}" dt="2022-06-26T06:22:13.786" v="76"/>
          <ac:inkMkLst>
            <pc:docMk/>
            <pc:sldMk cId="302558819" sldId="281"/>
            <ac:inkMk id="35" creationId="{CFC38DEB-B1EF-6A11-F005-3A9B1D88D57A}"/>
          </ac:inkMkLst>
        </pc:inkChg>
        <pc:inkChg chg="add mod">
          <ac:chgData name="Aniket Chhabra" userId="598e0514-bef3-4e71-b6aa-f2edd6441cff" providerId="ADAL" clId="{7299E33A-FE09-9D4F-B2AA-68E1D4D3DAE6}" dt="2022-06-26T06:21:56.060" v="40"/>
          <ac:inkMkLst>
            <pc:docMk/>
            <pc:sldMk cId="302558819" sldId="281"/>
            <ac:inkMk id="37" creationId="{FDF8231D-79C2-A916-09FB-7CADFCD286FA}"/>
          </ac:inkMkLst>
        </pc:inkChg>
        <pc:inkChg chg="add mod">
          <ac:chgData name="Aniket Chhabra" userId="598e0514-bef3-4e71-b6aa-f2edd6441cff" providerId="ADAL" clId="{7299E33A-FE09-9D4F-B2AA-68E1D4D3DAE6}" dt="2022-06-26T06:21:56.060" v="40"/>
          <ac:inkMkLst>
            <pc:docMk/>
            <pc:sldMk cId="302558819" sldId="281"/>
            <ac:inkMk id="38" creationId="{648D94BD-2A35-9150-3690-B97D4CEC4711}"/>
          </ac:inkMkLst>
        </pc:inkChg>
        <pc:inkChg chg="add mod">
          <ac:chgData name="Aniket Chhabra" userId="598e0514-bef3-4e71-b6aa-f2edd6441cff" providerId="ADAL" clId="{7299E33A-FE09-9D4F-B2AA-68E1D4D3DAE6}" dt="2022-06-26T06:22:13.786" v="76"/>
          <ac:inkMkLst>
            <pc:docMk/>
            <pc:sldMk cId="302558819" sldId="281"/>
            <ac:inkMk id="40" creationId="{894AF37A-20D3-6906-13D9-7A6B68CEE61C}"/>
          </ac:inkMkLst>
        </pc:inkChg>
        <pc:inkChg chg="add mod">
          <ac:chgData name="Aniket Chhabra" userId="598e0514-bef3-4e71-b6aa-f2edd6441cff" providerId="ADAL" clId="{7299E33A-FE09-9D4F-B2AA-68E1D4D3DAE6}" dt="2022-06-26T06:22:13.786" v="76"/>
          <ac:inkMkLst>
            <pc:docMk/>
            <pc:sldMk cId="302558819" sldId="281"/>
            <ac:inkMk id="41" creationId="{D21A495C-34B8-E2E3-5D57-40B9620F6906}"/>
          </ac:inkMkLst>
        </pc:inkChg>
        <pc:inkChg chg="add mod">
          <ac:chgData name="Aniket Chhabra" userId="598e0514-bef3-4e71-b6aa-f2edd6441cff" providerId="ADAL" clId="{7299E33A-FE09-9D4F-B2AA-68E1D4D3DAE6}" dt="2022-06-26T06:22:13.786" v="76"/>
          <ac:inkMkLst>
            <pc:docMk/>
            <pc:sldMk cId="302558819" sldId="281"/>
            <ac:inkMk id="42" creationId="{A0D16414-03C8-5883-C734-9C2818B130CB}"/>
          </ac:inkMkLst>
        </pc:inkChg>
        <pc:inkChg chg="add mod">
          <ac:chgData name="Aniket Chhabra" userId="598e0514-bef3-4e71-b6aa-f2edd6441cff" providerId="ADAL" clId="{7299E33A-FE09-9D4F-B2AA-68E1D4D3DAE6}" dt="2022-06-26T06:22:13.786" v="76"/>
          <ac:inkMkLst>
            <pc:docMk/>
            <pc:sldMk cId="302558819" sldId="281"/>
            <ac:inkMk id="43" creationId="{7F368479-0C7D-7196-632C-8C54D511635D}"/>
          </ac:inkMkLst>
        </pc:inkChg>
        <pc:inkChg chg="add mod">
          <ac:chgData name="Aniket Chhabra" userId="598e0514-bef3-4e71-b6aa-f2edd6441cff" providerId="ADAL" clId="{7299E33A-FE09-9D4F-B2AA-68E1D4D3DAE6}" dt="2022-06-26T06:22:13.786" v="76"/>
          <ac:inkMkLst>
            <pc:docMk/>
            <pc:sldMk cId="302558819" sldId="281"/>
            <ac:inkMk id="44" creationId="{CFEA1F7C-E9BC-F56C-D5B8-6ED3714DB732}"/>
          </ac:inkMkLst>
        </pc:inkChg>
        <pc:inkChg chg="add mod">
          <ac:chgData name="Aniket Chhabra" userId="598e0514-bef3-4e71-b6aa-f2edd6441cff" providerId="ADAL" clId="{7299E33A-FE09-9D4F-B2AA-68E1D4D3DAE6}" dt="2022-06-26T06:22:13.786" v="76"/>
          <ac:inkMkLst>
            <pc:docMk/>
            <pc:sldMk cId="302558819" sldId="281"/>
            <ac:inkMk id="45" creationId="{96FC70A9-5282-8499-8DFD-D976ADFD595C}"/>
          </ac:inkMkLst>
        </pc:inkChg>
        <pc:inkChg chg="add mod">
          <ac:chgData name="Aniket Chhabra" userId="598e0514-bef3-4e71-b6aa-f2edd6441cff" providerId="ADAL" clId="{7299E33A-FE09-9D4F-B2AA-68E1D4D3DAE6}" dt="2022-06-26T06:22:13.786" v="76"/>
          <ac:inkMkLst>
            <pc:docMk/>
            <pc:sldMk cId="302558819" sldId="281"/>
            <ac:inkMk id="46" creationId="{7BBE85F1-7FC3-3A29-58F1-71E2E7ED51C7}"/>
          </ac:inkMkLst>
        </pc:inkChg>
        <pc:inkChg chg="add mod">
          <ac:chgData name="Aniket Chhabra" userId="598e0514-bef3-4e71-b6aa-f2edd6441cff" providerId="ADAL" clId="{7299E33A-FE09-9D4F-B2AA-68E1D4D3DAE6}" dt="2022-06-26T06:22:13.786" v="76"/>
          <ac:inkMkLst>
            <pc:docMk/>
            <pc:sldMk cId="302558819" sldId="281"/>
            <ac:inkMk id="47" creationId="{13F9EB33-EABA-7C83-0D20-6F53FA029D34}"/>
          </ac:inkMkLst>
        </pc:inkChg>
        <pc:inkChg chg="add mod">
          <ac:chgData name="Aniket Chhabra" userId="598e0514-bef3-4e71-b6aa-f2edd6441cff" providerId="ADAL" clId="{7299E33A-FE09-9D4F-B2AA-68E1D4D3DAE6}" dt="2022-06-26T06:22:13.786" v="76"/>
          <ac:inkMkLst>
            <pc:docMk/>
            <pc:sldMk cId="302558819" sldId="281"/>
            <ac:inkMk id="48" creationId="{D547E3BA-A331-A103-859B-4CDC425AEFF9}"/>
          </ac:inkMkLst>
        </pc:inkChg>
        <pc:inkChg chg="add mod">
          <ac:chgData name="Aniket Chhabra" userId="598e0514-bef3-4e71-b6aa-f2edd6441cff" providerId="ADAL" clId="{7299E33A-FE09-9D4F-B2AA-68E1D4D3DAE6}" dt="2022-06-26T06:22:13.786" v="76"/>
          <ac:inkMkLst>
            <pc:docMk/>
            <pc:sldMk cId="302558819" sldId="281"/>
            <ac:inkMk id="49" creationId="{3D594EEC-4688-BCCC-7215-CB657134CC3B}"/>
          </ac:inkMkLst>
        </pc:inkChg>
        <pc:inkChg chg="add mod">
          <ac:chgData name="Aniket Chhabra" userId="598e0514-bef3-4e71-b6aa-f2edd6441cff" providerId="ADAL" clId="{7299E33A-FE09-9D4F-B2AA-68E1D4D3DAE6}" dt="2022-06-26T06:22:13.786" v="76"/>
          <ac:inkMkLst>
            <pc:docMk/>
            <pc:sldMk cId="302558819" sldId="281"/>
            <ac:inkMk id="50" creationId="{7478AF9D-8154-2958-8314-CC994118EF71}"/>
          </ac:inkMkLst>
        </pc:inkChg>
        <pc:inkChg chg="add mod">
          <ac:chgData name="Aniket Chhabra" userId="598e0514-bef3-4e71-b6aa-f2edd6441cff" providerId="ADAL" clId="{7299E33A-FE09-9D4F-B2AA-68E1D4D3DAE6}" dt="2022-06-26T06:22:13.786" v="76"/>
          <ac:inkMkLst>
            <pc:docMk/>
            <pc:sldMk cId="302558819" sldId="281"/>
            <ac:inkMk id="51" creationId="{ADCD8AC9-4CC4-A8B3-03D5-CE51CA989C69}"/>
          </ac:inkMkLst>
        </pc:inkChg>
        <pc:inkChg chg="add mod">
          <ac:chgData name="Aniket Chhabra" userId="598e0514-bef3-4e71-b6aa-f2edd6441cff" providerId="ADAL" clId="{7299E33A-FE09-9D4F-B2AA-68E1D4D3DAE6}" dt="2022-06-26T06:22:13.786" v="76"/>
          <ac:inkMkLst>
            <pc:docMk/>
            <pc:sldMk cId="302558819" sldId="281"/>
            <ac:inkMk id="52" creationId="{8385A61C-FC2F-90EF-6CD7-62A281F57343}"/>
          </ac:inkMkLst>
        </pc:inkChg>
        <pc:inkChg chg="add mod">
          <ac:chgData name="Aniket Chhabra" userId="598e0514-bef3-4e71-b6aa-f2edd6441cff" providerId="ADAL" clId="{7299E33A-FE09-9D4F-B2AA-68E1D4D3DAE6}" dt="2022-06-26T06:22:13.786" v="76"/>
          <ac:inkMkLst>
            <pc:docMk/>
            <pc:sldMk cId="302558819" sldId="281"/>
            <ac:inkMk id="53" creationId="{50BFFA8F-9C7C-8262-D25D-0368D1D2CC6A}"/>
          </ac:inkMkLst>
        </pc:inkChg>
        <pc:inkChg chg="add mod">
          <ac:chgData name="Aniket Chhabra" userId="598e0514-bef3-4e71-b6aa-f2edd6441cff" providerId="ADAL" clId="{7299E33A-FE09-9D4F-B2AA-68E1D4D3DAE6}" dt="2022-06-26T06:22:13.786" v="76"/>
          <ac:inkMkLst>
            <pc:docMk/>
            <pc:sldMk cId="302558819" sldId="281"/>
            <ac:inkMk id="54" creationId="{DD6088DF-F8ED-624C-4B30-498DB42D495D}"/>
          </ac:inkMkLst>
        </pc:inkChg>
        <pc:inkChg chg="add mod">
          <ac:chgData name="Aniket Chhabra" userId="598e0514-bef3-4e71-b6aa-f2edd6441cff" providerId="ADAL" clId="{7299E33A-FE09-9D4F-B2AA-68E1D4D3DAE6}" dt="2022-06-26T06:22:13.786" v="76"/>
          <ac:inkMkLst>
            <pc:docMk/>
            <pc:sldMk cId="302558819" sldId="281"/>
            <ac:inkMk id="55" creationId="{2A3F5801-47F4-1DBE-3E71-B23968B973CD}"/>
          </ac:inkMkLst>
        </pc:inkChg>
        <pc:inkChg chg="add mod">
          <ac:chgData name="Aniket Chhabra" userId="598e0514-bef3-4e71-b6aa-f2edd6441cff" providerId="ADAL" clId="{7299E33A-FE09-9D4F-B2AA-68E1D4D3DAE6}" dt="2022-06-26T06:22:13.786" v="76"/>
          <ac:inkMkLst>
            <pc:docMk/>
            <pc:sldMk cId="302558819" sldId="281"/>
            <ac:inkMk id="56" creationId="{AD19BCF3-6495-FDD5-FD4F-FF1BC2573E77}"/>
          </ac:inkMkLst>
        </pc:inkChg>
        <pc:inkChg chg="add mod">
          <ac:chgData name="Aniket Chhabra" userId="598e0514-bef3-4e71-b6aa-f2edd6441cff" providerId="ADAL" clId="{7299E33A-FE09-9D4F-B2AA-68E1D4D3DAE6}" dt="2022-06-26T06:22:13.786" v="76"/>
          <ac:inkMkLst>
            <pc:docMk/>
            <pc:sldMk cId="302558819" sldId="281"/>
            <ac:inkMk id="57" creationId="{CA7C951E-5B53-3A92-6D42-19BBB24ABA55}"/>
          </ac:inkMkLst>
        </pc:inkChg>
        <pc:inkChg chg="add mod">
          <ac:chgData name="Aniket Chhabra" userId="598e0514-bef3-4e71-b6aa-f2edd6441cff" providerId="ADAL" clId="{7299E33A-FE09-9D4F-B2AA-68E1D4D3DAE6}" dt="2022-06-26T06:22:13.786" v="76"/>
          <ac:inkMkLst>
            <pc:docMk/>
            <pc:sldMk cId="302558819" sldId="281"/>
            <ac:inkMk id="59" creationId="{0865D8B8-3C86-709D-5BC4-3DA46FE86D8F}"/>
          </ac:inkMkLst>
        </pc:inkChg>
        <pc:inkChg chg="add mod">
          <ac:chgData name="Aniket Chhabra" userId="598e0514-bef3-4e71-b6aa-f2edd6441cff" providerId="ADAL" clId="{7299E33A-FE09-9D4F-B2AA-68E1D4D3DAE6}" dt="2022-06-26T06:22:13.786" v="76"/>
          <ac:inkMkLst>
            <pc:docMk/>
            <pc:sldMk cId="302558819" sldId="281"/>
            <ac:inkMk id="61" creationId="{D6B36B5B-E4A2-0061-79D7-A080FCD91564}"/>
          </ac:inkMkLst>
        </pc:inkChg>
        <pc:inkChg chg="add mod">
          <ac:chgData name="Aniket Chhabra" userId="598e0514-bef3-4e71-b6aa-f2edd6441cff" providerId="ADAL" clId="{7299E33A-FE09-9D4F-B2AA-68E1D4D3DAE6}" dt="2022-06-26T06:22:13.786" v="76"/>
          <ac:inkMkLst>
            <pc:docMk/>
            <pc:sldMk cId="302558819" sldId="281"/>
            <ac:inkMk id="62" creationId="{655CBEB0-F70F-81C0-06DC-21108CBDE51F}"/>
          </ac:inkMkLst>
        </pc:inkChg>
        <pc:inkChg chg="add mod">
          <ac:chgData name="Aniket Chhabra" userId="598e0514-bef3-4e71-b6aa-f2edd6441cff" providerId="ADAL" clId="{7299E33A-FE09-9D4F-B2AA-68E1D4D3DAE6}" dt="2022-06-26T06:22:13.786" v="76"/>
          <ac:inkMkLst>
            <pc:docMk/>
            <pc:sldMk cId="302558819" sldId="281"/>
            <ac:inkMk id="63" creationId="{32F5D30B-0759-60CF-48F6-1AA034E4466C}"/>
          </ac:inkMkLst>
        </pc:inkChg>
        <pc:inkChg chg="add mod">
          <ac:chgData name="Aniket Chhabra" userId="598e0514-bef3-4e71-b6aa-f2edd6441cff" providerId="ADAL" clId="{7299E33A-FE09-9D4F-B2AA-68E1D4D3DAE6}" dt="2022-06-26T06:22:13.786" v="76"/>
          <ac:inkMkLst>
            <pc:docMk/>
            <pc:sldMk cId="302558819" sldId="281"/>
            <ac:inkMk id="65" creationId="{A94BCE4B-1392-AC67-6CF6-9DEF2B0D2E23}"/>
          </ac:inkMkLst>
        </pc:inkChg>
        <pc:inkChg chg="add mod">
          <ac:chgData name="Aniket Chhabra" userId="598e0514-bef3-4e71-b6aa-f2edd6441cff" providerId="ADAL" clId="{7299E33A-FE09-9D4F-B2AA-68E1D4D3DAE6}" dt="2022-06-26T06:22:13.786" v="76"/>
          <ac:inkMkLst>
            <pc:docMk/>
            <pc:sldMk cId="302558819" sldId="281"/>
            <ac:inkMk id="66" creationId="{BDA9586D-BC96-E9BF-EF68-BA3A115C64E8}"/>
          </ac:inkMkLst>
        </pc:inkChg>
        <pc:inkChg chg="add mod">
          <ac:chgData name="Aniket Chhabra" userId="598e0514-bef3-4e71-b6aa-f2edd6441cff" providerId="ADAL" clId="{7299E33A-FE09-9D4F-B2AA-68E1D4D3DAE6}" dt="2022-06-26T06:22:13.786" v="76"/>
          <ac:inkMkLst>
            <pc:docMk/>
            <pc:sldMk cId="302558819" sldId="281"/>
            <ac:inkMk id="67" creationId="{FB70F539-C1A6-F3A5-91C8-209F3E6FD419}"/>
          </ac:inkMkLst>
        </pc:inkChg>
        <pc:inkChg chg="add mod">
          <ac:chgData name="Aniket Chhabra" userId="598e0514-bef3-4e71-b6aa-f2edd6441cff" providerId="ADAL" clId="{7299E33A-FE09-9D4F-B2AA-68E1D4D3DAE6}" dt="2022-06-26T06:22:13.786" v="76"/>
          <ac:inkMkLst>
            <pc:docMk/>
            <pc:sldMk cId="302558819" sldId="281"/>
            <ac:inkMk id="68" creationId="{C1B6411C-6E09-271A-5B8B-A80588578601}"/>
          </ac:inkMkLst>
        </pc:inkChg>
        <pc:inkChg chg="add mod">
          <ac:chgData name="Aniket Chhabra" userId="598e0514-bef3-4e71-b6aa-f2edd6441cff" providerId="ADAL" clId="{7299E33A-FE09-9D4F-B2AA-68E1D4D3DAE6}" dt="2022-06-26T06:22:13.786" v="76"/>
          <ac:inkMkLst>
            <pc:docMk/>
            <pc:sldMk cId="302558819" sldId="281"/>
            <ac:inkMk id="69" creationId="{4B6E646A-FC6E-8B54-1AE4-069C237B7F9F}"/>
          </ac:inkMkLst>
        </pc:inkChg>
        <pc:inkChg chg="add mod">
          <ac:chgData name="Aniket Chhabra" userId="598e0514-bef3-4e71-b6aa-f2edd6441cff" providerId="ADAL" clId="{7299E33A-FE09-9D4F-B2AA-68E1D4D3DAE6}" dt="2022-06-26T06:22:13.786" v="76"/>
          <ac:inkMkLst>
            <pc:docMk/>
            <pc:sldMk cId="302558819" sldId="281"/>
            <ac:inkMk id="70" creationId="{5A6EBEEC-1C75-DA14-9B22-86CEBE0E9C41}"/>
          </ac:inkMkLst>
        </pc:inkChg>
        <pc:inkChg chg="add mod">
          <ac:chgData name="Aniket Chhabra" userId="598e0514-bef3-4e71-b6aa-f2edd6441cff" providerId="ADAL" clId="{7299E33A-FE09-9D4F-B2AA-68E1D4D3DAE6}" dt="2022-06-26T06:22:13.786" v="76"/>
          <ac:inkMkLst>
            <pc:docMk/>
            <pc:sldMk cId="302558819" sldId="281"/>
            <ac:inkMk id="71" creationId="{77AFE760-1666-0C4B-F312-A1E9B7587E7D}"/>
          </ac:inkMkLst>
        </pc:inkChg>
        <pc:inkChg chg="add mod">
          <ac:chgData name="Aniket Chhabra" userId="598e0514-bef3-4e71-b6aa-f2edd6441cff" providerId="ADAL" clId="{7299E33A-FE09-9D4F-B2AA-68E1D4D3DAE6}" dt="2022-06-26T06:22:13.786" v="76"/>
          <ac:inkMkLst>
            <pc:docMk/>
            <pc:sldMk cId="302558819" sldId="281"/>
            <ac:inkMk id="72" creationId="{D680D6FE-AE47-93B9-D869-083F9A3E6002}"/>
          </ac:inkMkLst>
        </pc:inkChg>
        <pc:inkChg chg="add mod">
          <ac:chgData name="Aniket Chhabra" userId="598e0514-bef3-4e71-b6aa-f2edd6441cff" providerId="ADAL" clId="{7299E33A-FE09-9D4F-B2AA-68E1D4D3DAE6}" dt="2022-06-26T06:22:13.786" v="76"/>
          <ac:inkMkLst>
            <pc:docMk/>
            <pc:sldMk cId="302558819" sldId="281"/>
            <ac:inkMk id="75" creationId="{76340483-2EB9-2763-1E2A-B1EECE0B24AB}"/>
          </ac:inkMkLst>
        </pc:inkChg>
      </pc:sldChg>
      <pc:sldChg chg="delSp modSp">
        <pc:chgData name="Aniket Chhabra" userId="598e0514-bef3-4e71-b6aa-f2edd6441cff" providerId="ADAL" clId="{7299E33A-FE09-9D4F-B2AA-68E1D4D3DAE6}" dt="2022-06-26T06:23:59.722" v="88"/>
        <pc:sldMkLst>
          <pc:docMk/>
          <pc:sldMk cId="1702735194" sldId="282"/>
        </pc:sldMkLst>
        <pc:inkChg chg="del mod">
          <ac:chgData name="Aniket Chhabra" userId="598e0514-bef3-4e71-b6aa-f2edd6441cff" providerId="ADAL" clId="{7299E33A-FE09-9D4F-B2AA-68E1D4D3DAE6}" dt="2022-06-26T06:23:59.722" v="88"/>
          <ac:inkMkLst>
            <pc:docMk/>
            <pc:sldMk cId="1702735194" sldId="282"/>
            <ac:inkMk id="3" creationId="{E7BAD9E4-60A9-4448-8144-13EF0E39CCDA}"/>
          </ac:inkMkLst>
        </pc:inkChg>
      </pc:sldChg>
      <pc:sldChg chg="addSp delSp modSp mod">
        <pc:chgData name="Aniket Chhabra" userId="598e0514-bef3-4e71-b6aa-f2edd6441cff" providerId="ADAL" clId="{7299E33A-FE09-9D4F-B2AA-68E1D4D3DAE6}" dt="2022-06-26T06:22:26.715" v="85"/>
        <pc:sldMkLst>
          <pc:docMk/>
          <pc:sldMk cId="1370836176" sldId="285"/>
        </pc:sldMkLst>
        <pc:grpChg chg="del mod">
          <ac:chgData name="Aniket Chhabra" userId="598e0514-bef3-4e71-b6aa-f2edd6441cff" providerId="ADAL" clId="{7299E33A-FE09-9D4F-B2AA-68E1D4D3DAE6}" dt="2022-06-26T06:22:24.859" v="82"/>
          <ac:grpSpMkLst>
            <pc:docMk/>
            <pc:sldMk cId="1370836176" sldId="285"/>
            <ac:grpSpMk id="9" creationId="{C3206791-C95E-689E-D365-9E519FCFE2B8}"/>
          </ac:grpSpMkLst>
        </pc:grpChg>
        <pc:grpChg chg="mod">
          <ac:chgData name="Aniket Chhabra" userId="598e0514-bef3-4e71-b6aa-f2edd6441cff" providerId="ADAL" clId="{7299E33A-FE09-9D4F-B2AA-68E1D4D3DAE6}" dt="2022-06-26T06:17:32.730" v="8"/>
          <ac:grpSpMkLst>
            <pc:docMk/>
            <pc:sldMk cId="1370836176" sldId="285"/>
            <ac:grpSpMk id="13" creationId="{BFE967DF-B128-4DF6-411B-013F0C550118}"/>
          </ac:grpSpMkLst>
        </pc:grpChg>
        <pc:grpChg chg="del mod">
          <ac:chgData name="Aniket Chhabra" userId="598e0514-bef3-4e71-b6aa-f2edd6441cff" providerId="ADAL" clId="{7299E33A-FE09-9D4F-B2AA-68E1D4D3DAE6}" dt="2022-06-26T06:22:24.859" v="82"/>
          <ac:grpSpMkLst>
            <pc:docMk/>
            <pc:sldMk cId="1370836176" sldId="285"/>
            <ac:grpSpMk id="16" creationId="{1D1BFE22-0BD4-8E27-1D5B-C4E8E3D68730}"/>
          </ac:grpSpMkLst>
        </pc:grpChg>
        <pc:grpChg chg="del mod">
          <ac:chgData name="Aniket Chhabra" userId="598e0514-bef3-4e71-b6aa-f2edd6441cff" providerId="ADAL" clId="{7299E33A-FE09-9D4F-B2AA-68E1D4D3DAE6}" dt="2022-06-26T06:22:26.715" v="85"/>
          <ac:grpSpMkLst>
            <pc:docMk/>
            <pc:sldMk cId="1370836176" sldId="285"/>
            <ac:grpSpMk id="21" creationId="{8B70DC26-69C7-91BC-278F-C66F551AE058}"/>
          </ac:grpSpMkLst>
        </pc:grpChg>
        <pc:grpChg chg="mod">
          <ac:chgData name="Aniket Chhabra" userId="598e0514-bef3-4e71-b6aa-f2edd6441cff" providerId="ADAL" clId="{7299E33A-FE09-9D4F-B2AA-68E1D4D3DAE6}" dt="2022-06-26T06:22:26.715" v="85"/>
          <ac:grpSpMkLst>
            <pc:docMk/>
            <pc:sldMk cId="1370836176" sldId="285"/>
            <ac:grpSpMk id="24" creationId="{807343FA-1A36-CF5C-1C7D-257109616379}"/>
          </ac:grpSpMkLst>
        </pc:grpChg>
        <pc:picChg chg="mod">
          <ac:chgData name="Aniket Chhabra" userId="598e0514-bef3-4e71-b6aa-f2edd6441cff" providerId="ADAL" clId="{7299E33A-FE09-9D4F-B2AA-68E1D4D3DAE6}" dt="2022-06-26T06:17:26.255" v="0" actId="1076"/>
          <ac:picMkLst>
            <pc:docMk/>
            <pc:sldMk cId="1370836176" sldId="285"/>
            <ac:picMk id="17" creationId="{1F35CF3F-9AE6-42CC-A955-02B06CF7CE90}"/>
          </ac:picMkLst>
        </pc:picChg>
        <pc:inkChg chg="add mod">
          <ac:chgData name="Aniket Chhabra" userId="598e0514-bef3-4e71-b6aa-f2edd6441cff" providerId="ADAL" clId="{7299E33A-FE09-9D4F-B2AA-68E1D4D3DAE6}" dt="2022-06-26T06:22:26.715" v="85"/>
          <ac:inkMkLst>
            <pc:docMk/>
            <pc:sldMk cId="1370836176" sldId="285"/>
            <ac:inkMk id="4" creationId="{595C57CE-E25D-EBD7-73BA-E6BA71BFBD89}"/>
          </ac:inkMkLst>
        </pc:inkChg>
        <pc:inkChg chg="add mod">
          <ac:chgData name="Aniket Chhabra" userId="598e0514-bef3-4e71-b6aa-f2edd6441cff" providerId="ADAL" clId="{7299E33A-FE09-9D4F-B2AA-68E1D4D3DAE6}" dt="2022-06-26T06:22:26.715" v="85"/>
          <ac:inkMkLst>
            <pc:docMk/>
            <pc:sldMk cId="1370836176" sldId="285"/>
            <ac:inkMk id="5" creationId="{855ECD75-D2F4-68CD-D634-89BBABE5E404}"/>
          </ac:inkMkLst>
        </pc:inkChg>
        <pc:inkChg chg="add mod">
          <ac:chgData name="Aniket Chhabra" userId="598e0514-bef3-4e71-b6aa-f2edd6441cff" providerId="ADAL" clId="{7299E33A-FE09-9D4F-B2AA-68E1D4D3DAE6}" dt="2022-06-26T06:22:26.715" v="85"/>
          <ac:inkMkLst>
            <pc:docMk/>
            <pc:sldMk cId="1370836176" sldId="285"/>
            <ac:inkMk id="7" creationId="{B621DB92-3EDB-0DDE-B8F8-3CB57819E2B2}"/>
          </ac:inkMkLst>
        </pc:inkChg>
        <pc:inkChg chg="add mod">
          <ac:chgData name="Aniket Chhabra" userId="598e0514-bef3-4e71-b6aa-f2edd6441cff" providerId="ADAL" clId="{7299E33A-FE09-9D4F-B2AA-68E1D4D3DAE6}" dt="2022-06-26T06:22:26.715" v="85"/>
          <ac:inkMkLst>
            <pc:docMk/>
            <pc:sldMk cId="1370836176" sldId="285"/>
            <ac:inkMk id="8" creationId="{64FF6C7E-FCE1-3F1A-34F1-A90106112082}"/>
          </ac:inkMkLst>
        </pc:inkChg>
        <pc:inkChg chg="add mod">
          <ac:chgData name="Aniket Chhabra" userId="598e0514-bef3-4e71-b6aa-f2edd6441cff" providerId="ADAL" clId="{7299E33A-FE09-9D4F-B2AA-68E1D4D3DAE6}" dt="2022-06-26T06:17:32.730" v="8"/>
          <ac:inkMkLst>
            <pc:docMk/>
            <pc:sldMk cId="1370836176" sldId="285"/>
            <ac:inkMk id="11" creationId="{CD938533-7A20-56D7-D9F3-973046E4A69F}"/>
          </ac:inkMkLst>
        </pc:inkChg>
        <pc:inkChg chg="add mod">
          <ac:chgData name="Aniket Chhabra" userId="598e0514-bef3-4e71-b6aa-f2edd6441cff" providerId="ADAL" clId="{7299E33A-FE09-9D4F-B2AA-68E1D4D3DAE6}" dt="2022-06-26T06:17:32.730" v="8"/>
          <ac:inkMkLst>
            <pc:docMk/>
            <pc:sldMk cId="1370836176" sldId="285"/>
            <ac:inkMk id="12" creationId="{9872F2CC-F001-6AB2-B0A7-EF6C64E72E53}"/>
          </ac:inkMkLst>
        </pc:inkChg>
        <pc:inkChg chg="add mod">
          <ac:chgData name="Aniket Chhabra" userId="598e0514-bef3-4e71-b6aa-f2edd6441cff" providerId="ADAL" clId="{7299E33A-FE09-9D4F-B2AA-68E1D4D3DAE6}" dt="2022-06-26T06:22:26.715" v="85"/>
          <ac:inkMkLst>
            <pc:docMk/>
            <pc:sldMk cId="1370836176" sldId="285"/>
            <ac:inkMk id="14" creationId="{F5A4A43E-FD2A-A778-BF6F-D78134E1D57B}"/>
          </ac:inkMkLst>
        </pc:inkChg>
        <pc:inkChg chg="add mod">
          <ac:chgData name="Aniket Chhabra" userId="598e0514-bef3-4e71-b6aa-f2edd6441cff" providerId="ADAL" clId="{7299E33A-FE09-9D4F-B2AA-68E1D4D3DAE6}" dt="2022-06-26T06:22:26.715" v="85"/>
          <ac:inkMkLst>
            <pc:docMk/>
            <pc:sldMk cId="1370836176" sldId="285"/>
            <ac:inkMk id="15" creationId="{CF79E4CB-ED0D-72B5-CD45-9976E2916A50}"/>
          </ac:inkMkLst>
        </pc:inkChg>
        <pc:inkChg chg="add mod">
          <ac:chgData name="Aniket Chhabra" userId="598e0514-bef3-4e71-b6aa-f2edd6441cff" providerId="ADAL" clId="{7299E33A-FE09-9D4F-B2AA-68E1D4D3DAE6}" dt="2022-06-26T06:22:26.715" v="85"/>
          <ac:inkMkLst>
            <pc:docMk/>
            <pc:sldMk cId="1370836176" sldId="285"/>
            <ac:inkMk id="18" creationId="{1B734B26-0796-AD1C-7E09-9862D6F7ABD5}"/>
          </ac:inkMkLst>
        </pc:inkChg>
        <pc:inkChg chg="add mod">
          <ac:chgData name="Aniket Chhabra" userId="598e0514-bef3-4e71-b6aa-f2edd6441cff" providerId="ADAL" clId="{7299E33A-FE09-9D4F-B2AA-68E1D4D3DAE6}" dt="2022-06-26T06:22:26.715" v="85"/>
          <ac:inkMkLst>
            <pc:docMk/>
            <pc:sldMk cId="1370836176" sldId="285"/>
            <ac:inkMk id="20" creationId="{43F8D53B-36B1-5467-4CD0-C1533AFF4617}"/>
          </ac:inkMkLst>
        </pc:inkChg>
        <pc:inkChg chg="add mod">
          <ac:chgData name="Aniket Chhabra" userId="598e0514-bef3-4e71-b6aa-f2edd6441cff" providerId="ADAL" clId="{7299E33A-FE09-9D4F-B2AA-68E1D4D3DAE6}" dt="2022-06-26T06:22:26.715" v="85"/>
          <ac:inkMkLst>
            <pc:docMk/>
            <pc:sldMk cId="1370836176" sldId="285"/>
            <ac:inkMk id="22" creationId="{ADDD66B5-6B2B-99BD-9A6D-13A6E20343CD}"/>
          </ac:inkMkLst>
        </pc:inkChg>
        <pc:inkChg chg="add mod">
          <ac:chgData name="Aniket Chhabra" userId="598e0514-bef3-4e71-b6aa-f2edd6441cff" providerId="ADAL" clId="{7299E33A-FE09-9D4F-B2AA-68E1D4D3DAE6}" dt="2022-06-26T06:22:26.715" v="85"/>
          <ac:inkMkLst>
            <pc:docMk/>
            <pc:sldMk cId="1370836176" sldId="285"/>
            <ac:inkMk id="23" creationId="{99158ADB-BE7B-3B29-D079-759340FA1209}"/>
          </ac:inkMkLst>
        </pc:inkChg>
      </pc:sldChg>
      <pc:sldChg chg="addSp delSp modSp mod">
        <pc:chgData name="Aniket Chhabra" userId="598e0514-bef3-4e71-b6aa-f2edd6441cff" providerId="ADAL" clId="{7299E33A-FE09-9D4F-B2AA-68E1D4D3DAE6}" dt="2022-06-26T06:42:30.856" v="394"/>
        <pc:sldMkLst>
          <pc:docMk/>
          <pc:sldMk cId="3090271849" sldId="287"/>
        </pc:sldMkLst>
        <pc:grpChg chg="del mod">
          <ac:chgData name="Aniket Chhabra" userId="598e0514-bef3-4e71-b6aa-f2edd6441cff" providerId="ADAL" clId="{7299E33A-FE09-9D4F-B2AA-68E1D4D3DAE6}" dt="2022-06-26T06:29:28.243" v="142"/>
          <ac:grpSpMkLst>
            <pc:docMk/>
            <pc:sldMk cId="3090271849" sldId="287"/>
            <ac:grpSpMk id="23" creationId="{D1B9A2E6-4B8B-60BB-B66D-4AFC6923E3C6}"/>
          </ac:grpSpMkLst>
        </pc:grpChg>
        <pc:grpChg chg="del mod">
          <ac:chgData name="Aniket Chhabra" userId="598e0514-bef3-4e71-b6aa-f2edd6441cff" providerId="ADAL" clId="{7299E33A-FE09-9D4F-B2AA-68E1D4D3DAE6}" dt="2022-06-26T06:29:28.243" v="142"/>
          <ac:grpSpMkLst>
            <pc:docMk/>
            <pc:sldMk cId="3090271849" sldId="287"/>
            <ac:grpSpMk id="24" creationId="{79A43270-5B58-31D1-8D7D-48AA16C1A403}"/>
          </ac:grpSpMkLst>
        </pc:grpChg>
        <pc:grpChg chg="del mod">
          <ac:chgData name="Aniket Chhabra" userId="598e0514-bef3-4e71-b6aa-f2edd6441cff" providerId="ADAL" clId="{7299E33A-FE09-9D4F-B2AA-68E1D4D3DAE6}" dt="2022-06-26T06:29:28.243" v="142"/>
          <ac:grpSpMkLst>
            <pc:docMk/>
            <pc:sldMk cId="3090271849" sldId="287"/>
            <ac:grpSpMk id="25" creationId="{8DED40BF-BF5F-750D-D8F5-90DB7B5F1257}"/>
          </ac:grpSpMkLst>
        </pc:grpChg>
        <pc:grpChg chg="del mod">
          <ac:chgData name="Aniket Chhabra" userId="598e0514-bef3-4e71-b6aa-f2edd6441cff" providerId="ADAL" clId="{7299E33A-FE09-9D4F-B2AA-68E1D4D3DAE6}" dt="2022-06-26T06:30:22.038" v="171"/>
          <ac:grpSpMkLst>
            <pc:docMk/>
            <pc:sldMk cId="3090271849" sldId="287"/>
            <ac:grpSpMk id="37" creationId="{1F35D88B-C506-C101-AE4C-9E4839C1E0BC}"/>
          </ac:grpSpMkLst>
        </pc:grpChg>
        <pc:grpChg chg="del mod">
          <ac:chgData name="Aniket Chhabra" userId="598e0514-bef3-4e71-b6aa-f2edd6441cff" providerId="ADAL" clId="{7299E33A-FE09-9D4F-B2AA-68E1D4D3DAE6}" dt="2022-06-26T06:29:37.221" v="153"/>
          <ac:grpSpMkLst>
            <pc:docMk/>
            <pc:sldMk cId="3090271849" sldId="287"/>
            <ac:grpSpMk id="38" creationId="{8591B4D8-8DFD-C77E-02F9-4AD95D96D961}"/>
          </ac:grpSpMkLst>
        </pc:grpChg>
        <pc:grpChg chg="del mod">
          <ac:chgData name="Aniket Chhabra" userId="598e0514-bef3-4e71-b6aa-f2edd6441cff" providerId="ADAL" clId="{7299E33A-FE09-9D4F-B2AA-68E1D4D3DAE6}" dt="2022-06-26T06:29:05.622" v="122"/>
          <ac:grpSpMkLst>
            <pc:docMk/>
            <pc:sldMk cId="3090271849" sldId="287"/>
            <ac:grpSpMk id="42" creationId="{001CC2E0-D8F0-12CB-ED91-D316D7CBA212}"/>
          </ac:grpSpMkLst>
        </pc:grpChg>
        <pc:grpChg chg="del mod">
          <ac:chgData name="Aniket Chhabra" userId="598e0514-bef3-4e71-b6aa-f2edd6441cff" providerId="ADAL" clId="{7299E33A-FE09-9D4F-B2AA-68E1D4D3DAE6}" dt="2022-06-26T06:29:09.714" v="131"/>
          <ac:grpSpMkLst>
            <pc:docMk/>
            <pc:sldMk cId="3090271849" sldId="287"/>
            <ac:grpSpMk id="44" creationId="{60843D03-488D-B1C1-544E-7A6741990955}"/>
          </ac:grpSpMkLst>
        </pc:grpChg>
        <pc:grpChg chg="del mod">
          <ac:chgData name="Aniket Chhabra" userId="598e0514-bef3-4e71-b6aa-f2edd6441cff" providerId="ADAL" clId="{7299E33A-FE09-9D4F-B2AA-68E1D4D3DAE6}" dt="2022-06-26T06:29:11.060" v="134"/>
          <ac:grpSpMkLst>
            <pc:docMk/>
            <pc:sldMk cId="3090271849" sldId="287"/>
            <ac:grpSpMk id="53" creationId="{FE618872-4D52-FFAA-47B5-2C3598DB646B}"/>
          </ac:grpSpMkLst>
        </pc:grpChg>
        <pc:grpChg chg="del mod">
          <ac:chgData name="Aniket Chhabra" userId="598e0514-bef3-4e71-b6aa-f2edd6441cff" providerId="ADAL" clId="{7299E33A-FE09-9D4F-B2AA-68E1D4D3DAE6}" dt="2022-06-26T06:29:24.774" v="136"/>
          <ac:grpSpMkLst>
            <pc:docMk/>
            <pc:sldMk cId="3090271849" sldId="287"/>
            <ac:grpSpMk id="56" creationId="{E4719D65-9716-A802-BB91-D01B2F3DF339}"/>
          </ac:grpSpMkLst>
        </pc:grpChg>
        <pc:grpChg chg="del mod">
          <ac:chgData name="Aniket Chhabra" userId="598e0514-bef3-4e71-b6aa-f2edd6441cff" providerId="ADAL" clId="{7299E33A-FE09-9D4F-B2AA-68E1D4D3DAE6}" dt="2022-06-26T06:29:28.243" v="142"/>
          <ac:grpSpMkLst>
            <pc:docMk/>
            <pc:sldMk cId="3090271849" sldId="287"/>
            <ac:grpSpMk id="58" creationId="{A928FF47-E685-52DA-E2FE-5B8AA7572A5E}"/>
          </ac:grpSpMkLst>
        </pc:grpChg>
        <pc:grpChg chg="del mod">
          <ac:chgData name="Aniket Chhabra" userId="598e0514-bef3-4e71-b6aa-f2edd6441cff" providerId="ADAL" clId="{7299E33A-FE09-9D4F-B2AA-68E1D4D3DAE6}" dt="2022-06-26T06:29:29.254" v="144"/>
          <ac:grpSpMkLst>
            <pc:docMk/>
            <pc:sldMk cId="3090271849" sldId="287"/>
            <ac:grpSpMk id="64" creationId="{942EEEDB-58B4-382D-CB96-1DC7119B52E1}"/>
          </ac:grpSpMkLst>
        </pc:grpChg>
        <pc:grpChg chg="del mod">
          <ac:chgData name="Aniket Chhabra" userId="598e0514-bef3-4e71-b6aa-f2edd6441cff" providerId="ADAL" clId="{7299E33A-FE09-9D4F-B2AA-68E1D4D3DAE6}" dt="2022-06-26T06:29:49.004" v="158"/>
          <ac:grpSpMkLst>
            <pc:docMk/>
            <pc:sldMk cId="3090271849" sldId="287"/>
            <ac:grpSpMk id="66" creationId="{BDCD7F4A-6FFA-CE42-49BC-373C250EA76E}"/>
          </ac:grpSpMkLst>
        </pc:grpChg>
        <pc:grpChg chg="del mod">
          <ac:chgData name="Aniket Chhabra" userId="598e0514-bef3-4e71-b6aa-f2edd6441cff" providerId="ADAL" clId="{7299E33A-FE09-9D4F-B2AA-68E1D4D3DAE6}" dt="2022-06-26T06:30:29.376" v="209"/>
          <ac:grpSpMkLst>
            <pc:docMk/>
            <pc:sldMk cId="3090271849" sldId="287"/>
            <ac:grpSpMk id="75" creationId="{45B27F96-8341-761B-A21C-18ACCAB00C19}"/>
          </ac:grpSpMkLst>
        </pc:grpChg>
        <pc:grpChg chg="del mod">
          <ac:chgData name="Aniket Chhabra" userId="598e0514-bef3-4e71-b6aa-f2edd6441cff" providerId="ADAL" clId="{7299E33A-FE09-9D4F-B2AA-68E1D4D3DAE6}" dt="2022-06-26T06:29:53.074" v="160"/>
          <ac:grpSpMkLst>
            <pc:docMk/>
            <pc:sldMk cId="3090271849" sldId="287"/>
            <ac:grpSpMk id="80" creationId="{35A90739-4EFB-F768-2CB7-863988D73ABD}"/>
          </ac:grpSpMkLst>
        </pc:grpChg>
        <pc:grpChg chg="del mod">
          <ac:chgData name="Aniket Chhabra" userId="598e0514-bef3-4e71-b6aa-f2edd6441cff" providerId="ADAL" clId="{7299E33A-FE09-9D4F-B2AA-68E1D4D3DAE6}" dt="2022-06-26T06:30:30.453" v="215"/>
          <ac:grpSpMkLst>
            <pc:docMk/>
            <pc:sldMk cId="3090271849" sldId="287"/>
            <ac:grpSpMk id="82" creationId="{9A1B8E91-DC46-C214-BDF1-7C9C425180F5}"/>
          </ac:grpSpMkLst>
        </pc:grpChg>
        <pc:grpChg chg="del mod">
          <ac:chgData name="Aniket Chhabra" userId="598e0514-bef3-4e71-b6aa-f2edd6441cff" providerId="ADAL" clId="{7299E33A-FE09-9D4F-B2AA-68E1D4D3DAE6}" dt="2022-06-26T06:40:16.367" v="342"/>
          <ac:grpSpMkLst>
            <pc:docMk/>
            <pc:sldMk cId="3090271849" sldId="287"/>
            <ac:grpSpMk id="101" creationId="{58862579-99C7-3603-9D52-7EFF2FA2DB6D}"/>
          </ac:grpSpMkLst>
        </pc:grpChg>
        <pc:grpChg chg="mod">
          <ac:chgData name="Aniket Chhabra" userId="598e0514-bef3-4e71-b6aa-f2edd6441cff" providerId="ADAL" clId="{7299E33A-FE09-9D4F-B2AA-68E1D4D3DAE6}" dt="2022-06-26T06:40:12.130" v="338"/>
          <ac:grpSpMkLst>
            <pc:docMk/>
            <pc:sldMk cId="3090271849" sldId="287"/>
            <ac:grpSpMk id="102" creationId="{2A9359A2-A59F-AF59-80B5-875425F7E612}"/>
          </ac:grpSpMkLst>
        </pc:grpChg>
        <pc:grpChg chg="add del mod">
          <ac:chgData name="Aniket Chhabra" userId="598e0514-bef3-4e71-b6aa-f2edd6441cff" providerId="ADAL" clId="{7299E33A-FE09-9D4F-B2AA-68E1D4D3DAE6}" dt="2022-06-26T06:42:30.856" v="394"/>
          <ac:grpSpMkLst>
            <pc:docMk/>
            <pc:sldMk cId="3090271849" sldId="287"/>
            <ac:grpSpMk id="106" creationId="{308F6AF8-E750-41C3-4AAD-1A09F2D010FD}"/>
          </ac:grpSpMkLst>
        </pc:grpChg>
        <pc:grpChg chg="mod">
          <ac:chgData name="Aniket Chhabra" userId="598e0514-bef3-4e71-b6aa-f2edd6441cff" providerId="ADAL" clId="{7299E33A-FE09-9D4F-B2AA-68E1D4D3DAE6}" dt="2022-06-26T06:42:30.856" v="394"/>
          <ac:grpSpMkLst>
            <pc:docMk/>
            <pc:sldMk cId="3090271849" sldId="287"/>
            <ac:grpSpMk id="109" creationId="{290A93F5-C66C-FE75-99DA-F5EEEE7376CB}"/>
          </ac:grpSpMkLst>
        </pc:grpChg>
        <pc:inkChg chg="mod">
          <ac:chgData name="Aniket Chhabra" userId="598e0514-bef3-4e71-b6aa-f2edd6441cff" providerId="ADAL" clId="{7299E33A-FE09-9D4F-B2AA-68E1D4D3DAE6}" dt="2022-06-26T06:31:04.283" v="225"/>
          <ac:inkMkLst>
            <pc:docMk/>
            <pc:sldMk cId="3090271849" sldId="287"/>
            <ac:inkMk id="5" creationId="{39C4B4CB-475D-4577-8D4C-1E631B792AB1}"/>
          </ac:inkMkLst>
        </pc:inkChg>
        <pc:inkChg chg="del mod">
          <ac:chgData name="Aniket Chhabra" userId="598e0514-bef3-4e71-b6aa-f2edd6441cff" providerId="ADAL" clId="{7299E33A-FE09-9D4F-B2AA-68E1D4D3DAE6}" dt="2022-06-26T06:30:40.476" v="221"/>
          <ac:inkMkLst>
            <pc:docMk/>
            <pc:sldMk cId="3090271849" sldId="287"/>
            <ac:inkMk id="7" creationId="{555A77E7-6DC1-49C3-AA49-9CD9EBF7A5EB}"/>
          </ac:inkMkLst>
        </pc:inkChg>
        <pc:inkChg chg="del mod">
          <ac:chgData name="Aniket Chhabra" userId="598e0514-bef3-4e71-b6aa-f2edd6441cff" providerId="ADAL" clId="{7299E33A-FE09-9D4F-B2AA-68E1D4D3DAE6}" dt="2022-06-26T06:31:04.282" v="223"/>
          <ac:inkMkLst>
            <pc:docMk/>
            <pc:sldMk cId="3090271849" sldId="287"/>
            <ac:inkMk id="8" creationId="{57FEE3E4-8698-465E-A216-EFBC35F62B64}"/>
          </ac:inkMkLst>
        </pc:inkChg>
        <pc:inkChg chg="mod">
          <ac:chgData name="Aniket Chhabra" userId="598e0514-bef3-4e71-b6aa-f2edd6441cff" providerId="ADAL" clId="{7299E33A-FE09-9D4F-B2AA-68E1D4D3DAE6}" dt="2022-06-26T06:31:04.283" v="226"/>
          <ac:inkMkLst>
            <pc:docMk/>
            <pc:sldMk cId="3090271849" sldId="287"/>
            <ac:inkMk id="9" creationId="{BFCE0D6D-0FE0-492F-B186-0A467E584764}"/>
          </ac:inkMkLst>
        </pc:inkChg>
        <pc:inkChg chg="add del mod">
          <ac:chgData name="Aniket Chhabra" userId="598e0514-bef3-4e71-b6aa-f2edd6441cff" providerId="ADAL" clId="{7299E33A-FE09-9D4F-B2AA-68E1D4D3DAE6}" dt="2022-06-26T06:30:29.376" v="204"/>
          <ac:inkMkLst>
            <pc:docMk/>
            <pc:sldMk cId="3090271849" sldId="287"/>
            <ac:inkMk id="10" creationId="{2C625612-DBDA-CB6D-32DA-C057D591FA95}"/>
          </ac:inkMkLst>
        </pc:inkChg>
        <pc:inkChg chg="add del mod">
          <ac:chgData name="Aniket Chhabra" userId="598e0514-bef3-4e71-b6aa-f2edd6441cff" providerId="ADAL" clId="{7299E33A-FE09-9D4F-B2AA-68E1D4D3DAE6}" dt="2022-06-26T06:30:29.371" v="178"/>
          <ac:inkMkLst>
            <pc:docMk/>
            <pc:sldMk cId="3090271849" sldId="287"/>
            <ac:inkMk id="11" creationId="{F1A743F8-F23E-A3F1-EE4F-9C6432280D25}"/>
          </ac:inkMkLst>
        </pc:inkChg>
        <pc:inkChg chg="add del mod">
          <ac:chgData name="Aniket Chhabra" userId="598e0514-bef3-4e71-b6aa-f2edd6441cff" providerId="ADAL" clId="{7299E33A-FE09-9D4F-B2AA-68E1D4D3DAE6}" dt="2022-06-26T06:30:29.374" v="195"/>
          <ac:inkMkLst>
            <pc:docMk/>
            <pc:sldMk cId="3090271849" sldId="287"/>
            <ac:inkMk id="12" creationId="{2ECF3DE1-1F84-3EC6-0270-48370CCD64C1}"/>
          </ac:inkMkLst>
        </pc:inkChg>
        <pc:inkChg chg="add del mod">
          <ac:chgData name="Aniket Chhabra" userId="598e0514-bef3-4e71-b6aa-f2edd6441cff" providerId="ADAL" clId="{7299E33A-FE09-9D4F-B2AA-68E1D4D3DAE6}" dt="2022-06-26T06:30:29.373" v="189"/>
          <ac:inkMkLst>
            <pc:docMk/>
            <pc:sldMk cId="3090271849" sldId="287"/>
            <ac:inkMk id="13" creationId="{D75AFC05-852F-FDAF-F42F-91F6657F9FBE}"/>
          </ac:inkMkLst>
        </pc:inkChg>
        <pc:inkChg chg="add del mod">
          <ac:chgData name="Aniket Chhabra" userId="598e0514-bef3-4e71-b6aa-f2edd6441cff" providerId="ADAL" clId="{7299E33A-FE09-9D4F-B2AA-68E1D4D3DAE6}" dt="2022-06-26T06:30:29.375" v="200"/>
          <ac:inkMkLst>
            <pc:docMk/>
            <pc:sldMk cId="3090271849" sldId="287"/>
            <ac:inkMk id="14" creationId="{5534E12F-5FE9-646C-589F-4BBD76A2AE3C}"/>
          </ac:inkMkLst>
        </pc:inkChg>
        <pc:inkChg chg="add del mod">
          <ac:chgData name="Aniket Chhabra" userId="598e0514-bef3-4e71-b6aa-f2edd6441cff" providerId="ADAL" clId="{7299E33A-FE09-9D4F-B2AA-68E1D4D3DAE6}" dt="2022-06-26T06:30:29.375" v="203"/>
          <ac:inkMkLst>
            <pc:docMk/>
            <pc:sldMk cId="3090271849" sldId="287"/>
            <ac:inkMk id="16" creationId="{2ACA0395-E72E-51DF-64D0-215A35BBA906}"/>
          </ac:inkMkLst>
        </pc:inkChg>
        <pc:inkChg chg="add del mod">
          <ac:chgData name="Aniket Chhabra" userId="598e0514-bef3-4e71-b6aa-f2edd6441cff" providerId="ADAL" clId="{7299E33A-FE09-9D4F-B2AA-68E1D4D3DAE6}" dt="2022-06-26T06:30:29.372" v="181"/>
          <ac:inkMkLst>
            <pc:docMk/>
            <pc:sldMk cId="3090271849" sldId="287"/>
            <ac:inkMk id="17" creationId="{9AC6F4EB-5984-1987-1C11-C53B9B0C2FC2}"/>
          </ac:inkMkLst>
        </pc:inkChg>
        <pc:inkChg chg="add del mod">
          <ac:chgData name="Aniket Chhabra" userId="598e0514-bef3-4e71-b6aa-f2edd6441cff" providerId="ADAL" clId="{7299E33A-FE09-9D4F-B2AA-68E1D4D3DAE6}" dt="2022-06-26T06:30:29.374" v="196"/>
          <ac:inkMkLst>
            <pc:docMk/>
            <pc:sldMk cId="3090271849" sldId="287"/>
            <ac:inkMk id="20" creationId="{CD0D3130-1F7A-9C1E-8C26-5AE6566870F1}"/>
          </ac:inkMkLst>
        </pc:inkChg>
        <pc:inkChg chg="add del mod">
          <ac:chgData name="Aniket Chhabra" userId="598e0514-bef3-4e71-b6aa-f2edd6441cff" providerId="ADAL" clId="{7299E33A-FE09-9D4F-B2AA-68E1D4D3DAE6}" dt="2022-06-26T06:30:29.377" v="212"/>
          <ac:inkMkLst>
            <pc:docMk/>
            <pc:sldMk cId="3090271849" sldId="287"/>
            <ac:inkMk id="21" creationId="{B15B651D-5DC9-61EB-3BE5-1E5FB06FE5AB}"/>
          </ac:inkMkLst>
        </pc:inkChg>
        <pc:inkChg chg="add del mod">
          <ac:chgData name="Aniket Chhabra" userId="598e0514-bef3-4e71-b6aa-f2edd6441cff" providerId="ADAL" clId="{7299E33A-FE09-9D4F-B2AA-68E1D4D3DAE6}" dt="2022-06-26T06:30:29.374" v="193"/>
          <ac:inkMkLst>
            <pc:docMk/>
            <pc:sldMk cId="3090271849" sldId="287"/>
            <ac:inkMk id="22" creationId="{A2DB04C0-E656-6F3C-EFBA-BAD620C8BCB1}"/>
          </ac:inkMkLst>
        </pc:inkChg>
        <pc:inkChg chg="add del mod">
          <ac:chgData name="Aniket Chhabra" userId="598e0514-bef3-4e71-b6aa-f2edd6441cff" providerId="ADAL" clId="{7299E33A-FE09-9D4F-B2AA-68E1D4D3DAE6}" dt="2022-06-26T06:30:22.035" v="162"/>
          <ac:inkMkLst>
            <pc:docMk/>
            <pc:sldMk cId="3090271849" sldId="287"/>
            <ac:inkMk id="26" creationId="{5EB2720A-DDFB-20F9-D34D-CB3BC6EB8CC3}"/>
          </ac:inkMkLst>
        </pc:inkChg>
        <pc:inkChg chg="add del mod">
          <ac:chgData name="Aniket Chhabra" userId="598e0514-bef3-4e71-b6aa-f2edd6441cff" providerId="ADAL" clId="{7299E33A-FE09-9D4F-B2AA-68E1D4D3DAE6}" dt="2022-06-26T06:30:22.037" v="166"/>
          <ac:inkMkLst>
            <pc:docMk/>
            <pc:sldMk cId="3090271849" sldId="287"/>
            <ac:inkMk id="27" creationId="{6994CEB7-DE0C-AFC6-A635-2AE19247F015}"/>
          </ac:inkMkLst>
        </pc:inkChg>
        <pc:inkChg chg="add del mod">
          <ac:chgData name="Aniket Chhabra" userId="598e0514-bef3-4e71-b6aa-f2edd6441cff" providerId="ADAL" clId="{7299E33A-FE09-9D4F-B2AA-68E1D4D3DAE6}" dt="2022-06-26T06:30:22.039" v="172"/>
          <ac:inkMkLst>
            <pc:docMk/>
            <pc:sldMk cId="3090271849" sldId="287"/>
            <ac:inkMk id="28" creationId="{7BC3059B-D643-0DBE-1A4E-159B4C1227EF}"/>
          </ac:inkMkLst>
        </pc:inkChg>
        <pc:inkChg chg="add del mod">
          <ac:chgData name="Aniket Chhabra" userId="598e0514-bef3-4e71-b6aa-f2edd6441cff" providerId="ADAL" clId="{7299E33A-FE09-9D4F-B2AA-68E1D4D3DAE6}" dt="2022-06-26T06:30:22.038" v="170"/>
          <ac:inkMkLst>
            <pc:docMk/>
            <pc:sldMk cId="3090271849" sldId="287"/>
            <ac:inkMk id="29" creationId="{2F08480B-E097-7622-562D-07F2290821A8}"/>
          </ac:inkMkLst>
        </pc:inkChg>
        <pc:inkChg chg="add del mod">
          <ac:chgData name="Aniket Chhabra" userId="598e0514-bef3-4e71-b6aa-f2edd6441cff" providerId="ADAL" clId="{7299E33A-FE09-9D4F-B2AA-68E1D4D3DAE6}" dt="2022-06-26T06:30:22.039" v="174"/>
          <ac:inkMkLst>
            <pc:docMk/>
            <pc:sldMk cId="3090271849" sldId="287"/>
            <ac:inkMk id="30" creationId="{9B55BA7C-9082-9478-E36A-067703A0C000}"/>
          </ac:inkMkLst>
        </pc:inkChg>
        <pc:inkChg chg="add del mod">
          <ac:chgData name="Aniket Chhabra" userId="598e0514-bef3-4e71-b6aa-f2edd6441cff" providerId="ADAL" clId="{7299E33A-FE09-9D4F-B2AA-68E1D4D3DAE6}" dt="2022-06-26T06:30:22.036" v="163"/>
          <ac:inkMkLst>
            <pc:docMk/>
            <pc:sldMk cId="3090271849" sldId="287"/>
            <ac:inkMk id="31" creationId="{98C176E6-5E06-FAFA-5414-B8A0A91866FA}"/>
          </ac:inkMkLst>
        </pc:inkChg>
        <pc:inkChg chg="add del mod">
          <ac:chgData name="Aniket Chhabra" userId="598e0514-bef3-4e71-b6aa-f2edd6441cff" providerId="ADAL" clId="{7299E33A-FE09-9D4F-B2AA-68E1D4D3DAE6}" dt="2022-06-26T06:30:22.038" v="171"/>
          <ac:inkMkLst>
            <pc:docMk/>
            <pc:sldMk cId="3090271849" sldId="287"/>
            <ac:inkMk id="32" creationId="{8D066A24-9C92-3205-EB07-9B6A52A7D8A4}"/>
          </ac:inkMkLst>
        </pc:inkChg>
        <pc:inkChg chg="add del mod">
          <ac:chgData name="Aniket Chhabra" userId="598e0514-bef3-4e71-b6aa-f2edd6441cff" providerId="ADAL" clId="{7299E33A-FE09-9D4F-B2AA-68E1D4D3DAE6}" dt="2022-06-26T06:30:22.038" v="169"/>
          <ac:inkMkLst>
            <pc:docMk/>
            <pc:sldMk cId="3090271849" sldId="287"/>
            <ac:inkMk id="33" creationId="{31B8399B-18D8-49A6-67F8-13922394CF44}"/>
          </ac:inkMkLst>
        </pc:inkChg>
        <pc:inkChg chg="add del mod">
          <ac:chgData name="Aniket Chhabra" userId="598e0514-bef3-4e71-b6aa-f2edd6441cff" providerId="ADAL" clId="{7299E33A-FE09-9D4F-B2AA-68E1D4D3DAE6}" dt="2022-06-26T06:30:22.038" v="167"/>
          <ac:inkMkLst>
            <pc:docMk/>
            <pc:sldMk cId="3090271849" sldId="287"/>
            <ac:inkMk id="34" creationId="{CA06CF06-09EA-A719-66E1-0435073E036E}"/>
          </ac:inkMkLst>
        </pc:inkChg>
        <pc:inkChg chg="add del mod">
          <ac:chgData name="Aniket Chhabra" userId="598e0514-bef3-4e71-b6aa-f2edd6441cff" providerId="ADAL" clId="{7299E33A-FE09-9D4F-B2AA-68E1D4D3DAE6}" dt="2022-06-26T06:30:22.037" v="165"/>
          <ac:inkMkLst>
            <pc:docMk/>
            <pc:sldMk cId="3090271849" sldId="287"/>
            <ac:inkMk id="35" creationId="{FBEBE8C3-469B-3FE8-7E34-64CD131EC44F}"/>
          </ac:inkMkLst>
        </pc:inkChg>
        <pc:inkChg chg="add del mod">
          <ac:chgData name="Aniket Chhabra" userId="598e0514-bef3-4e71-b6aa-f2edd6441cff" providerId="ADAL" clId="{7299E33A-FE09-9D4F-B2AA-68E1D4D3DAE6}" dt="2022-06-26T06:30:22.037" v="164"/>
          <ac:inkMkLst>
            <pc:docMk/>
            <pc:sldMk cId="3090271849" sldId="287"/>
            <ac:inkMk id="36" creationId="{2DA72BE4-3388-A55E-2AB9-AE9D389C3F3E}"/>
          </ac:inkMkLst>
        </pc:inkChg>
        <pc:inkChg chg="add del">
          <ac:chgData name="Aniket Chhabra" userId="598e0514-bef3-4e71-b6aa-f2edd6441cff" providerId="ADAL" clId="{7299E33A-FE09-9D4F-B2AA-68E1D4D3DAE6}" dt="2022-06-26T06:31:04.284" v="227"/>
          <ac:inkMkLst>
            <pc:docMk/>
            <pc:sldMk cId="3090271849" sldId="287"/>
            <ac:inkMk id="39" creationId="{CD57F431-7111-4588-9C44-3BE89B49B39E}"/>
          </ac:inkMkLst>
        </pc:inkChg>
        <pc:inkChg chg="add del mod">
          <ac:chgData name="Aniket Chhabra" userId="598e0514-bef3-4e71-b6aa-f2edd6441cff" providerId="ADAL" clId="{7299E33A-FE09-9D4F-B2AA-68E1D4D3DAE6}" dt="2022-06-26T06:30:29.376" v="208"/>
          <ac:inkMkLst>
            <pc:docMk/>
            <pc:sldMk cId="3090271849" sldId="287"/>
            <ac:inkMk id="40" creationId="{BAF5AEAC-E454-44E7-8785-226E76A9D25F}"/>
          </ac:inkMkLst>
        </pc:inkChg>
        <pc:inkChg chg="add del mod">
          <ac:chgData name="Aniket Chhabra" userId="598e0514-bef3-4e71-b6aa-f2edd6441cff" providerId="ADAL" clId="{7299E33A-FE09-9D4F-B2AA-68E1D4D3DAE6}" dt="2022-06-26T06:30:29.375" v="201"/>
          <ac:inkMkLst>
            <pc:docMk/>
            <pc:sldMk cId="3090271849" sldId="287"/>
            <ac:inkMk id="41" creationId="{D17A22D1-6A1C-BC6A-2B2F-1E295B706DEC}"/>
          </ac:inkMkLst>
        </pc:inkChg>
        <pc:inkChg chg="add del mod">
          <ac:chgData name="Aniket Chhabra" userId="598e0514-bef3-4e71-b6aa-f2edd6441cff" providerId="ADAL" clId="{7299E33A-FE09-9D4F-B2AA-68E1D4D3DAE6}" dt="2022-06-26T06:30:29.373" v="187"/>
          <ac:inkMkLst>
            <pc:docMk/>
            <pc:sldMk cId="3090271849" sldId="287"/>
            <ac:inkMk id="43" creationId="{34E27AB0-7633-DC08-0EEE-55B78FECC3E5}"/>
          </ac:inkMkLst>
        </pc:inkChg>
        <pc:inkChg chg="add del mod">
          <ac:chgData name="Aniket Chhabra" userId="598e0514-bef3-4e71-b6aa-f2edd6441cff" providerId="ADAL" clId="{7299E33A-FE09-9D4F-B2AA-68E1D4D3DAE6}" dt="2022-06-26T06:30:29.374" v="192"/>
          <ac:inkMkLst>
            <pc:docMk/>
            <pc:sldMk cId="3090271849" sldId="287"/>
            <ac:inkMk id="45" creationId="{0646DD74-C3EA-7327-AEB1-A65C5BA404EF}"/>
          </ac:inkMkLst>
        </pc:inkChg>
        <pc:inkChg chg="add del mod">
          <ac:chgData name="Aniket Chhabra" userId="598e0514-bef3-4e71-b6aa-f2edd6441cff" providerId="ADAL" clId="{7299E33A-FE09-9D4F-B2AA-68E1D4D3DAE6}" dt="2022-06-26T06:30:29.371" v="180"/>
          <ac:inkMkLst>
            <pc:docMk/>
            <pc:sldMk cId="3090271849" sldId="287"/>
            <ac:inkMk id="46" creationId="{623E71DF-7589-9E36-670B-A239FE883C5C}"/>
          </ac:inkMkLst>
        </pc:inkChg>
        <pc:inkChg chg="add del mod">
          <ac:chgData name="Aniket Chhabra" userId="598e0514-bef3-4e71-b6aa-f2edd6441cff" providerId="ADAL" clId="{7299E33A-FE09-9D4F-B2AA-68E1D4D3DAE6}" dt="2022-06-26T06:30:29.376" v="210"/>
          <ac:inkMkLst>
            <pc:docMk/>
            <pc:sldMk cId="3090271849" sldId="287"/>
            <ac:inkMk id="47" creationId="{4C34137A-2D7D-F131-6044-FFB1970691B8}"/>
          </ac:inkMkLst>
        </pc:inkChg>
        <pc:inkChg chg="add del mod">
          <ac:chgData name="Aniket Chhabra" userId="598e0514-bef3-4e71-b6aa-f2edd6441cff" providerId="ADAL" clId="{7299E33A-FE09-9D4F-B2AA-68E1D4D3DAE6}" dt="2022-06-26T06:30:29.372" v="182"/>
          <ac:inkMkLst>
            <pc:docMk/>
            <pc:sldMk cId="3090271849" sldId="287"/>
            <ac:inkMk id="48" creationId="{1522BEA3-375C-06A4-B5FD-FF3F6C4F0E16}"/>
          </ac:inkMkLst>
        </pc:inkChg>
        <pc:inkChg chg="add del mod">
          <ac:chgData name="Aniket Chhabra" userId="598e0514-bef3-4e71-b6aa-f2edd6441cff" providerId="ADAL" clId="{7299E33A-FE09-9D4F-B2AA-68E1D4D3DAE6}" dt="2022-06-26T06:30:29.364" v="176"/>
          <ac:inkMkLst>
            <pc:docMk/>
            <pc:sldMk cId="3090271849" sldId="287"/>
            <ac:inkMk id="49" creationId="{9E9F8F0D-0790-5242-0AE5-AB6D6D0B0086}"/>
          </ac:inkMkLst>
        </pc:inkChg>
        <pc:inkChg chg="add del mod">
          <ac:chgData name="Aniket Chhabra" userId="598e0514-bef3-4e71-b6aa-f2edd6441cff" providerId="ADAL" clId="{7299E33A-FE09-9D4F-B2AA-68E1D4D3DAE6}" dt="2022-06-26T06:30:29.371" v="179"/>
          <ac:inkMkLst>
            <pc:docMk/>
            <pc:sldMk cId="3090271849" sldId="287"/>
            <ac:inkMk id="50" creationId="{492EB144-573A-DCE4-0463-B4A8F71D5D64}"/>
          </ac:inkMkLst>
        </pc:inkChg>
        <pc:inkChg chg="add del mod">
          <ac:chgData name="Aniket Chhabra" userId="598e0514-bef3-4e71-b6aa-f2edd6441cff" providerId="ADAL" clId="{7299E33A-FE09-9D4F-B2AA-68E1D4D3DAE6}" dt="2022-06-26T06:30:30.453" v="216"/>
          <ac:inkMkLst>
            <pc:docMk/>
            <pc:sldMk cId="3090271849" sldId="287"/>
            <ac:inkMk id="51" creationId="{15301BF3-CAD5-57AE-94CC-6986FD89E69C}"/>
          </ac:inkMkLst>
        </pc:inkChg>
        <pc:inkChg chg="add del mod">
          <ac:chgData name="Aniket Chhabra" userId="598e0514-bef3-4e71-b6aa-f2edd6441cff" providerId="ADAL" clId="{7299E33A-FE09-9D4F-B2AA-68E1D4D3DAE6}" dt="2022-06-26T06:30:30.453" v="215"/>
          <ac:inkMkLst>
            <pc:docMk/>
            <pc:sldMk cId="3090271849" sldId="287"/>
            <ac:inkMk id="52" creationId="{3B9DEA61-EF06-B8D9-F3B1-0E764F556D7F}"/>
          </ac:inkMkLst>
        </pc:inkChg>
        <pc:inkChg chg="add del mod">
          <ac:chgData name="Aniket Chhabra" userId="598e0514-bef3-4e71-b6aa-f2edd6441cff" providerId="ADAL" clId="{7299E33A-FE09-9D4F-B2AA-68E1D4D3DAE6}" dt="2022-06-26T06:30:30.453" v="214"/>
          <ac:inkMkLst>
            <pc:docMk/>
            <pc:sldMk cId="3090271849" sldId="287"/>
            <ac:inkMk id="54" creationId="{8637884A-B07C-2F15-1C9E-6C725077BA24}"/>
          </ac:inkMkLst>
        </pc:inkChg>
        <pc:inkChg chg="add del mod">
          <ac:chgData name="Aniket Chhabra" userId="598e0514-bef3-4e71-b6aa-f2edd6441cff" providerId="ADAL" clId="{7299E33A-FE09-9D4F-B2AA-68E1D4D3DAE6}" dt="2022-06-26T06:30:30.452" v="213"/>
          <ac:inkMkLst>
            <pc:docMk/>
            <pc:sldMk cId="3090271849" sldId="287"/>
            <ac:inkMk id="55" creationId="{D4BC4169-B88A-46E4-40AF-8E4FBFEE7543}"/>
          </ac:inkMkLst>
        </pc:inkChg>
        <pc:inkChg chg="add del mod">
          <ac:chgData name="Aniket Chhabra" userId="598e0514-bef3-4e71-b6aa-f2edd6441cff" providerId="ADAL" clId="{7299E33A-FE09-9D4F-B2AA-68E1D4D3DAE6}" dt="2022-06-26T06:30:29.373" v="186"/>
          <ac:inkMkLst>
            <pc:docMk/>
            <pc:sldMk cId="3090271849" sldId="287"/>
            <ac:inkMk id="57" creationId="{8333B22F-E887-A02F-678B-2839F8767F78}"/>
          </ac:inkMkLst>
        </pc:inkChg>
        <pc:inkChg chg="add del mod">
          <ac:chgData name="Aniket Chhabra" userId="598e0514-bef3-4e71-b6aa-f2edd6441cff" providerId="ADAL" clId="{7299E33A-FE09-9D4F-B2AA-68E1D4D3DAE6}" dt="2022-06-26T06:30:29.376" v="206"/>
          <ac:inkMkLst>
            <pc:docMk/>
            <pc:sldMk cId="3090271849" sldId="287"/>
            <ac:inkMk id="59" creationId="{66C4023C-C684-CB53-B358-52E9CFE1812F}"/>
          </ac:inkMkLst>
        </pc:inkChg>
        <pc:inkChg chg="add del mod">
          <ac:chgData name="Aniket Chhabra" userId="598e0514-bef3-4e71-b6aa-f2edd6441cff" providerId="ADAL" clId="{7299E33A-FE09-9D4F-B2AA-68E1D4D3DAE6}" dt="2022-06-26T06:30:29.372" v="185"/>
          <ac:inkMkLst>
            <pc:docMk/>
            <pc:sldMk cId="3090271849" sldId="287"/>
            <ac:inkMk id="60" creationId="{FDACE52F-2CBB-4327-B1A9-4C5525E4D70C}"/>
          </ac:inkMkLst>
        </pc:inkChg>
        <pc:inkChg chg="add del mod">
          <ac:chgData name="Aniket Chhabra" userId="598e0514-bef3-4e71-b6aa-f2edd6441cff" providerId="ADAL" clId="{7299E33A-FE09-9D4F-B2AA-68E1D4D3DAE6}" dt="2022-06-26T06:30:29.375" v="198"/>
          <ac:inkMkLst>
            <pc:docMk/>
            <pc:sldMk cId="3090271849" sldId="287"/>
            <ac:inkMk id="61" creationId="{EBC3C572-E856-6721-4FB6-0310AFCE8D50}"/>
          </ac:inkMkLst>
        </pc:inkChg>
        <pc:inkChg chg="add del mod">
          <ac:chgData name="Aniket Chhabra" userId="598e0514-bef3-4e71-b6aa-f2edd6441cff" providerId="ADAL" clId="{7299E33A-FE09-9D4F-B2AA-68E1D4D3DAE6}" dt="2022-06-26T06:30:29.372" v="183"/>
          <ac:inkMkLst>
            <pc:docMk/>
            <pc:sldMk cId="3090271849" sldId="287"/>
            <ac:inkMk id="62" creationId="{D42F1AEC-F1AE-4831-BCE3-CBE3DBB23317}"/>
          </ac:inkMkLst>
        </pc:inkChg>
        <pc:inkChg chg="add del mod">
          <ac:chgData name="Aniket Chhabra" userId="598e0514-bef3-4e71-b6aa-f2edd6441cff" providerId="ADAL" clId="{7299E33A-FE09-9D4F-B2AA-68E1D4D3DAE6}" dt="2022-06-26T06:30:29.375" v="199"/>
          <ac:inkMkLst>
            <pc:docMk/>
            <pc:sldMk cId="3090271849" sldId="287"/>
            <ac:inkMk id="63" creationId="{E623B99C-7ADD-D3FC-7F48-1032A4C4AA83}"/>
          </ac:inkMkLst>
        </pc:inkChg>
        <pc:inkChg chg="add del mod">
          <ac:chgData name="Aniket Chhabra" userId="598e0514-bef3-4e71-b6aa-f2edd6441cff" providerId="ADAL" clId="{7299E33A-FE09-9D4F-B2AA-68E1D4D3DAE6}" dt="2022-06-26T06:30:29.373" v="191"/>
          <ac:inkMkLst>
            <pc:docMk/>
            <pc:sldMk cId="3090271849" sldId="287"/>
            <ac:inkMk id="65" creationId="{22B840EF-82D2-2CAC-C57F-EAFE32084655}"/>
          </ac:inkMkLst>
        </pc:inkChg>
        <pc:inkChg chg="add del mod">
          <ac:chgData name="Aniket Chhabra" userId="598e0514-bef3-4e71-b6aa-f2edd6441cff" providerId="ADAL" clId="{7299E33A-FE09-9D4F-B2AA-68E1D4D3DAE6}" dt="2022-06-26T06:30:22.038" v="168"/>
          <ac:inkMkLst>
            <pc:docMk/>
            <pc:sldMk cId="3090271849" sldId="287"/>
            <ac:inkMk id="67" creationId="{B1A53FF0-86E8-BCCA-698B-918F82CEC220}"/>
          </ac:inkMkLst>
        </pc:inkChg>
        <pc:inkChg chg="add del mod">
          <ac:chgData name="Aniket Chhabra" userId="598e0514-bef3-4e71-b6aa-f2edd6441cff" providerId="ADAL" clId="{7299E33A-FE09-9D4F-B2AA-68E1D4D3DAE6}" dt="2022-06-26T06:30:22.039" v="175"/>
          <ac:inkMkLst>
            <pc:docMk/>
            <pc:sldMk cId="3090271849" sldId="287"/>
            <ac:inkMk id="68" creationId="{3884319F-B1CA-804B-F064-65C501DA27CE}"/>
          </ac:inkMkLst>
        </pc:inkChg>
        <pc:inkChg chg="add del mod">
          <ac:chgData name="Aniket Chhabra" userId="598e0514-bef3-4e71-b6aa-f2edd6441cff" providerId="ADAL" clId="{7299E33A-FE09-9D4F-B2AA-68E1D4D3DAE6}" dt="2022-06-26T06:30:29.377" v="211"/>
          <ac:inkMkLst>
            <pc:docMk/>
            <pc:sldMk cId="3090271849" sldId="287"/>
            <ac:inkMk id="69" creationId="{49A352CE-9A19-1F15-E626-0D288A8C71D9}"/>
          </ac:inkMkLst>
        </pc:inkChg>
        <pc:inkChg chg="add del mod">
          <ac:chgData name="Aniket Chhabra" userId="598e0514-bef3-4e71-b6aa-f2edd6441cff" providerId="ADAL" clId="{7299E33A-FE09-9D4F-B2AA-68E1D4D3DAE6}" dt="2022-06-26T06:30:29.376" v="209"/>
          <ac:inkMkLst>
            <pc:docMk/>
            <pc:sldMk cId="3090271849" sldId="287"/>
            <ac:inkMk id="70" creationId="{2A970611-306D-A934-A8F1-3BE19966755D}"/>
          </ac:inkMkLst>
        </pc:inkChg>
        <pc:inkChg chg="add del mod">
          <ac:chgData name="Aniket Chhabra" userId="598e0514-bef3-4e71-b6aa-f2edd6441cff" providerId="ADAL" clId="{7299E33A-FE09-9D4F-B2AA-68E1D4D3DAE6}" dt="2022-06-26T06:30:29.375" v="202"/>
          <ac:inkMkLst>
            <pc:docMk/>
            <pc:sldMk cId="3090271849" sldId="287"/>
            <ac:inkMk id="71" creationId="{941785D3-2CBE-A9AC-4868-E444C9EF9EB5}"/>
          </ac:inkMkLst>
        </pc:inkChg>
        <pc:inkChg chg="add del mod">
          <ac:chgData name="Aniket Chhabra" userId="598e0514-bef3-4e71-b6aa-f2edd6441cff" providerId="ADAL" clId="{7299E33A-FE09-9D4F-B2AA-68E1D4D3DAE6}" dt="2022-06-26T06:30:29.374" v="197"/>
          <ac:inkMkLst>
            <pc:docMk/>
            <pc:sldMk cId="3090271849" sldId="287"/>
            <ac:inkMk id="72" creationId="{299DFFA7-CFC6-A472-08A5-D59A0948519B}"/>
          </ac:inkMkLst>
        </pc:inkChg>
        <pc:inkChg chg="add del mod">
          <ac:chgData name="Aniket Chhabra" userId="598e0514-bef3-4e71-b6aa-f2edd6441cff" providerId="ADAL" clId="{7299E33A-FE09-9D4F-B2AA-68E1D4D3DAE6}" dt="2022-06-26T06:30:22.039" v="173"/>
          <ac:inkMkLst>
            <pc:docMk/>
            <pc:sldMk cId="3090271849" sldId="287"/>
            <ac:inkMk id="73" creationId="{4A63C964-6B03-6270-C187-EA3287C53390}"/>
          </ac:inkMkLst>
        </pc:inkChg>
        <pc:inkChg chg="add del mod">
          <ac:chgData name="Aniket Chhabra" userId="598e0514-bef3-4e71-b6aa-f2edd6441cff" providerId="ADAL" clId="{7299E33A-FE09-9D4F-B2AA-68E1D4D3DAE6}" dt="2022-06-26T06:30:29.371" v="177"/>
          <ac:inkMkLst>
            <pc:docMk/>
            <pc:sldMk cId="3090271849" sldId="287"/>
            <ac:inkMk id="74" creationId="{708D8A1D-C170-478E-D7B3-4FD2BC18E462}"/>
          </ac:inkMkLst>
        </pc:inkChg>
        <pc:inkChg chg="add del">
          <ac:chgData name="Aniket Chhabra" userId="598e0514-bef3-4e71-b6aa-f2edd6441cff" providerId="ADAL" clId="{7299E33A-FE09-9D4F-B2AA-68E1D4D3DAE6}" dt="2022-06-26T06:30:55.295" v="222"/>
          <ac:inkMkLst>
            <pc:docMk/>
            <pc:sldMk cId="3090271849" sldId="287"/>
            <ac:inkMk id="76" creationId="{56AE4CDC-287D-E11E-E853-7C7A5E06995E}"/>
          </ac:inkMkLst>
        </pc:inkChg>
        <pc:inkChg chg="add del">
          <ac:chgData name="Aniket Chhabra" userId="598e0514-bef3-4e71-b6aa-f2edd6441cff" providerId="ADAL" clId="{7299E33A-FE09-9D4F-B2AA-68E1D4D3DAE6}" dt="2022-06-26T06:30:29.374" v="194"/>
          <ac:inkMkLst>
            <pc:docMk/>
            <pc:sldMk cId="3090271849" sldId="287"/>
            <ac:inkMk id="77" creationId="{78D1D1D2-F953-0165-2873-6FD6FEB7870A}"/>
          </ac:inkMkLst>
        </pc:inkChg>
        <pc:inkChg chg="add del mod">
          <ac:chgData name="Aniket Chhabra" userId="598e0514-bef3-4e71-b6aa-f2edd6441cff" providerId="ADAL" clId="{7299E33A-FE09-9D4F-B2AA-68E1D4D3DAE6}" dt="2022-06-26T06:30:29.376" v="207"/>
          <ac:inkMkLst>
            <pc:docMk/>
            <pc:sldMk cId="3090271849" sldId="287"/>
            <ac:inkMk id="78" creationId="{ECD808A8-BC8E-6073-3987-6CEB9988AF54}"/>
          </ac:inkMkLst>
        </pc:inkChg>
        <pc:inkChg chg="add del mod">
          <ac:chgData name="Aniket Chhabra" userId="598e0514-bef3-4e71-b6aa-f2edd6441cff" providerId="ADAL" clId="{7299E33A-FE09-9D4F-B2AA-68E1D4D3DAE6}" dt="2022-06-26T06:30:29.373" v="188"/>
          <ac:inkMkLst>
            <pc:docMk/>
            <pc:sldMk cId="3090271849" sldId="287"/>
            <ac:inkMk id="79" creationId="{C02676A3-33B5-B732-B013-92B0129303CE}"/>
          </ac:inkMkLst>
        </pc:inkChg>
        <pc:inkChg chg="add del mod">
          <ac:chgData name="Aniket Chhabra" userId="598e0514-bef3-4e71-b6aa-f2edd6441cff" providerId="ADAL" clId="{7299E33A-FE09-9D4F-B2AA-68E1D4D3DAE6}" dt="2022-06-26T06:30:29.376" v="205"/>
          <ac:inkMkLst>
            <pc:docMk/>
            <pc:sldMk cId="3090271849" sldId="287"/>
            <ac:inkMk id="81" creationId="{1589CB75-5EB0-C266-496D-469413E1D939}"/>
          </ac:inkMkLst>
        </pc:inkChg>
        <pc:inkChg chg="add del">
          <ac:chgData name="Aniket Chhabra" userId="598e0514-bef3-4e71-b6aa-f2edd6441cff" providerId="ADAL" clId="{7299E33A-FE09-9D4F-B2AA-68E1D4D3DAE6}" dt="2022-06-26T06:31:04.283" v="224"/>
          <ac:inkMkLst>
            <pc:docMk/>
            <pc:sldMk cId="3090271849" sldId="287"/>
            <ac:inkMk id="83" creationId="{E5ECC334-D2D7-6214-1489-B87E87147847}"/>
          </ac:inkMkLst>
        </pc:inkChg>
        <pc:inkChg chg="add mod">
          <ac:chgData name="Aniket Chhabra" userId="598e0514-bef3-4e71-b6aa-f2edd6441cff" providerId="ADAL" clId="{7299E33A-FE09-9D4F-B2AA-68E1D4D3DAE6}" dt="2022-06-26T06:40:12.130" v="338"/>
          <ac:inkMkLst>
            <pc:docMk/>
            <pc:sldMk cId="3090271849" sldId="287"/>
            <ac:inkMk id="84" creationId="{B4C6640C-2C22-6B92-90A8-A89E0E262CB2}"/>
          </ac:inkMkLst>
        </pc:inkChg>
        <pc:inkChg chg="add mod">
          <ac:chgData name="Aniket Chhabra" userId="598e0514-bef3-4e71-b6aa-f2edd6441cff" providerId="ADAL" clId="{7299E33A-FE09-9D4F-B2AA-68E1D4D3DAE6}" dt="2022-06-26T06:40:12.130" v="338"/>
          <ac:inkMkLst>
            <pc:docMk/>
            <pc:sldMk cId="3090271849" sldId="287"/>
            <ac:inkMk id="85" creationId="{83CA5CC1-F8D4-8769-FF31-E85A051F2F67}"/>
          </ac:inkMkLst>
        </pc:inkChg>
        <pc:inkChg chg="add mod">
          <ac:chgData name="Aniket Chhabra" userId="598e0514-bef3-4e71-b6aa-f2edd6441cff" providerId="ADAL" clId="{7299E33A-FE09-9D4F-B2AA-68E1D4D3DAE6}" dt="2022-06-26T06:40:12.130" v="338"/>
          <ac:inkMkLst>
            <pc:docMk/>
            <pc:sldMk cId="3090271849" sldId="287"/>
            <ac:inkMk id="86" creationId="{ABDD91E9-E192-9999-9A4C-8CB33F001EAF}"/>
          </ac:inkMkLst>
        </pc:inkChg>
        <pc:inkChg chg="add mod">
          <ac:chgData name="Aniket Chhabra" userId="598e0514-bef3-4e71-b6aa-f2edd6441cff" providerId="ADAL" clId="{7299E33A-FE09-9D4F-B2AA-68E1D4D3DAE6}" dt="2022-06-26T06:40:12.130" v="338"/>
          <ac:inkMkLst>
            <pc:docMk/>
            <pc:sldMk cId="3090271849" sldId="287"/>
            <ac:inkMk id="87" creationId="{983112AA-9651-DB16-0AFE-B91E011F3B1B}"/>
          </ac:inkMkLst>
        </pc:inkChg>
        <pc:inkChg chg="add mod">
          <ac:chgData name="Aniket Chhabra" userId="598e0514-bef3-4e71-b6aa-f2edd6441cff" providerId="ADAL" clId="{7299E33A-FE09-9D4F-B2AA-68E1D4D3DAE6}" dt="2022-06-26T06:40:12.130" v="338"/>
          <ac:inkMkLst>
            <pc:docMk/>
            <pc:sldMk cId="3090271849" sldId="287"/>
            <ac:inkMk id="88" creationId="{4487938F-987A-08E1-3B5B-4A4DA80617C1}"/>
          </ac:inkMkLst>
        </pc:inkChg>
        <pc:inkChg chg="add mod">
          <ac:chgData name="Aniket Chhabra" userId="598e0514-bef3-4e71-b6aa-f2edd6441cff" providerId="ADAL" clId="{7299E33A-FE09-9D4F-B2AA-68E1D4D3DAE6}" dt="2022-06-26T06:40:12.130" v="338"/>
          <ac:inkMkLst>
            <pc:docMk/>
            <pc:sldMk cId="3090271849" sldId="287"/>
            <ac:inkMk id="89" creationId="{23C1950E-673E-548E-20F3-2764E8DCE8D2}"/>
          </ac:inkMkLst>
        </pc:inkChg>
        <pc:inkChg chg="add mod">
          <ac:chgData name="Aniket Chhabra" userId="598e0514-bef3-4e71-b6aa-f2edd6441cff" providerId="ADAL" clId="{7299E33A-FE09-9D4F-B2AA-68E1D4D3DAE6}" dt="2022-06-26T06:40:12.130" v="338"/>
          <ac:inkMkLst>
            <pc:docMk/>
            <pc:sldMk cId="3090271849" sldId="287"/>
            <ac:inkMk id="90" creationId="{919B477E-6A62-B090-5C8A-5F54E3A169DB}"/>
          </ac:inkMkLst>
        </pc:inkChg>
        <pc:inkChg chg="add mod">
          <ac:chgData name="Aniket Chhabra" userId="598e0514-bef3-4e71-b6aa-f2edd6441cff" providerId="ADAL" clId="{7299E33A-FE09-9D4F-B2AA-68E1D4D3DAE6}" dt="2022-06-26T06:42:30.856" v="394"/>
          <ac:inkMkLst>
            <pc:docMk/>
            <pc:sldMk cId="3090271849" sldId="287"/>
            <ac:inkMk id="91" creationId="{7140E39C-E038-BB9C-A4D8-66C2B3F00A07}"/>
          </ac:inkMkLst>
        </pc:inkChg>
        <pc:inkChg chg="add mod">
          <ac:chgData name="Aniket Chhabra" userId="598e0514-bef3-4e71-b6aa-f2edd6441cff" providerId="ADAL" clId="{7299E33A-FE09-9D4F-B2AA-68E1D4D3DAE6}" dt="2022-06-26T06:42:30.856" v="394"/>
          <ac:inkMkLst>
            <pc:docMk/>
            <pc:sldMk cId="3090271849" sldId="287"/>
            <ac:inkMk id="92" creationId="{06E45E15-FF96-ABFA-DF8F-37E8A6FF2A07}"/>
          </ac:inkMkLst>
        </pc:inkChg>
        <pc:inkChg chg="add mod">
          <ac:chgData name="Aniket Chhabra" userId="598e0514-bef3-4e71-b6aa-f2edd6441cff" providerId="ADAL" clId="{7299E33A-FE09-9D4F-B2AA-68E1D4D3DAE6}" dt="2022-06-26T06:42:30.856" v="394"/>
          <ac:inkMkLst>
            <pc:docMk/>
            <pc:sldMk cId="3090271849" sldId="287"/>
            <ac:inkMk id="93" creationId="{2C008A31-41C8-380D-FD4E-43222845D1BF}"/>
          </ac:inkMkLst>
        </pc:inkChg>
        <pc:inkChg chg="add mod">
          <ac:chgData name="Aniket Chhabra" userId="598e0514-bef3-4e71-b6aa-f2edd6441cff" providerId="ADAL" clId="{7299E33A-FE09-9D4F-B2AA-68E1D4D3DAE6}" dt="2022-06-26T06:42:30.856" v="394"/>
          <ac:inkMkLst>
            <pc:docMk/>
            <pc:sldMk cId="3090271849" sldId="287"/>
            <ac:inkMk id="94" creationId="{08BD6651-5543-30D5-DE2B-1FDC6B10B077}"/>
          </ac:inkMkLst>
        </pc:inkChg>
        <pc:inkChg chg="add mod">
          <ac:chgData name="Aniket Chhabra" userId="598e0514-bef3-4e71-b6aa-f2edd6441cff" providerId="ADAL" clId="{7299E33A-FE09-9D4F-B2AA-68E1D4D3DAE6}" dt="2022-06-26T06:42:30.856" v="394"/>
          <ac:inkMkLst>
            <pc:docMk/>
            <pc:sldMk cId="3090271849" sldId="287"/>
            <ac:inkMk id="95" creationId="{F3E5C2FC-17FD-5AD2-984C-FE0F902D7928}"/>
          </ac:inkMkLst>
        </pc:inkChg>
        <pc:inkChg chg="add mod">
          <ac:chgData name="Aniket Chhabra" userId="598e0514-bef3-4e71-b6aa-f2edd6441cff" providerId="ADAL" clId="{7299E33A-FE09-9D4F-B2AA-68E1D4D3DAE6}" dt="2022-06-26T06:42:30.856" v="394"/>
          <ac:inkMkLst>
            <pc:docMk/>
            <pc:sldMk cId="3090271849" sldId="287"/>
            <ac:inkMk id="96" creationId="{B31D30FF-1AA4-28AB-E987-D29CC7F8E8C0}"/>
          </ac:inkMkLst>
        </pc:inkChg>
        <pc:inkChg chg="add mod">
          <ac:chgData name="Aniket Chhabra" userId="598e0514-bef3-4e71-b6aa-f2edd6441cff" providerId="ADAL" clId="{7299E33A-FE09-9D4F-B2AA-68E1D4D3DAE6}" dt="2022-06-26T06:42:30.856" v="394"/>
          <ac:inkMkLst>
            <pc:docMk/>
            <pc:sldMk cId="3090271849" sldId="287"/>
            <ac:inkMk id="97" creationId="{6DD4B35F-E6BA-552B-A9FE-8EDB00BEDC89}"/>
          </ac:inkMkLst>
        </pc:inkChg>
        <pc:inkChg chg="add mod">
          <ac:chgData name="Aniket Chhabra" userId="598e0514-bef3-4e71-b6aa-f2edd6441cff" providerId="ADAL" clId="{7299E33A-FE09-9D4F-B2AA-68E1D4D3DAE6}" dt="2022-06-26T06:42:30.856" v="394"/>
          <ac:inkMkLst>
            <pc:docMk/>
            <pc:sldMk cId="3090271849" sldId="287"/>
            <ac:inkMk id="98" creationId="{56938877-19EB-E6DA-FBB6-70F06DE5573A}"/>
          </ac:inkMkLst>
        </pc:inkChg>
        <pc:inkChg chg="add mod">
          <ac:chgData name="Aniket Chhabra" userId="598e0514-bef3-4e71-b6aa-f2edd6441cff" providerId="ADAL" clId="{7299E33A-FE09-9D4F-B2AA-68E1D4D3DAE6}" dt="2022-06-26T06:42:30.856" v="394"/>
          <ac:inkMkLst>
            <pc:docMk/>
            <pc:sldMk cId="3090271849" sldId="287"/>
            <ac:inkMk id="99" creationId="{E853933A-FABA-BF82-744C-4D820CC64BC9}"/>
          </ac:inkMkLst>
        </pc:inkChg>
        <pc:inkChg chg="add mod">
          <ac:chgData name="Aniket Chhabra" userId="598e0514-bef3-4e71-b6aa-f2edd6441cff" providerId="ADAL" clId="{7299E33A-FE09-9D4F-B2AA-68E1D4D3DAE6}" dt="2022-06-26T06:42:30.856" v="394"/>
          <ac:inkMkLst>
            <pc:docMk/>
            <pc:sldMk cId="3090271849" sldId="287"/>
            <ac:inkMk id="100" creationId="{0A771554-428B-4337-52E7-AB9F32C02DFF}"/>
          </ac:inkMkLst>
        </pc:inkChg>
        <pc:inkChg chg="add mod">
          <ac:chgData name="Aniket Chhabra" userId="598e0514-bef3-4e71-b6aa-f2edd6441cff" providerId="ADAL" clId="{7299E33A-FE09-9D4F-B2AA-68E1D4D3DAE6}" dt="2022-06-26T06:42:30.856" v="394"/>
          <ac:inkMkLst>
            <pc:docMk/>
            <pc:sldMk cId="3090271849" sldId="287"/>
            <ac:inkMk id="103" creationId="{3492610C-CFC7-8447-7924-2067449FC3DE}"/>
          </ac:inkMkLst>
        </pc:inkChg>
        <pc:inkChg chg="add mod">
          <ac:chgData name="Aniket Chhabra" userId="598e0514-bef3-4e71-b6aa-f2edd6441cff" providerId="ADAL" clId="{7299E33A-FE09-9D4F-B2AA-68E1D4D3DAE6}" dt="2022-06-26T06:42:30.856" v="394"/>
          <ac:inkMkLst>
            <pc:docMk/>
            <pc:sldMk cId="3090271849" sldId="287"/>
            <ac:inkMk id="104" creationId="{80180FA6-C823-420B-713E-A7B55895A2BE}"/>
          </ac:inkMkLst>
        </pc:inkChg>
        <pc:inkChg chg="add mod">
          <ac:chgData name="Aniket Chhabra" userId="598e0514-bef3-4e71-b6aa-f2edd6441cff" providerId="ADAL" clId="{7299E33A-FE09-9D4F-B2AA-68E1D4D3DAE6}" dt="2022-06-26T06:42:30.856" v="394"/>
          <ac:inkMkLst>
            <pc:docMk/>
            <pc:sldMk cId="3090271849" sldId="287"/>
            <ac:inkMk id="105" creationId="{6D479E1E-8912-9003-861D-30FDECCABB51}"/>
          </ac:inkMkLst>
        </pc:inkChg>
        <pc:inkChg chg="add">
          <ac:chgData name="Aniket Chhabra" userId="598e0514-bef3-4e71-b6aa-f2edd6441cff" providerId="ADAL" clId="{7299E33A-FE09-9D4F-B2AA-68E1D4D3DAE6}" dt="2022-06-26T06:40:16.685" v="343" actId="9405"/>
          <ac:inkMkLst>
            <pc:docMk/>
            <pc:sldMk cId="3090271849" sldId="287"/>
            <ac:inkMk id="107" creationId="{C4754391-06DE-19D9-79FC-F72F559DD56F}"/>
          </ac:inkMkLst>
        </pc:inkChg>
        <pc:inkChg chg="add del mod">
          <ac:chgData name="Aniket Chhabra" userId="598e0514-bef3-4e71-b6aa-f2edd6441cff" providerId="ADAL" clId="{7299E33A-FE09-9D4F-B2AA-68E1D4D3DAE6}" dt="2022-06-26T06:42:30.856" v="394"/>
          <ac:inkMkLst>
            <pc:docMk/>
            <pc:sldMk cId="3090271849" sldId="287"/>
            <ac:inkMk id="108" creationId="{A5F5A2B7-2D46-C8AB-FB9C-1047A2E97544}"/>
          </ac:inkMkLst>
        </pc:inkChg>
      </pc:sldChg>
      <pc:sldChg chg="addSp delSp modSp mod">
        <pc:chgData name="Aniket Chhabra" userId="598e0514-bef3-4e71-b6aa-f2edd6441cff" providerId="ADAL" clId="{7299E33A-FE09-9D4F-B2AA-68E1D4D3DAE6}" dt="2022-06-26T06:34:02.834" v="320" actId="9405"/>
        <pc:sldMkLst>
          <pc:docMk/>
          <pc:sldMk cId="603795454" sldId="289"/>
        </pc:sldMkLst>
        <pc:grpChg chg="del mod">
          <ac:chgData name="Aniket Chhabra" userId="598e0514-bef3-4e71-b6aa-f2edd6441cff" providerId="ADAL" clId="{7299E33A-FE09-9D4F-B2AA-68E1D4D3DAE6}" dt="2022-06-26T06:34:02.454" v="319"/>
          <ac:grpSpMkLst>
            <pc:docMk/>
            <pc:sldMk cId="603795454" sldId="289"/>
            <ac:grpSpMk id="6" creationId="{F824B381-A2A3-E527-F757-2B5D37ACB7AA}"/>
          </ac:grpSpMkLst>
        </pc:grpChg>
        <pc:grpChg chg="del mod">
          <ac:chgData name="Aniket Chhabra" userId="598e0514-bef3-4e71-b6aa-f2edd6441cff" providerId="ADAL" clId="{7299E33A-FE09-9D4F-B2AA-68E1D4D3DAE6}" dt="2022-06-26T06:34:02.454" v="319"/>
          <ac:grpSpMkLst>
            <pc:docMk/>
            <pc:sldMk cId="603795454" sldId="289"/>
            <ac:grpSpMk id="28" creationId="{110EF445-F409-C936-F3D8-C0BA7B87AD1A}"/>
          </ac:grpSpMkLst>
        </pc:grpChg>
        <pc:grpChg chg="mod">
          <ac:chgData name="Aniket Chhabra" userId="598e0514-bef3-4e71-b6aa-f2edd6441cff" providerId="ADAL" clId="{7299E33A-FE09-9D4F-B2AA-68E1D4D3DAE6}" dt="2022-06-26T06:34:02.454" v="319"/>
          <ac:grpSpMkLst>
            <pc:docMk/>
            <pc:sldMk cId="603795454" sldId="289"/>
            <ac:grpSpMk id="30" creationId="{A7EFFDCA-9ABE-23E6-5036-9D49DE4B9F14}"/>
          </ac:grpSpMkLst>
        </pc:grpChg>
        <pc:inkChg chg="add mod">
          <ac:chgData name="Aniket Chhabra" userId="598e0514-bef3-4e71-b6aa-f2edd6441cff" providerId="ADAL" clId="{7299E33A-FE09-9D4F-B2AA-68E1D4D3DAE6}" dt="2022-06-26T06:34:02.454" v="319"/>
          <ac:inkMkLst>
            <pc:docMk/>
            <pc:sldMk cId="603795454" sldId="289"/>
            <ac:inkMk id="2" creationId="{746BB211-21E0-1312-47A5-F3F04A1B0F23}"/>
          </ac:inkMkLst>
        </pc:inkChg>
        <pc:inkChg chg="add mod">
          <ac:chgData name="Aniket Chhabra" userId="598e0514-bef3-4e71-b6aa-f2edd6441cff" providerId="ADAL" clId="{7299E33A-FE09-9D4F-B2AA-68E1D4D3DAE6}" dt="2022-06-26T06:34:02.454" v="319"/>
          <ac:inkMkLst>
            <pc:docMk/>
            <pc:sldMk cId="603795454" sldId="289"/>
            <ac:inkMk id="3" creationId="{E1DEC513-A57C-2840-4E05-CAC8912D3D80}"/>
          </ac:inkMkLst>
        </pc:inkChg>
        <pc:inkChg chg="add mod">
          <ac:chgData name="Aniket Chhabra" userId="598e0514-bef3-4e71-b6aa-f2edd6441cff" providerId="ADAL" clId="{7299E33A-FE09-9D4F-B2AA-68E1D4D3DAE6}" dt="2022-06-26T06:34:02.454" v="319"/>
          <ac:inkMkLst>
            <pc:docMk/>
            <pc:sldMk cId="603795454" sldId="289"/>
            <ac:inkMk id="4" creationId="{86D855E4-F108-28FA-6AF8-52853B9E6A11}"/>
          </ac:inkMkLst>
        </pc:inkChg>
        <pc:inkChg chg="add mod">
          <ac:chgData name="Aniket Chhabra" userId="598e0514-bef3-4e71-b6aa-f2edd6441cff" providerId="ADAL" clId="{7299E33A-FE09-9D4F-B2AA-68E1D4D3DAE6}" dt="2022-06-26T06:34:02.454" v="319"/>
          <ac:inkMkLst>
            <pc:docMk/>
            <pc:sldMk cId="603795454" sldId="289"/>
            <ac:inkMk id="5" creationId="{3D68A387-8A2D-31EC-7D09-E3CD001949FF}"/>
          </ac:inkMkLst>
        </pc:inkChg>
        <pc:inkChg chg="add mod">
          <ac:chgData name="Aniket Chhabra" userId="598e0514-bef3-4e71-b6aa-f2edd6441cff" providerId="ADAL" clId="{7299E33A-FE09-9D4F-B2AA-68E1D4D3DAE6}" dt="2022-06-26T06:34:02.454" v="319"/>
          <ac:inkMkLst>
            <pc:docMk/>
            <pc:sldMk cId="603795454" sldId="289"/>
            <ac:inkMk id="7" creationId="{2D27B16A-92DB-FDFF-AE2D-662FD1A0964C}"/>
          </ac:inkMkLst>
        </pc:inkChg>
        <pc:inkChg chg="add mod">
          <ac:chgData name="Aniket Chhabra" userId="598e0514-bef3-4e71-b6aa-f2edd6441cff" providerId="ADAL" clId="{7299E33A-FE09-9D4F-B2AA-68E1D4D3DAE6}" dt="2022-06-26T06:34:02.454" v="319"/>
          <ac:inkMkLst>
            <pc:docMk/>
            <pc:sldMk cId="603795454" sldId="289"/>
            <ac:inkMk id="8" creationId="{B306476F-0362-A3D6-518E-DD3A15DBB8B8}"/>
          </ac:inkMkLst>
        </pc:inkChg>
        <pc:inkChg chg="add mod">
          <ac:chgData name="Aniket Chhabra" userId="598e0514-bef3-4e71-b6aa-f2edd6441cff" providerId="ADAL" clId="{7299E33A-FE09-9D4F-B2AA-68E1D4D3DAE6}" dt="2022-06-26T06:34:02.454" v="319"/>
          <ac:inkMkLst>
            <pc:docMk/>
            <pc:sldMk cId="603795454" sldId="289"/>
            <ac:inkMk id="10" creationId="{7CA54BC3-8DDD-7C01-8B8E-BF311859AF05}"/>
          </ac:inkMkLst>
        </pc:inkChg>
        <pc:inkChg chg="add mod">
          <ac:chgData name="Aniket Chhabra" userId="598e0514-bef3-4e71-b6aa-f2edd6441cff" providerId="ADAL" clId="{7299E33A-FE09-9D4F-B2AA-68E1D4D3DAE6}" dt="2022-06-26T06:34:02.454" v="319"/>
          <ac:inkMkLst>
            <pc:docMk/>
            <pc:sldMk cId="603795454" sldId="289"/>
            <ac:inkMk id="12" creationId="{284FF708-2398-27EC-51FE-37CDB446F825}"/>
          </ac:inkMkLst>
        </pc:inkChg>
        <pc:inkChg chg="add mod">
          <ac:chgData name="Aniket Chhabra" userId="598e0514-bef3-4e71-b6aa-f2edd6441cff" providerId="ADAL" clId="{7299E33A-FE09-9D4F-B2AA-68E1D4D3DAE6}" dt="2022-06-26T06:34:02.454" v="319"/>
          <ac:inkMkLst>
            <pc:docMk/>
            <pc:sldMk cId="603795454" sldId="289"/>
            <ac:inkMk id="16" creationId="{55D85825-D66A-E211-4B91-34690B8336C5}"/>
          </ac:inkMkLst>
        </pc:inkChg>
        <pc:inkChg chg="add mod">
          <ac:chgData name="Aniket Chhabra" userId="598e0514-bef3-4e71-b6aa-f2edd6441cff" providerId="ADAL" clId="{7299E33A-FE09-9D4F-B2AA-68E1D4D3DAE6}" dt="2022-06-26T06:34:02.454" v="319"/>
          <ac:inkMkLst>
            <pc:docMk/>
            <pc:sldMk cId="603795454" sldId="289"/>
            <ac:inkMk id="17" creationId="{E31C6CA3-AF1C-918B-9750-15BFF513B871}"/>
          </ac:inkMkLst>
        </pc:inkChg>
        <pc:inkChg chg="add mod">
          <ac:chgData name="Aniket Chhabra" userId="598e0514-bef3-4e71-b6aa-f2edd6441cff" providerId="ADAL" clId="{7299E33A-FE09-9D4F-B2AA-68E1D4D3DAE6}" dt="2022-06-26T06:34:02.454" v="319"/>
          <ac:inkMkLst>
            <pc:docMk/>
            <pc:sldMk cId="603795454" sldId="289"/>
            <ac:inkMk id="18" creationId="{1DCC4E01-8E1D-F255-6DC2-462CD61D4F68}"/>
          </ac:inkMkLst>
        </pc:inkChg>
        <pc:inkChg chg="add mod">
          <ac:chgData name="Aniket Chhabra" userId="598e0514-bef3-4e71-b6aa-f2edd6441cff" providerId="ADAL" clId="{7299E33A-FE09-9D4F-B2AA-68E1D4D3DAE6}" dt="2022-06-26T06:34:02.454" v="319"/>
          <ac:inkMkLst>
            <pc:docMk/>
            <pc:sldMk cId="603795454" sldId="289"/>
            <ac:inkMk id="19" creationId="{77E07BF1-C2F7-A154-A221-AAE931135A02}"/>
          </ac:inkMkLst>
        </pc:inkChg>
        <pc:inkChg chg="add mod">
          <ac:chgData name="Aniket Chhabra" userId="598e0514-bef3-4e71-b6aa-f2edd6441cff" providerId="ADAL" clId="{7299E33A-FE09-9D4F-B2AA-68E1D4D3DAE6}" dt="2022-06-26T06:34:02.454" v="319"/>
          <ac:inkMkLst>
            <pc:docMk/>
            <pc:sldMk cId="603795454" sldId="289"/>
            <ac:inkMk id="20" creationId="{A1A055EB-F09A-0B5A-E64D-1EBEBD457CC5}"/>
          </ac:inkMkLst>
        </pc:inkChg>
        <pc:inkChg chg="add mod">
          <ac:chgData name="Aniket Chhabra" userId="598e0514-bef3-4e71-b6aa-f2edd6441cff" providerId="ADAL" clId="{7299E33A-FE09-9D4F-B2AA-68E1D4D3DAE6}" dt="2022-06-26T06:34:02.454" v="319"/>
          <ac:inkMkLst>
            <pc:docMk/>
            <pc:sldMk cId="603795454" sldId="289"/>
            <ac:inkMk id="21" creationId="{5B1F2EFC-3F2B-7644-A018-4EA16C0DCF57}"/>
          </ac:inkMkLst>
        </pc:inkChg>
        <pc:inkChg chg="add mod">
          <ac:chgData name="Aniket Chhabra" userId="598e0514-bef3-4e71-b6aa-f2edd6441cff" providerId="ADAL" clId="{7299E33A-FE09-9D4F-B2AA-68E1D4D3DAE6}" dt="2022-06-26T06:34:02.454" v="319"/>
          <ac:inkMkLst>
            <pc:docMk/>
            <pc:sldMk cId="603795454" sldId="289"/>
            <ac:inkMk id="22" creationId="{0A599630-0D2E-9F8D-DEA8-D9EB8F65402D}"/>
          </ac:inkMkLst>
        </pc:inkChg>
        <pc:inkChg chg="add mod">
          <ac:chgData name="Aniket Chhabra" userId="598e0514-bef3-4e71-b6aa-f2edd6441cff" providerId="ADAL" clId="{7299E33A-FE09-9D4F-B2AA-68E1D4D3DAE6}" dt="2022-06-26T06:34:02.454" v="319"/>
          <ac:inkMkLst>
            <pc:docMk/>
            <pc:sldMk cId="603795454" sldId="289"/>
            <ac:inkMk id="23" creationId="{4B6D21EA-FBD9-D9E5-9EC8-18CE6B253136}"/>
          </ac:inkMkLst>
        </pc:inkChg>
        <pc:inkChg chg="add mod">
          <ac:chgData name="Aniket Chhabra" userId="598e0514-bef3-4e71-b6aa-f2edd6441cff" providerId="ADAL" clId="{7299E33A-FE09-9D4F-B2AA-68E1D4D3DAE6}" dt="2022-06-26T06:34:02.454" v="319"/>
          <ac:inkMkLst>
            <pc:docMk/>
            <pc:sldMk cId="603795454" sldId="289"/>
            <ac:inkMk id="24" creationId="{3E11ACA6-1ED1-F0DD-C8CB-0712FC7C43C5}"/>
          </ac:inkMkLst>
        </pc:inkChg>
        <pc:inkChg chg="add mod">
          <ac:chgData name="Aniket Chhabra" userId="598e0514-bef3-4e71-b6aa-f2edd6441cff" providerId="ADAL" clId="{7299E33A-FE09-9D4F-B2AA-68E1D4D3DAE6}" dt="2022-06-26T06:34:02.454" v="319"/>
          <ac:inkMkLst>
            <pc:docMk/>
            <pc:sldMk cId="603795454" sldId="289"/>
            <ac:inkMk id="25" creationId="{F0385895-CEDE-3F1F-970E-F92D807B4BAA}"/>
          </ac:inkMkLst>
        </pc:inkChg>
        <pc:inkChg chg="add mod">
          <ac:chgData name="Aniket Chhabra" userId="598e0514-bef3-4e71-b6aa-f2edd6441cff" providerId="ADAL" clId="{7299E33A-FE09-9D4F-B2AA-68E1D4D3DAE6}" dt="2022-06-26T06:34:02.454" v="319"/>
          <ac:inkMkLst>
            <pc:docMk/>
            <pc:sldMk cId="603795454" sldId="289"/>
            <ac:inkMk id="26" creationId="{6E135497-3158-9F6B-183E-3E0393987D1A}"/>
          </ac:inkMkLst>
        </pc:inkChg>
        <pc:inkChg chg="add mod">
          <ac:chgData name="Aniket Chhabra" userId="598e0514-bef3-4e71-b6aa-f2edd6441cff" providerId="ADAL" clId="{7299E33A-FE09-9D4F-B2AA-68E1D4D3DAE6}" dt="2022-06-26T06:34:02.454" v="319"/>
          <ac:inkMkLst>
            <pc:docMk/>
            <pc:sldMk cId="603795454" sldId="289"/>
            <ac:inkMk id="27" creationId="{3CF3E871-A508-13A5-BC72-00E1C2AF8F56}"/>
          </ac:inkMkLst>
        </pc:inkChg>
        <pc:inkChg chg="add mod">
          <ac:chgData name="Aniket Chhabra" userId="598e0514-bef3-4e71-b6aa-f2edd6441cff" providerId="ADAL" clId="{7299E33A-FE09-9D4F-B2AA-68E1D4D3DAE6}" dt="2022-06-26T06:34:02.454" v="319"/>
          <ac:inkMkLst>
            <pc:docMk/>
            <pc:sldMk cId="603795454" sldId="289"/>
            <ac:inkMk id="29" creationId="{306568EC-7BE9-14E5-E295-063B30955231}"/>
          </ac:inkMkLst>
        </pc:inkChg>
        <pc:inkChg chg="add">
          <ac:chgData name="Aniket Chhabra" userId="598e0514-bef3-4e71-b6aa-f2edd6441cff" providerId="ADAL" clId="{7299E33A-FE09-9D4F-B2AA-68E1D4D3DAE6}" dt="2022-06-26T06:34:02.834" v="320" actId="9405"/>
          <ac:inkMkLst>
            <pc:docMk/>
            <pc:sldMk cId="603795454" sldId="289"/>
            <ac:inkMk id="31" creationId="{B4044668-6BD1-01C7-DB7F-E458147339B1}"/>
          </ac:inkMkLst>
        </pc:inkChg>
      </pc:sldChg>
      <pc:sldChg chg="addSp modSp mod">
        <pc:chgData name="Aniket Chhabra" userId="598e0514-bef3-4e71-b6aa-f2edd6441cff" providerId="ADAL" clId="{7299E33A-FE09-9D4F-B2AA-68E1D4D3DAE6}" dt="2022-06-26T06:31:40.411" v="240"/>
        <pc:sldMkLst>
          <pc:docMk/>
          <pc:sldMk cId="2888229444" sldId="297"/>
        </pc:sldMkLst>
        <pc:grpChg chg="mod">
          <ac:chgData name="Aniket Chhabra" userId="598e0514-bef3-4e71-b6aa-f2edd6441cff" providerId="ADAL" clId="{7299E33A-FE09-9D4F-B2AA-68E1D4D3DAE6}" dt="2022-06-26T06:31:35.922" v="237"/>
          <ac:grpSpMkLst>
            <pc:docMk/>
            <pc:sldMk cId="2888229444" sldId="297"/>
            <ac:grpSpMk id="18" creationId="{0671D910-923D-8D73-46E1-4FABF5DC11D2}"/>
          </ac:grpSpMkLst>
        </pc:grpChg>
        <pc:grpChg chg="mod">
          <ac:chgData name="Aniket Chhabra" userId="598e0514-bef3-4e71-b6aa-f2edd6441cff" providerId="ADAL" clId="{7299E33A-FE09-9D4F-B2AA-68E1D4D3DAE6}" dt="2022-06-26T06:31:40.411" v="240"/>
          <ac:grpSpMkLst>
            <pc:docMk/>
            <pc:sldMk cId="2888229444" sldId="297"/>
            <ac:grpSpMk id="21" creationId="{B065BCAB-C294-D475-223B-E07AEE790EA6}"/>
          </ac:grpSpMkLst>
        </pc:grpChg>
        <pc:inkChg chg="add mod">
          <ac:chgData name="Aniket Chhabra" userId="598e0514-bef3-4e71-b6aa-f2edd6441cff" providerId="ADAL" clId="{7299E33A-FE09-9D4F-B2AA-68E1D4D3DAE6}" dt="2022-06-26T06:31:35.922" v="237"/>
          <ac:inkMkLst>
            <pc:docMk/>
            <pc:sldMk cId="2888229444" sldId="297"/>
            <ac:inkMk id="9" creationId="{E0A796A0-0718-DDB6-E300-309A8D1510E4}"/>
          </ac:inkMkLst>
        </pc:inkChg>
        <pc:inkChg chg="add mod">
          <ac:chgData name="Aniket Chhabra" userId="598e0514-bef3-4e71-b6aa-f2edd6441cff" providerId="ADAL" clId="{7299E33A-FE09-9D4F-B2AA-68E1D4D3DAE6}" dt="2022-06-26T06:31:35.922" v="237"/>
          <ac:inkMkLst>
            <pc:docMk/>
            <pc:sldMk cId="2888229444" sldId="297"/>
            <ac:inkMk id="10" creationId="{14A30757-8F66-CEE6-64A3-DA58C17E0EF3}"/>
          </ac:inkMkLst>
        </pc:inkChg>
        <pc:inkChg chg="add mod">
          <ac:chgData name="Aniket Chhabra" userId="598e0514-bef3-4e71-b6aa-f2edd6441cff" providerId="ADAL" clId="{7299E33A-FE09-9D4F-B2AA-68E1D4D3DAE6}" dt="2022-06-26T06:31:35.922" v="237"/>
          <ac:inkMkLst>
            <pc:docMk/>
            <pc:sldMk cId="2888229444" sldId="297"/>
            <ac:inkMk id="11" creationId="{B1FB5387-185E-73FC-AB3B-5A4119EA8C28}"/>
          </ac:inkMkLst>
        </pc:inkChg>
        <pc:inkChg chg="add mod">
          <ac:chgData name="Aniket Chhabra" userId="598e0514-bef3-4e71-b6aa-f2edd6441cff" providerId="ADAL" clId="{7299E33A-FE09-9D4F-B2AA-68E1D4D3DAE6}" dt="2022-06-26T06:31:35.922" v="237"/>
          <ac:inkMkLst>
            <pc:docMk/>
            <pc:sldMk cId="2888229444" sldId="297"/>
            <ac:inkMk id="12" creationId="{73C738EE-C633-14C0-96F5-73BA16C6A36E}"/>
          </ac:inkMkLst>
        </pc:inkChg>
        <pc:inkChg chg="add mod">
          <ac:chgData name="Aniket Chhabra" userId="598e0514-bef3-4e71-b6aa-f2edd6441cff" providerId="ADAL" clId="{7299E33A-FE09-9D4F-B2AA-68E1D4D3DAE6}" dt="2022-06-26T06:31:35.922" v="237"/>
          <ac:inkMkLst>
            <pc:docMk/>
            <pc:sldMk cId="2888229444" sldId="297"/>
            <ac:inkMk id="13" creationId="{841E5E36-3FF0-CB3B-A7B2-BE7AD4AAF4DA}"/>
          </ac:inkMkLst>
        </pc:inkChg>
        <pc:inkChg chg="add mod">
          <ac:chgData name="Aniket Chhabra" userId="598e0514-bef3-4e71-b6aa-f2edd6441cff" providerId="ADAL" clId="{7299E33A-FE09-9D4F-B2AA-68E1D4D3DAE6}" dt="2022-06-26T06:31:35.922" v="237"/>
          <ac:inkMkLst>
            <pc:docMk/>
            <pc:sldMk cId="2888229444" sldId="297"/>
            <ac:inkMk id="14" creationId="{3305C724-6013-E6FC-5537-1A60A89B8C8F}"/>
          </ac:inkMkLst>
        </pc:inkChg>
        <pc:inkChg chg="add mod">
          <ac:chgData name="Aniket Chhabra" userId="598e0514-bef3-4e71-b6aa-f2edd6441cff" providerId="ADAL" clId="{7299E33A-FE09-9D4F-B2AA-68E1D4D3DAE6}" dt="2022-06-26T06:31:35.922" v="237"/>
          <ac:inkMkLst>
            <pc:docMk/>
            <pc:sldMk cId="2888229444" sldId="297"/>
            <ac:inkMk id="15" creationId="{08F91440-8E19-B636-5890-5563C37979CD}"/>
          </ac:inkMkLst>
        </pc:inkChg>
        <pc:inkChg chg="add mod">
          <ac:chgData name="Aniket Chhabra" userId="598e0514-bef3-4e71-b6aa-f2edd6441cff" providerId="ADAL" clId="{7299E33A-FE09-9D4F-B2AA-68E1D4D3DAE6}" dt="2022-06-26T06:31:35.922" v="237"/>
          <ac:inkMkLst>
            <pc:docMk/>
            <pc:sldMk cId="2888229444" sldId="297"/>
            <ac:inkMk id="16" creationId="{620F5DBD-9217-7DE6-4212-CB8CBE3387BE}"/>
          </ac:inkMkLst>
        </pc:inkChg>
        <pc:inkChg chg="add mod">
          <ac:chgData name="Aniket Chhabra" userId="598e0514-bef3-4e71-b6aa-f2edd6441cff" providerId="ADAL" clId="{7299E33A-FE09-9D4F-B2AA-68E1D4D3DAE6}" dt="2022-06-26T06:31:35.922" v="237"/>
          <ac:inkMkLst>
            <pc:docMk/>
            <pc:sldMk cId="2888229444" sldId="297"/>
            <ac:inkMk id="17" creationId="{F670CA5C-7745-D324-D152-65DBF30C10C7}"/>
          </ac:inkMkLst>
        </pc:inkChg>
        <pc:inkChg chg="add mod">
          <ac:chgData name="Aniket Chhabra" userId="598e0514-bef3-4e71-b6aa-f2edd6441cff" providerId="ADAL" clId="{7299E33A-FE09-9D4F-B2AA-68E1D4D3DAE6}" dt="2022-06-26T06:31:40.411" v="240"/>
          <ac:inkMkLst>
            <pc:docMk/>
            <pc:sldMk cId="2888229444" sldId="297"/>
            <ac:inkMk id="19" creationId="{F45E7AAB-8F55-F9E9-F7A7-89458801B69A}"/>
          </ac:inkMkLst>
        </pc:inkChg>
        <pc:inkChg chg="add mod">
          <ac:chgData name="Aniket Chhabra" userId="598e0514-bef3-4e71-b6aa-f2edd6441cff" providerId="ADAL" clId="{7299E33A-FE09-9D4F-B2AA-68E1D4D3DAE6}" dt="2022-06-26T06:31:40.411" v="240"/>
          <ac:inkMkLst>
            <pc:docMk/>
            <pc:sldMk cId="2888229444" sldId="297"/>
            <ac:inkMk id="20" creationId="{2DAF2C27-3816-A7D4-C04B-A6FE767CC4AE}"/>
          </ac:inkMkLst>
        </pc:inkChg>
      </pc:sldChg>
      <pc:sldChg chg="addSp delSp modSp mod">
        <pc:chgData name="Aniket Chhabra" userId="598e0514-bef3-4e71-b6aa-f2edd6441cff" providerId="ADAL" clId="{7299E33A-FE09-9D4F-B2AA-68E1D4D3DAE6}" dt="2022-06-26T06:33:22.284" v="295"/>
        <pc:sldMkLst>
          <pc:docMk/>
          <pc:sldMk cId="3185156791" sldId="298"/>
        </pc:sldMkLst>
        <pc:grpChg chg="mod">
          <ac:chgData name="Aniket Chhabra" userId="598e0514-bef3-4e71-b6aa-f2edd6441cff" providerId="ADAL" clId="{7299E33A-FE09-9D4F-B2AA-68E1D4D3DAE6}" dt="2022-06-26T06:31:49.645" v="245"/>
          <ac:grpSpMkLst>
            <pc:docMk/>
            <pc:sldMk cId="3185156791" sldId="298"/>
            <ac:grpSpMk id="9" creationId="{69408975-E8C0-EAA5-9217-E75005F35C9E}"/>
          </ac:grpSpMkLst>
        </pc:grpChg>
        <pc:grpChg chg="mod">
          <ac:chgData name="Aniket Chhabra" userId="598e0514-bef3-4e71-b6aa-f2edd6441cff" providerId="ADAL" clId="{7299E33A-FE09-9D4F-B2AA-68E1D4D3DAE6}" dt="2022-06-26T06:32:57.774" v="252"/>
          <ac:grpSpMkLst>
            <pc:docMk/>
            <pc:sldMk cId="3185156791" sldId="298"/>
            <ac:grpSpMk id="16" creationId="{A5ADEE99-75F1-935F-1288-25A3760CD8DA}"/>
          </ac:grpSpMkLst>
        </pc:grpChg>
        <pc:grpChg chg="del mod">
          <ac:chgData name="Aniket Chhabra" userId="598e0514-bef3-4e71-b6aa-f2edd6441cff" providerId="ADAL" clId="{7299E33A-FE09-9D4F-B2AA-68E1D4D3DAE6}" dt="2022-06-26T06:33:07.672" v="271"/>
          <ac:grpSpMkLst>
            <pc:docMk/>
            <pc:sldMk cId="3185156791" sldId="298"/>
            <ac:grpSpMk id="19" creationId="{63887939-4876-B996-1216-774F1609A7DA}"/>
          </ac:grpSpMkLst>
        </pc:grpChg>
        <pc:grpChg chg="del mod">
          <ac:chgData name="Aniket Chhabra" userId="598e0514-bef3-4e71-b6aa-f2edd6441cff" providerId="ADAL" clId="{7299E33A-FE09-9D4F-B2AA-68E1D4D3DAE6}" dt="2022-06-26T06:33:20.462" v="291"/>
          <ac:grpSpMkLst>
            <pc:docMk/>
            <pc:sldMk cId="3185156791" sldId="298"/>
            <ac:grpSpMk id="35" creationId="{8D2C894C-4D93-B468-20B8-3545FF89F312}"/>
          </ac:grpSpMkLst>
        </pc:grpChg>
        <pc:grpChg chg="mod">
          <ac:chgData name="Aniket Chhabra" userId="598e0514-bef3-4e71-b6aa-f2edd6441cff" providerId="ADAL" clId="{7299E33A-FE09-9D4F-B2AA-68E1D4D3DAE6}" dt="2022-06-26T06:33:14.690" v="284"/>
          <ac:grpSpMkLst>
            <pc:docMk/>
            <pc:sldMk cId="3185156791" sldId="298"/>
            <ac:grpSpMk id="48" creationId="{DBCB3469-9CA0-A356-16B4-5C389E4185BB}"/>
          </ac:grpSpMkLst>
        </pc:grpChg>
        <pc:grpChg chg="mod">
          <ac:chgData name="Aniket Chhabra" userId="598e0514-bef3-4e71-b6aa-f2edd6441cff" providerId="ADAL" clId="{7299E33A-FE09-9D4F-B2AA-68E1D4D3DAE6}" dt="2022-06-26T06:33:14.690" v="284"/>
          <ac:grpSpMkLst>
            <pc:docMk/>
            <pc:sldMk cId="3185156791" sldId="298"/>
            <ac:grpSpMk id="49" creationId="{23B40724-9F48-AAB2-FC9F-39DB49DDE04A}"/>
          </ac:grpSpMkLst>
        </pc:grpChg>
        <pc:grpChg chg="mod">
          <ac:chgData name="Aniket Chhabra" userId="598e0514-bef3-4e71-b6aa-f2edd6441cff" providerId="ADAL" clId="{7299E33A-FE09-9D4F-B2AA-68E1D4D3DAE6}" dt="2022-06-26T06:33:18.695" v="289"/>
          <ac:grpSpMkLst>
            <pc:docMk/>
            <pc:sldMk cId="3185156791" sldId="298"/>
            <ac:grpSpMk id="54" creationId="{D66E780C-D8E9-CB36-06A7-575E76998435}"/>
          </ac:grpSpMkLst>
        </pc:grpChg>
        <pc:grpChg chg="del mod">
          <ac:chgData name="Aniket Chhabra" userId="598e0514-bef3-4e71-b6aa-f2edd6441cff" providerId="ADAL" clId="{7299E33A-FE09-9D4F-B2AA-68E1D4D3DAE6}" dt="2022-06-26T06:33:22.284" v="295"/>
          <ac:grpSpMkLst>
            <pc:docMk/>
            <pc:sldMk cId="3185156791" sldId="298"/>
            <ac:grpSpMk id="56" creationId="{90D3AF2A-213B-8112-BF0F-16BA5981F078}"/>
          </ac:grpSpMkLst>
        </pc:grpChg>
        <pc:grpChg chg="mod">
          <ac:chgData name="Aniket Chhabra" userId="598e0514-bef3-4e71-b6aa-f2edd6441cff" providerId="ADAL" clId="{7299E33A-FE09-9D4F-B2AA-68E1D4D3DAE6}" dt="2022-06-26T06:33:22.284" v="295"/>
          <ac:grpSpMkLst>
            <pc:docMk/>
            <pc:sldMk cId="3185156791" sldId="298"/>
            <ac:grpSpMk id="60" creationId="{9D47CE45-DB24-D9F9-11F5-55AB4C453154}"/>
          </ac:grpSpMkLst>
        </pc:grpChg>
        <pc:inkChg chg="add">
          <ac:chgData name="Aniket Chhabra" userId="598e0514-bef3-4e71-b6aa-f2edd6441cff" providerId="ADAL" clId="{7299E33A-FE09-9D4F-B2AA-68E1D4D3DAE6}" dt="2022-06-26T06:31:45.114" v="241" actId="9405"/>
          <ac:inkMkLst>
            <pc:docMk/>
            <pc:sldMk cId="3185156791" sldId="298"/>
            <ac:inkMk id="4" creationId="{1C2C29C6-219E-875F-A348-175E7E433F2D}"/>
          </ac:inkMkLst>
        </pc:inkChg>
        <pc:inkChg chg="add">
          <ac:chgData name="Aniket Chhabra" userId="598e0514-bef3-4e71-b6aa-f2edd6441cff" providerId="ADAL" clId="{7299E33A-FE09-9D4F-B2AA-68E1D4D3DAE6}" dt="2022-06-26T06:31:45.833" v="242" actId="9405"/>
          <ac:inkMkLst>
            <pc:docMk/>
            <pc:sldMk cId="3185156791" sldId="298"/>
            <ac:inkMk id="6" creationId="{9FD55FFF-3F8F-4192-D0DB-3B7F15BA5A38}"/>
          </ac:inkMkLst>
        </pc:inkChg>
        <pc:inkChg chg="add mod">
          <ac:chgData name="Aniket Chhabra" userId="598e0514-bef3-4e71-b6aa-f2edd6441cff" providerId="ADAL" clId="{7299E33A-FE09-9D4F-B2AA-68E1D4D3DAE6}" dt="2022-06-26T06:31:49.645" v="245"/>
          <ac:inkMkLst>
            <pc:docMk/>
            <pc:sldMk cId="3185156791" sldId="298"/>
            <ac:inkMk id="7" creationId="{8AAD0DB3-BF15-5783-9F0E-A69C1523B617}"/>
          </ac:inkMkLst>
        </pc:inkChg>
        <pc:inkChg chg="add mod">
          <ac:chgData name="Aniket Chhabra" userId="598e0514-bef3-4e71-b6aa-f2edd6441cff" providerId="ADAL" clId="{7299E33A-FE09-9D4F-B2AA-68E1D4D3DAE6}" dt="2022-06-26T06:31:49.645" v="245"/>
          <ac:inkMkLst>
            <pc:docMk/>
            <pc:sldMk cId="3185156791" sldId="298"/>
            <ac:inkMk id="8" creationId="{6F19855A-EDF7-D4AC-3703-E06C81CD5E6F}"/>
          </ac:inkMkLst>
        </pc:inkChg>
        <pc:inkChg chg="add mod">
          <ac:chgData name="Aniket Chhabra" userId="598e0514-bef3-4e71-b6aa-f2edd6441cff" providerId="ADAL" clId="{7299E33A-FE09-9D4F-B2AA-68E1D4D3DAE6}" dt="2022-06-26T06:32:57.774" v="252"/>
          <ac:inkMkLst>
            <pc:docMk/>
            <pc:sldMk cId="3185156791" sldId="298"/>
            <ac:inkMk id="10" creationId="{236AF1AE-4542-3B42-388E-66F22974248A}"/>
          </ac:inkMkLst>
        </pc:inkChg>
        <pc:inkChg chg="add mod">
          <ac:chgData name="Aniket Chhabra" userId="598e0514-bef3-4e71-b6aa-f2edd6441cff" providerId="ADAL" clId="{7299E33A-FE09-9D4F-B2AA-68E1D4D3DAE6}" dt="2022-06-26T06:32:57.774" v="252"/>
          <ac:inkMkLst>
            <pc:docMk/>
            <pc:sldMk cId="3185156791" sldId="298"/>
            <ac:inkMk id="11" creationId="{60CB10A6-C050-B249-3445-6A116C88B4F2}"/>
          </ac:inkMkLst>
        </pc:inkChg>
        <pc:inkChg chg="add mod">
          <ac:chgData name="Aniket Chhabra" userId="598e0514-bef3-4e71-b6aa-f2edd6441cff" providerId="ADAL" clId="{7299E33A-FE09-9D4F-B2AA-68E1D4D3DAE6}" dt="2022-06-26T06:32:57.774" v="252"/>
          <ac:inkMkLst>
            <pc:docMk/>
            <pc:sldMk cId="3185156791" sldId="298"/>
            <ac:inkMk id="12" creationId="{BC163571-7DDC-A9AB-75BC-F18FBB18195D}"/>
          </ac:inkMkLst>
        </pc:inkChg>
        <pc:inkChg chg="add mod">
          <ac:chgData name="Aniket Chhabra" userId="598e0514-bef3-4e71-b6aa-f2edd6441cff" providerId="ADAL" clId="{7299E33A-FE09-9D4F-B2AA-68E1D4D3DAE6}" dt="2022-06-26T06:32:57.774" v="252"/>
          <ac:inkMkLst>
            <pc:docMk/>
            <pc:sldMk cId="3185156791" sldId="298"/>
            <ac:inkMk id="13" creationId="{73292851-5D9D-A1BB-6F58-477D25625DB5}"/>
          </ac:inkMkLst>
        </pc:inkChg>
        <pc:inkChg chg="add mod">
          <ac:chgData name="Aniket Chhabra" userId="598e0514-bef3-4e71-b6aa-f2edd6441cff" providerId="ADAL" clId="{7299E33A-FE09-9D4F-B2AA-68E1D4D3DAE6}" dt="2022-06-26T06:32:57.774" v="252"/>
          <ac:inkMkLst>
            <pc:docMk/>
            <pc:sldMk cId="3185156791" sldId="298"/>
            <ac:inkMk id="14" creationId="{214AED68-D711-E4EB-36F4-678241137C9F}"/>
          </ac:inkMkLst>
        </pc:inkChg>
        <pc:inkChg chg="add mod">
          <ac:chgData name="Aniket Chhabra" userId="598e0514-bef3-4e71-b6aa-f2edd6441cff" providerId="ADAL" clId="{7299E33A-FE09-9D4F-B2AA-68E1D4D3DAE6}" dt="2022-06-26T06:32:57.774" v="252"/>
          <ac:inkMkLst>
            <pc:docMk/>
            <pc:sldMk cId="3185156791" sldId="298"/>
            <ac:inkMk id="15" creationId="{499C43FF-E477-C8E6-C4C3-C64AFCE23DEF}"/>
          </ac:inkMkLst>
        </pc:inkChg>
        <pc:inkChg chg="add mod">
          <ac:chgData name="Aniket Chhabra" userId="598e0514-bef3-4e71-b6aa-f2edd6441cff" providerId="ADAL" clId="{7299E33A-FE09-9D4F-B2AA-68E1D4D3DAE6}" dt="2022-06-26T06:33:22.284" v="295"/>
          <ac:inkMkLst>
            <pc:docMk/>
            <pc:sldMk cId="3185156791" sldId="298"/>
            <ac:inkMk id="17" creationId="{82C29E33-21AF-E50A-4403-0AFFFB4C3AC0}"/>
          </ac:inkMkLst>
        </pc:inkChg>
        <pc:inkChg chg="add mod">
          <ac:chgData name="Aniket Chhabra" userId="598e0514-bef3-4e71-b6aa-f2edd6441cff" providerId="ADAL" clId="{7299E33A-FE09-9D4F-B2AA-68E1D4D3DAE6}" dt="2022-06-26T06:33:22.284" v="295"/>
          <ac:inkMkLst>
            <pc:docMk/>
            <pc:sldMk cId="3185156791" sldId="298"/>
            <ac:inkMk id="18" creationId="{45CE4ED1-3D6C-1A62-3807-BC56EE36525A}"/>
          </ac:inkMkLst>
        </pc:inkChg>
        <pc:inkChg chg="add mod">
          <ac:chgData name="Aniket Chhabra" userId="598e0514-bef3-4e71-b6aa-f2edd6441cff" providerId="ADAL" clId="{7299E33A-FE09-9D4F-B2AA-68E1D4D3DAE6}" dt="2022-06-26T06:33:20.462" v="291"/>
          <ac:inkMkLst>
            <pc:docMk/>
            <pc:sldMk cId="3185156791" sldId="298"/>
            <ac:inkMk id="20" creationId="{96BA6AD7-0BEA-2E14-F1D5-42D69B8D1CDE}"/>
          </ac:inkMkLst>
        </pc:inkChg>
        <pc:inkChg chg="add mod">
          <ac:chgData name="Aniket Chhabra" userId="598e0514-bef3-4e71-b6aa-f2edd6441cff" providerId="ADAL" clId="{7299E33A-FE09-9D4F-B2AA-68E1D4D3DAE6}" dt="2022-06-26T06:33:20.462" v="291"/>
          <ac:inkMkLst>
            <pc:docMk/>
            <pc:sldMk cId="3185156791" sldId="298"/>
            <ac:inkMk id="21" creationId="{1D408AE2-F96C-6AB2-1DE1-5BDB90C4A160}"/>
          </ac:inkMkLst>
        </pc:inkChg>
        <pc:inkChg chg="add mod">
          <ac:chgData name="Aniket Chhabra" userId="598e0514-bef3-4e71-b6aa-f2edd6441cff" providerId="ADAL" clId="{7299E33A-FE09-9D4F-B2AA-68E1D4D3DAE6}" dt="2022-06-26T06:33:20.462" v="291"/>
          <ac:inkMkLst>
            <pc:docMk/>
            <pc:sldMk cId="3185156791" sldId="298"/>
            <ac:inkMk id="22" creationId="{CB71BEED-8D01-CD8F-15D8-037B0194934A}"/>
          </ac:inkMkLst>
        </pc:inkChg>
        <pc:inkChg chg="add mod">
          <ac:chgData name="Aniket Chhabra" userId="598e0514-bef3-4e71-b6aa-f2edd6441cff" providerId="ADAL" clId="{7299E33A-FE09-9D4F-B2AA-68E1D4D3DAE6}" dt="2022-06-26T06:33:20.462" v="291"/>
          <ac:inkMkLst>
            <pc:docMk/>
            <pc:sldMk cId="3185156791" sldId="298"/>
            <ac:inkMk id="23" creationId="{EA026592-496A-3137-E42E-231BAC224EA0}"/>
          </ac:inkMkLst>
        </pc:inkChg>
        <pc:inkChg chg="add mod">
          <ac:chgData name="Aniket Chhabra" userId="598e0514-bef3-4e71-b6aa-f2edd6441cff" providerId="ADAL" clId="{7299E33A-FE09-9D4F-B2AA-68E1D4D3DAE6}" dt="2022-06-26T06:33:20.462" v="291"/>
          <ac:inkMkLst>
            <pc:docMk/>
            <pc:sldMk cId="3185156791" sldId="298"/>
            <ac:inkMk id="24" creationId="{3F0EAA1F-5DAC-439F-8188-42C313AAE93E}"/>
          </ac:inkMkLst>
        </pc:inkChg>
        <pc:inkChg chg="add mod">
          <ac:chgData name="Aniket Chhabra" userId="598e0514-bef3-4e71-b6aa-f2edd6441cff" providerId="ADAL" clId="{7299E33A-FE09-9D4F-B2AA-68E1D4D3DAE6}" dt="2022-06-26T06:33:20.462" v="291"/>
          <ac:inkMkLst>
            <pc:docMk/>
            <pc:sldMk cId="3185156791" sldId="298"/>
            <ac:inkMk id="25" creationId="{ABBD8ED1-B180-B613-E04C-334147BFBBD9}"/>
          </ac:inkMkLst>
        </pc:inkChg>
        <pc:inkChg chg="add mod">
          <ac:chgData name="Aniket Chhabra" userId="598e0514-bef3-4e71-b6aa-f2edd6441cff" providerId="ADAL" clId="{7299E33A-FE09-9D4F-B2AA-68E1D4D3DAE6}" dt="2022-06-26T06:33:20.462" v="291"/>
          <ac:inkMkLst>
            <pc:docMk/>
            <pc:sldMk cId="3185156791" sldId="298"/>
            <ac:inkMk id="26" creationId="{6B7EC9A4-937A-6898-0BA8-8B2D408110E5}"/>
          </ac:inkMkLst>
        </pc:inkChg>
        <pc:inkChg chg="add mod">
          <ac:chgData name="Aniket Chhabra" userId="598e0514-bef3-4e71-b6aa-f2edd6441cff" providerId="ADAL" clId="{7299E33A-FE09-9D4F-B2AA-68E1D4D3DAE6}" dt="2022-06-26T06:33:20.462" v="291"/>
          <ac:inkMkLst>
            <pc:docMk/>
            <pc:sldMk cId="3185156791" sldId="298"/>
            <ac:inkMk id="27" creationId="{031B8EF1-FD7F-9673-8575-28F39D603327}"/>
          </ac:inkMkLst>
        </pc:inkChg>
        <pc:inkChg chg="add mod">
          <ac:chgData name="Aniket Chhabra" userId="598e0514-bef3-4e71-b6aa-f2edd6441cff" providerId="ADAL" clId="{7299E33A-FE09-9D4F-B2AA-68E1D4D3DAE6}" dt="2022-06-26T06:33:20.462" v="291"/>
          <ac:inkMkLst>
            <pc:docMk/>
            <pc:sldMk cId="3185156791" sldId="298"/>
            <ac:inkMk id="28" creationId="{505A2C31-1871-CAF8-3E8A-F3042085858A}"/>
          </ac:inkMkLst>
        </pc:inkChg>
        <pc:inkChg chg="add mod">
          <ac:chgData name="Aniket Chhabra" userId="598e0514-bef3-4e71-b6aa-f2edd6441cff" providerId="ADAL" clId="{7299E33A-FE09-9D4F-B2AA-68E1D4D3DAE6}" dt="2022-06-26T06:33:20.462" v="291"/>
          <ac:inkMkLst>
            <pc:docMk/>
            <pc:sldMk cId="3185156791" sldId="298"/>
            <ac:inkMk id="29" creationId="{2E23005F-22F9-70C4-406F-60EEB4058A6C}"/>
          </ac:inkMkLst>
        </pc:inkChg>
        <pc:inkChg chg="add mod">
          <ac:chgData name="Aniket Chhabra" userId="598e0514-bef3-4e71-b6aa-f2edd6441cff" providerId="ADAL" clId="{7299E33A-FE09-9D4F-B2AA-68E1D4D3DAE6}" dt="2022-06-26T06:33:20.462" v="291"/>
          <ac:inkMkLst>
            <pc:docMk/>
            <pc:sldMk cId="3185156791" sldId="298"/>
            <ac:inkMk id="30" creationId="{0DFF3BF6-6305-D670-564F-247B4D4C0A41}"/>
          </ac:inkMkLst>
        </pc:inkChg>
        <pc:inkChg chg="add mod">
          <ac:chgData name="Aniket Chhabra" userId="598e0514-bef3-4e71-b6aa-f2edd6441cff" providerId="ADAL" clId="{7299E33A-FE09-9D4F-B2AA-68E1D4D3DAE6}" dt="2022-06-26T06:33:20.462" v="291"/>
          <ac:inkMkLst>
            <pc:docMk/>
            <pc:sldMk cId="3185156791" sldId="298"/>
            <ac:inkMk id="31" creationId="{EB1D72DD-F60A-BDD7-26B8-14AF213741E6}"/>
          </ac:inkMkLst>
        </pc:inkChg>
        <pc:inkChg chg="add mod">
          <ac:chgData name="Aniket Chhabra" userId="598e0514-bef3-4e71-b6aa-f2edd6441cff" providerId="ADAL" clId="{7299E33A-FE09-9D4F-B2AA-68E1D4D3DAE6}" dt="2022-06-26T06:33:20.462" v="291"/>
          <ac:inkMkLst>
            <pc:docMk/>
            <pc:sldMk cId="3185156791" sldId="298"/>
            <ac:inkMk id="32" creationId="{2D4FB2C3-1929-921F-B3D4-7757A4BDE958}"/>
          </ac:inkMkLst>
        </pc:inkChg>
        <pc:inkChg chg="add mod">
          <ac:chgData name="Aniket Chhabra" userId="598e0514-bef3-4e71-b6aa-f2edd6441cff" providerId="ADAL" clId="{7299E33A-FE09-9D4F-B2AA-68E1D4D3DAE6}" dt="2022-06-26T06:33:20.462" v="291"/>
          <ac:inkMkLst>
            <pc:docMk/>
            <pc:sldMk cId="3185156791" sldId="298"/>
            <ac:inkMk id="33" creationId="{D8F5249E-8081-E312-9244-F2DA848ABF5D}"/>
          </ac:inkMkLst>
        </pc:inkChg>
        <pc:inkChg chg="add mod">
          <ac:chgData name="Aniket Chhabra" userId="598e0514-bef3-4e71-b6aa-f2edd6441cff" providerId="ADAL" clId="{7299E33A-FE09-9D4F-B2AA-68E1D4D3DAE6}" dt="2022-06-26T06:33:20.462" v="291"/>
          <ac:inkMkLst>
            <pc:docMk/>
            <pc:sldMk cId="3185156791" sldId="298"/>
            <ac:inkMk id="34" creationId="{B325F803-6F0E-A263-3D26-7E8FE136F1CA}"/>
          </ac:inkMkLst>
        </pc:inkChg>
        <pc:inkChg chg="add mod">
          <ac:chgData name="Aniket Chhabra" userId="598e0514-bef3-4e71-b6aa-f2edd6441cff" providerId="ADAL" clId="{7299E33A-FE09-9D4F-B2AA-68E1D4D3DAE6}" dt="2022-06-26T06:33:14.690" v="284"/>
          <ac:inkMkLst>
            <pc:docMk/>
            <pc:sldMk cId="3185156791" sldId="298"/>
            <ac:inkMk id="36" creationId="{D40FB3C7-722A-CB6E-DD1A-160B0ECA9A50}"/>
          </ac:inkMkLst>
        </pc:inkChg>
        <pc:inkChg chg="add mod">
          <ac:chgData name="Aniket Chhabra" userId="598e0514-bef3-4e71-b6aa-f2edd6441cff" providerId="ADAL" clId="{7299E33A-FE09-9D4F-B2AA-68E1D4D3DAE6}" dt="2022-06-26T06:33:14.690" v="284"/>
          <ac:inkMkLst>
            <pc:docMk/>
            <pc:sldMk cId="3185156791" sldId="298"/>
            <ac:inkMk id="37" creationId="{A8FF4522-5B5A-8725-A32D-5DB4441A4BE8}"/>
          </ac:inkMkLst>
        </pc:inkChg>
        <pc:inkChg chg="add mod">
          <ac:chgData name="Aniket Chhabra" userId="598e0514-bef3-4e71-b6aa-f2edd6441cff" providerId="ADAL" clId="{7299E33A-FE09-9D4F-B2AA-68E1D4D3DAE6}" dt="2022-06-26T06:33:14.690" v="284"/>
          <ac:inkMkLst>
            <pc:docMk/>
            <pc:sldMk cId="3185156791" sldId="298"/>
            <ac:inkMk id="38" creationId="{C89FC0B2-9BA1-E1E1-786C-5BF5C743917B}"/>
          </ac:inkMkLst>
        </pc:inkChg>
        <pc:inkChg chg="add mod">
          <ac:chgData name="Aniket Chhabra" userId="598e0514-bef3-4e71-b6aa-f2edd6441cff" providerId="ADAL" clId="{7299E33A-FE09-9D4F-B2AA-68E1D4D3DAE6}" dt="2022-06-26T06:33:14.690" v="284"/>
          <ac:inkMkLst>
            <pc:docMk/>
            <pc:sldMk cId="3185156791" sldId="298"/>
            <ac:inkMk id="39" creationId="{FAABE43A-925E-E6F0-BBFC-6149046A68A9}"/>
          </ac:inkMkLst>
        </pc:inkChg>
        <pc:inkChg chg="add mod">
          <ac:chgData name="Aniket Chhabra" userId="598e0514-bef3-4e71-b6aa-f2edd6441cff" providerId="ADAL" clId="{7299E33A-FE09-9D4F-B2AA-68E1D4D3DAE6}" dt="2022-06-26T06:33:14.690" v="284"/>
          <ac:inkMkLst>
            <pc:docMk/>
            <pc:sldMk cId="3185156791" sldId="298"/>
            <ac:inkMk id="40" creationId="{92402D79-D895-E163-AED1-FA8630CE4A59}"/>
          </ac:inkMkLst>
        </pc:inkChg>
        <pc:inkChg chg="add mod">
          <ac:chgData name="Aniket Chhabra" userId="598e0514-bef3-4e71-b6aa-f2edd6441cff" providerId="ADAL" clId="{7299E33A-FE09-9D4F-B2AA-68E1D4D3DAE6}" dt="2022-06-26T06:33:14.690" v="284"/>
          <ac:inkMkLst>
            <pc:docMk/>
            <pc:sldMk cId="3185156791" sldId="298"/>
            <ac:inkMk id="41" creationId="{9A8DDA39-5E53-5D73-157B-972C02F8A283}"/>
          </ac:inkMkLst>
        </pc:inkChg>
        <pc:inkChg chg="add mod">
          <ac:chgData name="Aniket Chhabra" userId="598e0514-bef3-4e71-b6aa-f2edd6441cff" providerId="ADAL" clId="{7299E33A-FE09-9D4F-B2AA-68E1D4D3DAE6}" dt="2022-06-26T06:33:14.690" v="284"/>
          <ac:inkMkLst>
            <pc:docMk/>
            <pc:sldMk cId="3185156791" sldId="298"/>
            <ac:inkMk id="42" creationId="{4115E938-FBAA-A164-BD2F-CD16359D102D}"/>
          </ac:inkMkLst>
        </pc:inkChg>
        <pc:inkChg chg="add mod">
          <ac:chgData name="Aniket Chhabra" userId="598e0514-bef3-4e71-b6aa-f2edd6441cff" providerId="ADAL" clId="{7299E33A-FE09-9D4F-B2AA-68E1D4D3DAE6}" dt="2022-06-26T06:33:14.690" v="284"/>
          <ac:inkMkLst>
            <pc:docMk/>
            <pc:sldMk cId="3185156791" sldId="298"/>
            <ac:inkMk id="43" creationId="{FF78592C-0216-F067-83A6-0DAF99DE82CD}"/>
          </ac:inkMkLst>
        </pc:inkChg>
        <pc:inkChg chg="add mod">
          <ac:chgData name="Aniket Chhabra" userId="598e0514-bef3-4e71-b6aa-f2edd6441cff" providerId="ADAL" clId="{7299E33A-FE09-9D4F-B2AA-68E1D4D3DAE6}" dt="2022-06-26T06:33:14.690" v="284"/>
          <ac:inkMkLst>
            <pc:docMk/>
            <pc:sldMk cId="3185156791" sldId="298"/>
            <ac:inkMk id="44" creationId="{534061FD-4E62-3EB3-993A-BC0474D76604}"/>
          </ac:inkMkLst>
        </pc:inkChg>
        <pc:inkChg chg="add mod">
          <ac:chgData name="Aniket Chhabra" userId="598e0514-bef3-4e71-b6aa-f2edd6441cff" providerId="ADAL" clId="{7299E33A-FE09-9D4F-B2AA-68E1D4D3DAE6}" dt="2022-06-26T06:33:14.690" v="284"/>
          <ac:inkMkLst>
            <pc:docMk/>
            <pc:sldMk cId="3185156791" sldId="298"/>
            <ac:inkMk id="45" creationId="{516C1098-CC60-3E4E-B826-BD4FDA83F2C6}"/>
          </ac:inkMkLst>
        </pc:inkChg>
        <pc:inkChg chg="add mod">
          <ac:chgData name="Aniket Chhabra" userId="598e0514-bef3-4e71-b6aa-f2edd6441cff" providerId="ADAL" clId="{7299E33A-FE09-9D4F-B2AA-68E1D4D3DAE6}" dt="2022-06-26T06:33:14.690" v="284"/>
          <ac:inkMkLst>
            <pc:docMk/>
            <pc:sldMk cId="3185156791" sldId="298"/>
            <ac:inkMk id="46" creationId="{91BBF522-AD76-3204-C324-B29A45873C8E}"/>
          </ac:inkMkLst>
        </pc:inkChg>
        <pc:inkChg chg="add mod">
          <ac:chgData name="Aniket Chhabra" userId="598e0514-bef3-4e71-b6aa-f2edd6441cff" providerId="ADAL" clId="{7299E33A-FE09-9D4F-B2AA-68E1D4D3DAE6}" dt="2022-06-26T06:33:14.690" v="284"/>
          <ac:inkMkLst>
            <pc:docMk/>
            <pc:sldMk cId="3185156791" sldId="298"/>
            <ac:inkMk id="47" creationId="{B8652DFC-4E5D-60C7-354F-2872B0364740}"/>
          </ac:inkMkLst>
        </pc:inkChg>
        <pc:inkChg chg="add mod">
          <ac:chgData name="Aniket Chhabra" userId="598e0514-bef3-4e71-b6aa-f2edd6441cff" providerId="ADAL" clId="{7299E33A-FE09-9D4F-B2AA-68E1D4D3DAE6}" dt="2022-06-26T06:33:18.695" v="289"/>
          <ac:inkMkLst>
            <pc:docMk/>
            <pc:sldMk cId="3185156791" sldId="298"/>
            <ac:inkMk id="50" creationId="{C8DDA430-E8AA-7BE7-7145-1F8472357C7E}"/>
          </ac:inkMkLst>
        </pc:inkChg>
        <pc:inkChg chg="add mod">
          <ac:chgData name="Aniket Chhabra" userId="598e0514-bef3-4e71-b6aa-f2edd6441cff" providerId="ADAL" clId="{7299E33A-FE09-9D4F-B2AA-68E1D4D3DAE6}" dt="2022-06-26T06:33:18.695" v="289"/>
          <ac:inkMkLst>
            <pc:docMk/>
            <pc:sldMk cId="3185156791" sldId="298"/>
            <ac:inkMk id="51" creationId="{7E2E7726-4F59-875B-1BED-7CC6BEE43E1E}"/>
          </ac:inkMkLst>
        </pc:inkChg>
        <pc:inkChg chg="add mod">
          <ac:chgData name="Aniket Chhabra" userId="598e0514-bef3-4e71-b6aa-f2edd6441cff" providerId="ADAL" clId="{7299E33A-FE09-9D4F-B2AA-68E1D4D3DAE6}" dt="2022-06-26T06:33:18.695" v="289"/>
          <ac:inkMkLst>
            <pc:docMk/>
            <pc:sldMk cId="3185156791" sldId="298"/>
            <ac:inkMk id="52" creationId="{381D22B2-8E7A-68BE-4CF2-0C05F34D78A2}"/>
          </ac:inkMkLst>
        </pc:inkChg>
        <pc:inkChg chg="add mod">
          <ac:chgData name="Aniket Chhabra" userId="598e0514-bef3-4e71-b6aa-f2edd6441cff" providerId="ADAL" clId="{7299E33A-FE09-9D4F-B2AA-68E1D4D3DAE6}" dt="2022-06-26T06:33:18.695" v="289"/>
          <ac:inkMkLst>
            <pc:docMk/>
            <pc:sldMk cId="3185156791" sldId="298"/>
            <ac:inkMk id="53" creationId="{A195532D-14B9-1E2B-2E4C-342D5EFB01D2}"/>
          </ac:inkMkLst>
        </pc:inkChg>
        <pc:inkChg chg="add mod">
          <ac:chgData name="Aniket Chhabra" userId="598e0514-bef3-4e71-b6aa-f2edd6441cff" providerId="ADAL" clId="{7299E33A-FE09-9D4F-B2AA-68E1D4D3DAE6}" dt="2022-06-26T06:33:22.284" v="295"/>
          <ac:inkMkLst>
            <pc:docMk/>
            <pc:sldMk cId="3185156791" sldId="298"/>
            <ac:inkMk id="55" creationId="{E9D6801D-E81E-3412-C986-BBBA6A6739E4}"/>
          </ac:inkMkLst>
        </pc:inkChg>
        <pc:inkChg chg="add mod">
          <ac:chgData name="Aniket Chhabra" userId="598e0514-bef3-4e71-b6aa-f2edd6441cff" providerId="ADAL" clId="{7299E33A-FE09-9D4F-B2AA-68E1D4D3DAE6}" dt="2022-06-26T06:33:22.284" v="295"/>
          <ac:inkMkLst>
            <pc:docMk/>
            <pc:sldMk cId="3185156791" sldId="298"/>
            <ac:inkMk id="57" creationId="{9DBFE116-377E-ED5C-2D81-29BD333C4AA6}"/>
          </ac:inkMkLst>
        </pc:inkChg>
        <pc:inkChg chg="add mod">
          <ac:chgData name="Aniket Chhabra" userId="598e0514-bef3-4e71-b6aa-f2edd6441cff" providerId="ADAL" clId="{7299E33A-FE09-9D4F-B2AA-68E1D4D3DAE6}" dt="2022-06-26T06:33:22.284" v="295"/>
          <ac:inkMkLst>
            <pc:docMk/>
            <pc:sldMk cId="3185156791" sldId="298"/>
            <ac:inkMk id="58" creationId="{7874300E-E334-69F0-9619-D3984854664E}"/>
          </ac:inkMkLst>
        </pc:inkChg>
        <pc:inkChg chg="add mod">
          <ac:chgData name="Aniket Chhabra" userId="598e0514-bef3-4e71-b6aa-f2edd6441cff" providerId="ADAL" clId="{7299E33A-FE09-9D4F-B2AA-68E1D4D3DAE6}" dt="2022-06-26T06:33:22.284" v="295"/>
          <ac:inkMkLst>
            <pc:docMk/>
            <pc:sldMk cId="3185156791" sldId="298"/>
            <ac:inkMk id="59" creationId="{6CFF0536-EF3F-A392-1367-C74BD2ED9B18}"/>
          </ac:inkMkLst>
        </pc:inkChg>
      </pc:sldChg>
      <pc:sldChg chg="addSp delSp modSp">
        <pc:chgData name="Aniket Chhabra" userId="598e0514-bef3-4e71-b6aa-f2edd6441cff" providerId="ADAL" clId="{7299E33A-FE09-9D4F-B2AA-68E1D4D3DAE6}" dt="2022-06-26T06:42:30.602" v="392"/>
        <pc:sldMkLst>
          <pc:docMk/>
          <pc:sldMk cId="3478359748" sldId="301"/>
        </pc:sldMkLst>
        <pc:grpChg chg="add del mod">
          <ac:chgData name="Aniket Chhabra" userId="598e0514-bef3-4e71-b6aa-f2edd6441cff" providerId="ADAL" clId="{7299E33A-FE09-9D4F-B2AA-68E1D4D3DAE6}" dt="2022-06-26T06:42:30.602" v="392"/>
          <ac:grpSpMkLst>
            <pc:docMk/>
            <pc:sldMk cId="3478359748" sldId="301"/>
            <ac:grpSpMk id="52" creationId="{03FB38E7-3898-4AE7-ACAB-294F1C59F0CD}"/>
          </ac:grpSpMkLst>
        </pc:grpChg>
        <pc:grpChg chg="add del mod">
          <ac:chgData name="Aniket Chhabra" userId="598e0514-bef3-4e71-b6aa-f2edd6441cff" providerId="ADAL" clId="{7299E33A-FE09-9D4F-B2AA-68E1D4D3DAE6}" dt="2022-06-26T06:42:30.602" v="392"/>
          <ac:grpSpMkLst>
            <pc:docMk/>
            <pc:sldMk cId="3478359748" sldId="301"/>
            <ac:grpSpMk id="87" creationId="{57FCF10E-C4DF-48A6-8A81-51C447E9A614}"/>
          </ac:grpSpMkLst>
        </pc:grpChg>
        <pc:grpChg chg="add del mod">
          <ac:chgData name="Aniket Chhabra" userId="598e0514-bef3-4e71-b6aa-f2edd6441cff" providerId="ADAL" clId="{7299E33A-FE09-9D4F-B2AA-68E1D4D3DAE6}" dt="2022-06-26T06:42:30.602" v="392"/>
          <ac:grpSpMkLst>
            <pc:docMk/>
            <pc:sldMk cId="3478359748" sldId="301"/>
            <ac:grpSpMk id="128" creationId="{A5B25D6D-4F1B-42E0-BB91-21573EFF7F5F}"/>
          </ac:grpSpMkLst>
        </pc:grpChg>
        <pc:grpChg chg="mod">
          <ac:chgData name="Aniket Chhabra" userId="598e0514-bef3-4e71-b6aa-f2edd6441cff" providerId="ADAL" clId="{7299E33A-FE09-9D4F-B2AA-68E1D4D3DAE6}" dt="2022-06-26T06:42:30.602" v="392"/>
          <ac:grpSpMkLst>
            <pc:docMk/>
            <pc:sldMk cId="3478359748" sldId="301"/>
            <ac:grpSpMk id="141" creationId="{46CBEA68-CC02-4714-978B-908E5B75D45A}"/>
          </ac:grpSpMkLst>
        </pc:grpChg>
        <pc:grpChg chg="add del mod">
          <ac:chgData name="Aniket Chhabra" userId="598e0514-bef3-4e71-b6aa-f2edd6441cff" providerId="ADAL" clId="{7299E33A-FE09-9D4F-B2AA-68E1D4D3DAE6}" dt="2022-06-26T06:42:30.602" v="392"/>
          <ac:grpSpMkLst>
            <pc:docMk/>
            <pc:sldMk cId="3478359748" sldId="301"/>
            <ac:grpSpMk id="224" creationId="{675662A2-35C9-4F49-ABA5-8FCCE594CD5E}"/>
          </ac:grpSpMkLst>
        </pc:grpChg>
        <pc:inkChg chg="mod">
          <ac:chgData name="Aniket Chhabra" userId="598e0514-bef3-4e71-b6aa-f2edd6441cff" providerId="ADAL" clId="{7299E33A-FE09-9D4F-B2AA-68E1D4D3DAE6}" dt="2022-06-26T06:42:30.602" v="392"/>
          <ac:inkMkLst>
            <pc:docMk/>
            <pc:sldMk cId="3478359748" sldId="301"/>
            <ac:inkMk id="2" creationId="{DF21E9CB-F10A-4563-8DF0-6C1922E5312F}"/>
          </ac:inkMkLst>
        </pc:inkChg>
        <pc:inkChg chg="add del">
          <ac:chgData name="Aniket Chhabra" userId="598e0514-bef3-4e71-b6aa-f2edd6441cff" providerId="ADAL" clId="{7299E33A-FE09-9D4F-B2AA-68E1D4D3DAE6}" dt="2022-06-26T06:42:30.602" v="392"/>
          <ac:inkMkLst>
            <pc:docMk/>
            <pc:sldMk cId="3478359748" sldId="301"/>
            <ac:inkMk id="44" creationId="{8B90CBBB-41EE-478F-93E1-1FB81EB9E14A}"/>
          </ac:inkMkLst>
        </pc:inkChg>
        <pc:inkChg chg="add del">
          <ac:chgData name="Aniket Chhabra" userId="598e0514-bef3-4e71-b6aa-f2edd6441cff" providerId="ADAL" clId="{7299E33A-FE09-9D4F-B2AA-68E1D4D3DAE6}" dt="2022-06-26T06:42:30.602" v="392"/>
          <ac:inkMkLst>
            <pc:docMk/>
            <pc:sldMk cId="3478359748" sldId="301"/>
            <ac:inkMk id="49" creationId="{70931968-1D2D-42A6-A25A-280E42455AC0}"/>
          </ac:inkMkLst>
        </pc:inkChg>
        <pc:inkChg chg="add del">
          <ac:chgData name="Aniket Chhabra" userId="598e0514-bef3-4e71-b6aa-f2edd6441cff" providerId="ADAL" clId="{7299E33A-FE09-9D4F-B2AA-68E1D4D3DAE6}" dt="2022-06-26T06:42:30.602" v="392"/>
          <ac:inkMkLst>
            <pc:docMk/>
            <pc:sldMk cId="3478359748" sldId="301"/>
            <ac:inkMk id="50" creationId="{DB508AA2-D1D0-4EF0-8BE3-8937C8B71C56}"/>
          </ac:inkMkLst>
        </pc:inkChg>
        <pc:inkChg chg="add del mod">
          <ac:chgData name="Aniket Chhabra" userId="598e0514-bef3-4e71-b6aa-f2edd6441cff" providerId="ADAL" clId="{7299E33A-FE09-9D4F-B2AA-68E1D4D3DAE6}" dt="2022-06-26T06:42:30.602" v="392"/>
          <ac:inkMkLst>
            <pc:docMk/>
            <pc:sldMk cId="3478359748" sldId="301"/>
            <ac:inkMk id="51" creationId="{F3D44F98-EA14-45D3-BB3D-7D56080D091D}"/>
          </ac:inkMkLst>
        </pc:inkChg>
        <pc:inkChg chg="add del mod">
          <ac:chgData name="Aniket Chhabra" userId="598e0514-bef3-4e71-b6aa-f2edd6441cff" providerId="ADAL" clId="{7299E33A-FE09-9D4F-B2AA-68E1D4D3DAE6}" dt="2022-06-26T06:42:30.602" v="392"/>
          <ac:inkMkLst>
            <pc:docMk/>
            <pc:sldMk cId="3478359748" sldId="301"/>
            <ac:inkMk id="80" creationId="{BC0C3A49-682D-4C4F-A0B0-520E6FD01C1C}"/>
          </ac:inkMkLst>
        </pc:inkChg>
        <pc:inkChg chg="add del">
          <ac:chgData name="Aniket Chhabra" userId="598e0514-bef3-4e71-b6aa-f2edd6441cff" providerId="ADAL" clId="{7299E33A-FE09-9D4F-B2AA-68E1D4D3DAE6}" dt="2022-06-26T06:42:30.602" v="392"/>
          <ac:inkMkLst>
            <pc:docMk/>
            <pc:sldMk cId="3478359748" sldId="301"/>
            <ac:inkMk id="81" creationId="{E3CAD07B-2E88-47F3-9F79-8E370FBCB9F4}"/>
          </ac:inkMkLst>
        </pc:inkChg>
        <pc:inkChg chg="add del mod">
          <ac:chgData name="Aniket Chhabra" userId="598e0514-bef3-4e71-b6aa-f2edd6441cff" providerId="ADAL" clId="{7299E33A-FE09-9D4F-B2AA-68E1D4D3DAE6}" dt="2022-06-26T06:42:30.602" v="392"/>
          <ac:inkMkLst>
            <pc:docMk/>
            <pc:sldMk cId="3478359748" sldId="301"/>
            <ac:inkMk id="82" creationId="{3C0FE35D-98CF-4A26-8417-256CFBD49B1F}"/>
          </ac:inkMkLst>
        </pc:inkChg>
        <pc:inkChg chg="add del mod">
          <ac:chgData name="Aniket Chhabra" userId="598e0514-bef3-4e71-b6aa-f2edd6441cff" providerId="ADAL" clId="{7299E33A-FE09-9D4F-B2AA-68E1D4D3DAE6}" dt="2022-06-26T06:42:30.602" v="392"/>
          <ac:inkMkLst>
            <pc:docMk/>
            <pc:sldMk cId="3478359748" sldId="301"/>
            <ac:inkMk id="83" creationId="{95F756AF-00CC-4DFE-86CD-F857C0BBD93A}"/>
          </ac:inkMkLst>
        </pc:inkChg>
        <pc:inkChg chg="add del mod">
          <ac:chgData name="Aniket Chhabra" userId="598e0514-bef3-4e71-b6aa-f2edd6441cff" providerId="ADAL" clId="{7299E33A-FE09-9D4F-B2AA-68E1D4D3DAE6}" dt="2022-06-26T06:42:30.602" v="392"/>
          <ac:inkMkLst>
            <pc:docMk/>
            <pc:sldMk cId="3478359748" sldId="301"/>
            <ac:inkMk id="84" creationId="{B7B0CF67-3AC3-4CE0-BE84-1402CB73DB7B}"/>
          </ac:inkMkLst>
        </pc:inkChg>
        <pc:inkChg chg="add del mod">
          <ac:chgData name="Aniket Chhabra" userId="598e0514-bef3-4e71-b6aa-f2edd6441cff" providerId="ADAL" clId="{7299E33A-FE09-9D4F-B2AA-68E1D4D3DAE6}" dt="2022-06-26T06:42:30.602" v="392"/>
          <ac:inkMkLst>
            <pc:docMk/>
            <pc:sldMk cId="3478359748" sldId="301"/>
            <ac:inkMk id="85" creationId="{8FAA1BFA-3CE4-4352-B93B-88A59B88239A}"/>
          </ac:inkMkLst>
        </pc:inkChg>
        <pc:inkChg chg="add del mod">
          <ac:chgData name="Aniket Chhabra" userId="598e0514-bef3-4e71-b6aa-f2edd6441cff" providerId="ADAL" clId="{7299E33A-FE09-9D4F-B2AA-68E1D4D3DAE6}" dt="2022-06-26T06:42:30.602" v="392"/>
          <ac:inkMkLst>
            <pc:docMk/>
            <pc:sldMk cId="3478359748" sldId="301"/>
            <ac:inkMk id="86" creationId="{DE078FFB-FABD-4E8D-AA13-CCBF8D91B67F}"/>
          </ac:inkMkLst>
        </pc:inkChg>
        <pc:inkChg chg="add del mod">
          <ac:chgData name="Aniket Chhabra" userId="598e0514-bef3-4e71-b6aa-f2edd6441cff" providerId="ADAL" clId="{7299E33A-FE09-9D4F-B2AA-68E1D4D3DAE6}" dt="2022-06-26T06:42:30.602" v="392"/>
          <ac:inkMkLst>
            <pc:docMk/>
            <pc:sldMk cId="3478359748" sldId="301"/>
            <ac:inkMk id="111" creationId="{2686E36D-362A-434C-8279-5743DDFBC05D}"/>
          </ac:inkMkLst>
        </pc:inkChg>
        <pc:inkChg chg="add del mod">
          <ac:chgData name="Aniket Chhabra" userId="598e0514-bef3-4e71-b6aa-f2edd6441cff" providerId="ADAL" clId="{7299E33A-FE09-9D4F-B2AA-68E1D4D3DAE6}" dt="2022-06-26T06:42:30.602" v="392"/>
          <ac:inkMkLst>
            <pc:docMk/>
            <pc:sldMk cId="3478359748" sldId="301"/>
            <ac:inkMk id="112" creationId="{E6DD6FAA-042C-492F-88FB-0086FECDC5AA}"/>
          </ac:inkMkLst>
        </pc:inkChg>
        <pc:inkChg chg="add del mod">
          <ac:chgData name="Aniket Chhabra" userId="598e0514-bef3-4e71-b6aa-f2edd6441cff" providerId="ADAL" clId="{7299E33A-FE09-9D4F-B2AA-68E1D4D3DAE6}" dt="2022-06-26T06:42:30.602" v="392"/>
          <ac:inkMkLst>
            <pc:docMk/>
            <pc:sldMk cId="3478359748" sldId="301"/>
            <ac:inkMk id="113" creationId="{5DD6611D-2394-48CE-86EC-03FA5F770223}"/>
          </ac:inkMkLst>
        </pc:inkChg>
        <pc:inkChg chg="add del mod">
          <ac:chgData name="Aniket Chhabra" userId="598e0514-bef3-4e71-b6aa-f2edd6441cff" providerId="ADAL" clId="{7299E33A-FE09-9D4F-B2AA-68E1D4D3DAE6}" dt="2022-06-26T06:42:30.602" v="392"/>
          <ac:inkMkLst>
            <pc:docMk/>
            <pc:sldMk cId="3478359748" sldId="301"/>
            <ac:inkMk id="114" creationId="{40AA50FC-2301-4DEF-9EC5-8C0DCC70ADBA}"/>
          </ac:inkMkLst>
        </pc:inkChg>
        <pc:inkChg chg="add del mod">
          <ac:chgData name="Aniket Chhabra" userId="598e0514-bef3-4e71-b6aa-f2edd6441cff" providerId="ADAL" clId="{7299E33A-FE09-9D4F-B2AA-68E1D4D3DAE6}" dt="2022-06-26T06:42:30.602" v="392"/>
          <ac:inkMkLst>
            <pc:docMk/>
            <pc:sldMk cId="3478359748" sldId="301"/>
            <ac:inkMk id="115" creationId="{4DFF9D49-65B4-41B9-9128-816FE762E27D}"/>
          </ac:inkMkLst>
        </pc:inkChg>
        <pc:inkChg chg="add del mod">
          <ac:chgData name="Aniket Chhabra" userId="598e0514-bef3-4e71-b6aa-f2edd6441cff" providerId="ADAL" clId="{7299E33A-FE09-9D4F-B2AA-68E1D4D3DAE6}" dt="2022-06-26T06:42:30.602" v="392"/>
          <ac:inkMkLst>
            <pc:docMk/>
            <pc:sldMk cId="3478359748" sldId="301"/>
            <ac:inkMk id="116" creationId="{7A7D0BD1-B67E-45C0-9167-847185562E0E}"/>
          </ac:inkMkLst>
        </pc:inkChg>
        <pc:inkChg chg="add del mod">
          <ac:chgData name="Aniket Chhabra" userId="598e0514-bef3-4e71-b6aa-f2edd6441cff" providerId="ADAL" clId="{7299E33A-FE09-9D4F-B2AA-68E1D4D3DAE6}" dt="2022-06-26T06:42:30.602" v="392"/>
          <ac:inkMkLst>
            <pc:docMk/>
            <pc:sldMk cId="3478359748" sldId="301"/>
            <ac:inkMk id="117" creationId="{5E63643A-A5B1-44D2-9670-32C5AFDC67FF}"/>
          </ac:inkMkLst>
        </pc:inkChg>
        <pc:inkChg chg="add del mod">
          <ac:chgData name="Aniket Chhabra" userId="598e0514-bef3-4e71-b6aa-f2edd6441cff" providerId="ADAL" clId="{7299E33A-FE09-9D4F-B2AA-68E1D4D3DAE6}" dt="2022-06-26T06:42:30.602" v="392"/>
          <ac:inkMkLst>
            <pc:docMk/>
            <pc:sldMk cId="3478359748" sldId="301"/>
            <ac:inkMk id="118" creationId="{5205C8A8-B550-4FD7-ACEB-D27F3A0DF836}"/>
          </ac:inkMkLst>
        </pc:inkChg>
        <pc:inkChg chg="add del mod">
          <ac:chgData name="Aniket Chhabra" userId="598e0514-bef3-4e71-b6aa-f2edd6441cff" providerId="ADAL" clId="{7299E33A-FE09-9D4F-B2AA-68E1D4D3DAE6}" dt="2022-06-26T06:42:30.602" v="392"/>
          <ac:inkMkLst>
            <pc:docMk/>
            <pc:sldMk cId="3478359748" sldId="301"/>
            <ac:inkMk id="119" creationId="{A94EC5E3-A198-44B1-A477-6EEF9889180D}"/>
          </ac:inkMkLst>
        </pc:inkChg>
        <pc:inkChg chg="add del">
          <ac:chgData name="Aniket Chhabra" userId="598e0514-bef3-4e71-b6aa-f2edd6441cff" providerId="ADAL" clId="{7299E33A-FE09-9D4F-B2AA-68E1D4D3DAE6}" dt="2022-06-26T06:42:30.602" v="392"/>
          <ac:inkMkLst>
            <pc:docMk/>
            <pc:sldMk cId="3478359748" sldId="301"/>
            <ac:inkMk id="120" creationId="{3463E501-E5A3-497F-B8C5-5EF750A08528}"/>
          </ac:inkMkLst>
        </pc:inkChg>
        <pc:inkChg chg="add del">
          <ac:chgData name="Aniket Chhabra" userId="598e0514-bef3-4e71-b6aa-f2edd6441cff" providerId="ADAL" clId="{7299E33A-FE09-9D4F-B2AA-68E1D4D3DAE6}" dt="2022-06-26T06:42:30.602" v="392"/>
          <ac:inkMkLst>
            <pc:docMk/>
            <pc:sldMk cId="3478359748" sldId="301"/>
            <ac:inkMk id="121" creationId="{0D153F60-E48B-4DBC-BB7D-ECFF71976CE8}"/>
          </ac:inkMkLst>
        </pc:inkChg>
        <pc:inkChg chg="add del">
          <ac:chgData name="Aniket Chhabra" userId="598e0514-bef3-4e71-b6aa-f2edd6441cff" providerId="ADAL" clId="{7299E33A-FE09-9D4F-B2AA-68E1D4D3DAE6}" dt="2022-06-26T06:42:30.602" v="392"/>
          <ac:inkMkLst>
            <pc:docMk/>
            <pc:sldMk cId="3478359748" sldId="301"/>
            <ac:inkMk id="125" creationId="{6E445BFD-C8B6-4F35-9B78-BA140BACF1CD}"/>
          </ac:inkMkLst>
        </pc:inkChg>
        <pc:inkChg chg="add del">
          <ac:chgData name="Aniket Chhabra" userId="598e0514-bef3-4e71-b6aa-f2edd6441cff" providerId="ADAL" clId="{7299E33A-FE09-9D4F-B2AA-68E1D4D3DAE6}" dt="2022-06-26T06:42:30.602" v="392"/>
          <ac:inkMkLst>
            <pc:docMk/>
            <pc:sldMk cId="3478359748" sldId="301"/>
            <ac:inkMk id="126" creationId="{4A29440D-9C21-404F-9EC7-238F12C982A6}"/>
          </ac:inkMkLst>
        </pc:inkChg>
        <pc:inkChg chg="add del mod">
          <ac:chgData name="Aniket Chhabra" userId="598e0514-bef3-4e71-b6aa-f2edd6441cff" providerId="ADAL" clId="{7299E33A-FE09-9D4F-B2AA-68E1D4D3DAE6}" dt="2022-06-26T06:42:30.602" v="392"/>
          <ac:inkMkLst>
            <pc:docMk/>
            <pc:sldMk cId="3478359748" sldId="301"/>
            <ac:inkMk id="129" creationId="{AB4FD76E-7115-4C0D-AA98-D05D51C3E38E}"/>
          </ac:inkMkLst>
        </pc:inkChg>
        <pc:inkChg chg="mod">
          <ac:chgData name="Aniket Chhabra" userId="598e0514-bef3-4e71-b6aa-f2edd6441cff" providerId="ADAL" clId="{7299E33A-FE09-9D4F-B2AA-68E1D4D3DAE6}" dt="2022-06-26T06:42:30.602" v="392"/>
          <ac:inkMkLst>
            <pc:docMk/>
            <pc:sldMk cId="3478359748" sldId="301"/>
            <ac:inkMk id="130" creationId="{983A516F-55E0-4528-85B7-A8357D7B8A0A}"/>
          </ac:inkMkLst>
        </pc:inkChg>
        <pc:inkChg chg="mod">
          <ac:chgData name="Aniket Chhabra" userId="598e0514-bef3-4e71-b6aa-f2edd6441cff" providerId="ADAL" clId="{7299E33A-FE09-9D4F-B2AA-68E1D4D3DAE6}" dt="2022-06-26T06:42:30.602" v="392"/>
          <ac:inkMkLst>
            <pc:docMk/>
            <pc:sldMk cId="3478359748" sldId="301"/>
            <ac:inkMk id="131" creationId="{D77EC93E-83CB-446E-B675-55780F718C39}"/>
          </ac:inkMkLst>
        </pc:inkChg>
        <pc:inkChg chg="mod">
          <ac:chgData name="Aniket Chhabra" userId="598e0514-bef3-4e71-b6aa-f2edd6441cff" providerId="ADAL" clId="{7299E33A-FE09-9D4F-B2AA-68E1D4D3DAE6}" dt="2022-06-26T06:42:30.602" v="392"/>
          <ac:inkMkLst>
            <pc:docMk/>
            <pc:sldMk cId="3478359748" sldId="301"/>
            <ac:inkMk id="132" creationId="{593585F0-EDA5-4369-A38E-CA9BA7893850}"/>
          </ac:inkMkLst>
        </pc:inkChg>
        <pc:inkChg chg="add del">
          <ac:chgData name="Aniket Chhabra" userId="598e0514-bef3-4e71-b6aa-f2edd6441cff" providerId="ADAL" clId="{7299E33A-FE09-9D4F-B2AA-68E1D4D3DAE6}" dt="2022-06-26T06:42:30.602" v="392"/>
          <ac:inkMkLst>
            <pc:docMk/>
            <pc:sldMk cId="3478359748" sldId="301"/>
            <ac:inkMk id="164" creationId="{46DA0053-66C0-41D3-A035-8776CBD2896E}"/>
          </ac:inkMkLst>
        </pc:inkChg>
        <pc:inkChg chg="add del">
          <ac:chgData name="Aniket Chhabra" userId="598e0514-bef3-4e71-b6aa-f2edd6441cff" providerId="ADAL" clId="{7299E33A-FE09-9D4F-B2AA-68E1D4D3DAE6}" dt="2022-06-26T06:42:30.602" v="392"/>
          <ac:inkMkLst>
            <pc:docMk/>
            <pc:sldMk cId="3478359748" sldId="301"/>
            <ac:inkMk id="166" creationId="{E3498A10-AF00-40D5-B3DF-7C0215A3C7E6}"/>
          </ac:inkMkLst>
        </pc:inkChg>
        <pc:inkChg chg="add del">
          <ac:chgData name="Aniket Chhabra" userId="598e0514-bef3-4e71-b6aa-f2edd6441cff" providerId="ADAL" clId="{7299E33A-FE09-9D4F-B2AA-68E1D4D3DAE6}" dt="2022-06-26T06:42:30.602" v="392"/>
          <ac:inkMkLst>
            <pc:docMk/>
            <pc:sldMk cId="3478359748" sldId="301"/>
            <ac:inkMk id="169" creationId="{8379E051-038A-483C-99D3-75B1652E6880}"/>
          </ac:inkMkLst>
        </pc:inkChg>
        <pc:inkChg chg="add del">
          <ac:chgData name="Aniket Chhabra" userId="598e0514-bef3-4e71-b6aa-f2edd6441cff" providerId="ADAL" clId="{7299E33A-FE09-9D4F-B2AA-68E1D4D3DAE6}" dt="2022-06-26T06:42:30.602" v="392"/>
          <ac:inkMkLst>
            <pc:docMk/>
            <pc:sldMk cId="3478359748" sldId="301"/>
            <ac:inkMk id="200" creationId="{46961CC5-F2CA-4FCB-9070-4C04302D8607}"/>
          </ac:inkMkLst>
        </pc:inkChg>
        <pc:inkChg chg="add del mod">
          <ac:chgData name="Aniket Chhabra" userId="598e0514-bef3-4e71-b6aa-f2edd6441cff" providerId="ADAL" clId="{7299E33A-FE09-9D4F-B2AA-68E1D4D3DAE6}" dt="2022-06-26T06:42:30.602" v="392"/>
          <ac:inkMkLst>
            <pc:docMk/>
            <pc:sldMk cId="3478359748" sldId="301"/>
            <ac:inkMk id="201" creationId="{02C92FD0-38E7-4766-A089-C9A2872E9573}"/>
          </ac:inkMkLst>
        </pc:inkChg>
        <pc:inkChg chg="add del mod">
          <ac:chgData name="Aniket Chhabra" userId="598e0514-bef3-4e71-b6aa-f2edd6441cff" providerId="ADAL" clId="{7299E33A-FE09-9D4F-B2AA-68E1D4D3DAE6}" dt="2022-06-26T06:42:30.602" v="392"/>
          <ac:inkMkLst>
            <pc:docMk/>
            <pc:sldMk cId="3478359748" sldId="301"/>
            <ac:inkMk id="202" creationId="{857F1F1D-1B75-4E75-8448-F84384CAD220}"/>
          </ac:inkMkLst>
        </pc:inkChg>
        <pc:inkChg chg="add del mod">
          <ac:chgData name="Aniket Chhabra" userId="598e0514-bef3-4e71-b6aa-f2edd6441cff" providerId="ADAL" clId="{7299E33A-FE09-9D4F-B2AA-68E1D4D3DAE6}" dt="2022-06-26T06:42:30.602" v="392"/>
          <ac:inkMkLst>
            <pc:docMk/>
            <pc:sldMk cId="3478359748" sldId="301"/>
            <ac:inkMk id="203" creationId="{8C2CA4A6-90D5-4243-9896-63ED58D131DF}"/>
          </ac:inkMkLst>
        </pc:inkChg>
        <pc:inkChg chg="add del mod">
          <ac:chgData name="Aniket Chhabra" userId="598e0514-bef3-4e71-b6aa-f2edd6441cff" providerId="ADAL" clId="{7299E33A-FE09-9D4F-B2AA-68E1D4D3DAE6}" dt="2022-06-26T06:42:30.602" v="392"/>
          <ac:inkMkLst>
            <pc:docMk/>
            <pc:sldMk cId="3478359748" sldId="301"/>
            <ac:inkMk id="204" creationId="{DA7A8582-206B-4111-9364-02E36D0C8045}"/>
          </ac:inkMkLst>
        </pc:inkChg>
        <pc:inkChg chg="add del mod">
          <ac:chgData name="Aniket Chhabra" userId="598e0514-bef3-4e71-b6aa-f2edd6441cff" providerId="ADAL" clId="{7299E33A-FE09-9D4F-B2AA-68E1D4D3DAE6}" dt="2022-06-26T06:42:30.602" v="392"/>
          <ac:inkMkLst>
            <pc:docMk/>
            <pc:sldMk cId="3478359748" sldId="301"/>
            <ac:inkMk id="205" creationId="{14A37521-E92F-41F0-9611-B470A752C7EE}"/>
          </ac:inkMkLst>
        </pc:inkChg>
        <pc:inkChg chg="add del mod">
          <ac:chgData name="Aniket Chhabra" userId="598e0514-bef3-4e71-b6aa-f2edd6441cff" providerId="ADAL" clId="{7299E33A-FE09-9D4F-B2AA-68E1D4D3DAE6}" dt="2022-06-26T06:42:30.602" v="392"/>
          <ac:inkMkLst>
            <pc:docMk/>
            <pc:sldMk cId="3478359748" sldId="301"/>
            <ac:inkMk id="206" creationId="{D64FC644-8CD7-42F1-919A-A606A823FED6}"/>
          </ac:inkMkLst>
        </pc:inkChg>
        <pc:inkChg chg="add del mod">
          <ac:chgData name="Aniket Chhabra" userId="598e0514-bef3-4e71-b6aa-f2edd6441cff" providerId="ADAL" clId="{7299E33A-FE09-9D4F-B2AA-68E1D4D3DAE6}" dt="2022-06-26T06:42:30.602" v="392"/>
          <ac:inkMkLst>
            <pc:docMk/>
            <pc:sldMk cId="3478359748" sldId="301"/>
            <ac:inkMk id="210" creationId="{E26A5ECE-413A-4B53-811A-A727F8B13030}"/>
          </ac:inkMkLst>
        </pc:inkChg>
        <pc:inkChg chg="add del mod">
          <ac:chgData name="Aniket Chhabra" userId="598e0514-bef3-4e71-b6aa-f2edd6441cff" providerId="ADAL" clId="{7299E33A-FE09-9D4F-B2AA-68E1D4D3DAE6}" dt="2022-06-26T06:42:30.602" v="392"/>
          <ac:inkMkLst>
            <pc:docMk/>
            <pc:sldMk cId="3478359748" sldId="301"/>
            <ac:inkMk id="211" creationId="{3A20336D-5EFE-4823-9DE8-05EDB2899006}"/>
          </ac:inkMkLst>
        </pc:inkChg>
        <pc:inkChg chg="add del mod">
          <ac:chgData name="Aniket Chhabra" userId="598e0514-bef3-4e71-b6aa-f2edd6441cff" providerId="ADAL" clId="{7299E33A-FE09-9D4F-B2AA-68E1D4D3DAE6}" dt="2022-06-26T06:42:30.602" v="392"/>
          <ac:inkMkLst>
            <pc:docMk/>
            <pc:sldMk cId="3478359748" sldId="301"/>
            <ac:inkMk id="212" creationId="{FACB1D74-2D32-4585-BBB3-0B1DEFAAD2B4}"/>
          </ac:inkMkLst>
        </pc:inkChg>
        <pc:inkChg chg="add del">
          <ac:chgData name="Aniket Chhabra" userId="598e0514-bef3-4e71-b6aa-f2edd6441cff" providerId="ADAL" clId="{7299E33A-FE09-9D4F-B2AA-68E1D4D3DAE6}" dt="2022-06-26T06:42:30.602" v="392"/>
          <ac:inkMkLst>
            <pc:docMk/>
            <pc:sldMk cId="3478359748" sldId="301"/>
            <ac:inkMk id="213" creationId="{9A4771BB-18B6-40B2-8FAA-1EEE885892D0}"/>
          </ac:inkMkLst>
        </pc:inkChg>
        <pc:inkChg chg="add del mod">
          <ac:chgData name="Aniket Chhabra" userId="598e0514-bef3-4e71-b6aa-f2edd6441cff" providerId="ADAL" clId="{7299E33A-FE09-9D4F-B2AA-68E1D4D3DAE6}" dt="2022-06-26T06:42:30.602" v="392"/>
          <ac:inkMkLst>
            <pc:docMk/>
            <pc:sldMk cId="3478359748" sldId="301"/>
            <ac:inkMk id="214" creationId="{D78F3BD9-CA0B-45AB-B41D-A24F906FB140}"/>
          </ac:inkMkLst>
        </pc:inkChg>
        <pc:inkChg chg="add del mod">
          <ac:chgData name="Aniket Chhabra" userId="598e0514-bef3-4e71-b6aa-f2edd6441cff" providerId="ADAL" clId="{7299E33A-FE09-9D4F-B2AA-68E1D4D3DAE6}" dt="2022-06-26T06:42:30.602" v="392"/>
          <ac:inkMkLst>
            <pc:docMk/>
            <pc:sldMk cId="3478359748" sldId="301"/>
            <ac:inkMk id="215" creationId="{E604E5DE-CE99-4A3E-B93E-F35D591BB496}"/>
          </ac:inkMkLst>
        </pc:inkChg>
        <pc:inkChg chg="add del mod">
          <ac:chgData name="Aniket Chhabra" userId="598e0514-bef3-4e71-b6aa-f2edd6441cff" providerId="ADAL" clId="{7299E33A-FE09-9D4F-B2AA-68E1D4D3DAE6}" dt="2022-06-26T06:42:30.602" v="392"/>
          <ac:inkMkLst>
            <pc:docMk/>
            <pc:sldMk cId="3478359748" sldId="301"/>
            <ac:inkMk id="216" creationId="{B49094BE-6258-45BC-AACA-D4F9598A566C}"/>
          </ac:inkMkLst>
        </pc:inkChg>
        <pc:inkChg chg="mod">
          <ac:chgData name="Aniket Chhabra" userId="598e0514-bef3-4e71-b6aa-f2edd6441cff" providerId="ADAL" clId="{7299E33A-FE09-9D4F-B2AA-68E1D4D3DAE6}" dt="2022-06-26T06:42:30.602" v="392"/>
          <ac:inkMkLst>
            <pc:docMk/>
            <pc:sldMk cId="3478359748" sldId="301"/>
            <ac:inkMk id="217" creationId="{423CC2A0-9659-469A-988B-C3E67C5A3DA3}"/>
          </ac:inkMkLst>
        </pc:inkChg>
        <pc:inkChg chg="add del mod">
          <ac:chgData name="Aniket Chhabra" userId="598e0514-bef3-4e71-b6aa-f2edd6441cff" providerId="ADAL" clId="{7299E33A-FE09-9D4F-B2AA-68E1D4D3DAE6}" dt="2022-06-26T06:42:30.602" v="392"/>
          <ac:inkMkLst>
            <pc:docMk/>
            <pc:sldMk cId="3478359748" sldId="301"/>
            <ac:inkMk id="220" creationId="{DC46975E-98F1-4D48-ACAA-A117417A86CF}"/>
          </ac:inkMkLst>
        </pc:inkChg>
        <pc:inkChg chg="add del mod">
          <ac:chgData name="Aniket Chhabra" userId="598e0514-bef3-4e71-b6aa-f2edd6441cff" providerId="ADAL" clId="{7299E33A-FE09-9D4F-B2AA-68E1D4D3DAE6}" dt="2022-06-26T06:42:30.602" v="392"/>
          <ac:inkMkLst>
            <pc:docMk/>
            <pc:sldMk cId="3478359748" sldId="301"/>
            <ac:inkMk id="221" creationId="{CB91F8CC-9FCA-4B32-B03C-B26B4CA3EFAF}"/>
          </ac:inkMkLst>
        </pc:inkChg>
        <pc:inkChg chg="add del mod">
          <ac:chgData name="Aniket Chhabra" userId="598e0514-bef3-4e71-b6aa-f2edd6441cff" providerId="ADAL" clId="{7299E33A-FE09-9D4F-B2AA-68E1D4D3DAE6}" dt="2022-06-26T06:42:30.602" v="392"/>
          <ac:inkMkLst>
            <pc:docMk/>
            <pc:sldMk cId="3478359748" sldId="301"/>
            <ac:inkMk id="223" creationId="{3006D05E-BB33-43B4-8D1D-2AF27A0E8A14}"/>
          </ac:inkMkLst>
        </pc:inkChg>
      </pc:sldChg>
    </pc:docChg>
  </pc:docChgLst>
  <pc:docChgLst>
    <pc:chgData name="Aniket Chhabra" userId="598e0514-bef3-4e71-b6aa-f2edd6441cff" providerId="ADAL" clId="{476ADA6D-5B16-4BBD-9890-627D558F939B}"/>
    <pc:docChg chg="undo custSel addSld delSld modSld sldOrd modSection">
      <pc:chgData name="Aniket Chhabra" userId="598e0514-bef3-4e71-b6aa-f2edd6441cff" providerId="ADAL" clId="{476ADA6D-5B16-4BBD-9890-627D558F939B}" dt="2021-09-19T09:14:33.953" v="162" actId="1076"/>
      <pc:docMkLst>
        <pc:docMk/>
      </pc:docMkLst>
      <pc:sldChg chg="addSp mod">
        <pc:chgData name="Aniket Chhabra" userId="598e0514-bef3-4e71-b6aa-f2edd6441cff" providerId="ADAL" clId="{476ADA6D-5B16-4BBD-9890-627D558F939B}" dt="2021-09-18T01:36:13.523" v="96"/>
        <pc:sldMkLst>
          <pc:docMk/>
          <pc:sldMk cId="3497284152" sldId="280"/>
        </pc:sldMkLst>
        <pc:picChg chg="add">
          <ac:chgData name="Aniket Chhabra" userId="598e0514-bef3-4e71-b6aa-f2edd6441cff" providerId="ADAL" clId="{476ADA6D-5B16-4BBD-9890-627D558F939B}" dt="2021-09-18T01:36:13.523" v="96"/>
          <ac:picMkLst>
            <pc:docMk/>
            <pc:sldMk cId="3497284152" sldId="280"/>
            <ac:picMk id="4" creationId="{774A3080-6FA9-48BE-A7F6-B50B34752B9A}"/>
          </ac:picMkLst>
        </pc:picChg>
      </pc:sldChg>
      <pc:sldChg chg="ord">
        <pc:chgData name="Aniket Chhabra" userId="598e0514-bef3-4e71-b6aa-f2edd6441cff" providerId="ADAL" clId="{476ADA6D-5B16-4BBD-9890-627D558F939B}" dt="2021-09-18T04:30:42.417" v="153"/>
        <pc:sldMkLst>
          <pc:docMk/>
          <pc:sldMk cId="302558819" sldId="281"/>
        </pc:sldMkLst>
      </pc:sldChg>
      <pc:sldChg chg="addSp delSp mod">
        <pc:chgData name="Aniket Chhabra" userId="598e0514-bef3-4e71-b6aa-f2edd6441cff" providerId="ADAL" clId="{476ADA6D-5B16-4BBD-9890-627D558F939B}" dt="2021-09-18T02:42:35.279" v="99" actId="22"/>
        <pc:sldMkLst>
          <pc:docMk/>
          <pc:sldMk cId="2691590533" sldId="286"/>
        </pc:sldMkLst>
        <pc:picChg chg="add del">
          <ac:chgData name="Aniket Chhabra" userId="598e0514-bef3-4e71-b6aa-f2edd6441cff" providerId="ADAL" clId="{476ADA6D-5B16-4BBD-9890-627D558F939B}" dt="2021-09-18T02:42:35.279" v="99" actId="22"/>
          <ac:picMkLst>
            <pc:docMk/>
            <pc:sldMk cId="2691590533" sldId="286"/>
            <ac:picMk id="4" creationId="{5C616FD6-66AD-4845-9A4C-323816E82451}"/>
          </ac:picMkLst>
        </pc:picChg>
      </pc:sldChg>
      <pc:sldChg chg="modSp mod">
        <pc:chgData name="Aniket Chhabra" userId="598e0514-bef3-4e71-b6aa-f2edd6441cff" providerId="ADAL" clId="{476ADA6D-5B16-4BBD-9890-627D558F939B}" dt="2021-09-18T10:45:31.454" v="157" actId="1035"/>
        <pc:sldMkLst>
          <pc:docMk/>
          <pc:sldMk cId="603795454" sldId="289"/>
        </pc:sldMkLst>
        <pc:grpChg chg="mod">
          <ac:chgData name="Aniket Chhabra" userId="598e0514-bef3-4e71-b6aa-f2edd6441cff" providerId="ADAL" clId="{476ADA6D-5B16-4BBD-9890-627D558F939B}" dt="2021-09-18T10:45:31.454" v="157" actId="1035"/>
          <ac:grpSpMkLst>
            <pc:docMk/>
            <pc:sldMk cId="603795454" sldId="289"/>
            <ac:grpSpMk id="15" creationId="{415AE3F7-8DFD-48BD-BE3C-2A39508804B1}"/>
          </ac:grpSpMkLst>
        </pc:grpChg>
      </pc:sldChg>
      <pc:sldChg chg="modSp mod">
        <pc:chgData name="Aniket Chhabra" userId="598e0514-bef3-4e71-b6aa-f2edd6441cff" providerId="ADAL" clId="{476ADA6D-5B16-4BBD-9890-627D558F939B}" dt="2021-09-18T01:18:57.404" v="2" actId="1037"/>
        <pc:sldMkLst>
          <pc:docMk/>
          <pc:sldMk cId="1222013260" sldId="291"/>
        </pc:sldMkLst>
        <pc:picChg chg="mod">
          <ac:chgData name="Aniket Chhabra" userId="598e0514-bef3-4e71-b6aa-f2edd6441cff" providerId="ADAL" clId="{476ADA6D-5B16-4BBD-9890-627D558F939B}" dt="2021-09-18T01:18:57.404" v="2" actId="1037"/>
          <ac:picMkLst>
            <pc:docMk/>
            <pc:sldMk cId="1222013260" sldId="291"/>
            <ac:picMk id="4" creationId="{4E2A864E-FAE8-4CD2-B118-A72F8584906B}"/>
          </ac:picMkLst>
        </pc:picChg>
      </pc:sldChg>
      <pc:sldChg chg="addSp delSp modSp new add mod ord">
        <pc:chgData name="Aniket Chhabra" userId="598e0514-bef3-4e71-b6aa-f2edd6441cff" providerId="ADAL" clId="{476ADA6D-5B16-4BBD-9890-627D558F939B}" dt="2021-09-18T01:22:59.852" v="35" actId="14100"/>
        <pc:sldMkLst>
          <pc:docMk/>
          <pc:sldMk cId="3979036142" sldId="296"/>
        </pc:sldMkLst>
        <pc:spChg chg="del">
          <ac:chgData name="Aniket Chhabra" userId="598e0514-bef3-4e71-b6aa-f2edd6441cff" providerId="ADAL" clId="{476ADA6D-5B16-4BBD-9890-627D558F939B}" dt="2021-09-18T01:22:01.969" v="5" actId="478"/>
          <ac:spMkLst>
            <pc:docMk/>
            <pc:sldMk cId="3979036142" sldId="296"/>
            <ac:spMk id="2" creationId="{B574FD64-6F37-431F-84EC-3D5456B43FEC}"/>
          </ac:spMkLst>
        </pc:spChg>
        <pc:spChg chg="del">
          <ac:chgData name="Aniket Chhabra" userId="598e0514-bef3-4e71-b6aa-f2edd6441cff" providerId="ADAL" clId="{476ADA6D-5B16-4BBD-9890-627D558F939B}" dt="2021-09-18T01:22:01.969" v="5" actId="478"/>
          <ac:spMkLst>
            <pc:docMk/>
            <pc:sldMk cId="3979036142" sldId="296"/>
            <ac:spMk id="3" creationId="{C7805699-D0DB-440E-B0EE-81D186B81432}"/>
          </ac:spMkLst>
        </pc:spChg>
        <pc:graphicFrameChg chg="add mod modVis">
          <ac:chgData name="Aniket Chhabra" userId="598e0514-bef3-4e71-b6aa-f2edd6441cff" providerId="ADAL" clId="{476ADA6D-5B16-4BBD-9890-627D558F939B}" dt="2021-09-18T01:22:02.553" v="18"/>
          <ac:graphicFrameMkLst>
            <pc:docMk/>
            <pc:sldMk cId="3979036142" sldId="296"/>
            <ac:graphicFrameMk id="4" creationId="{D84B3838-6FC4-4654-A01B-9ED0EF661700}"/>
          </ac:graphicFrameMkLst>
        </pc:graphicFrameChg>
        <pc:picChg chg="add del mod">
          <ac:chgData name="Aniket Chhabra" userId="598e0514-bef3-4e71-b6aa-f2edd6441cff" providerId="ADAL" clId="{476ADA6D-5B16-4BBD-9890-627D558F939B}" dt="2021-09-18T01:22:17.989" v="24" actId="478"/>
          <ac:picMkLst>
            <pc:docMk/>
            <pc:sldMk cId="3979036142" sldId="296"/>
            <ac:picMk id="6" creationId="{0058FFB7-B4E2-4215-BDBD-FE3752208FBB}"/>
          </ac:picMkLst>
        </pc:picChg>
        <pc:picChg chg="add mod">
          <ac:chgData name="Aniket Chhabra" userId="598e0514-bef3-4e71-b6aa-f2edd6441cff" providerId="ADAL" clId="{476ADA6D-5B16-4BBD-9890-627D558F939B}" dt="2021-09-18T01:22:59.852" v="35" actId="14100"/>
          <ac:picMkLst>
            <pc:docMk/>
            <pc:sldMk cId="3979036142" sldId="296"/>
            <ac:picMk id="8" creationId="{102A22C9-DD19-486B-BA2F-16F18D098BF7}"/>
          </ac:picMkLst>
        </pc:picChg>
      </pc:sldChg>
      <pc:sldChg chg="addSp delSp new add mod ord">
        <pc:chgData name="Aniket Chhabra" userId="598e0514-bef3-4e71-b6aa-f2edd6441cff" providerId="ADAL" clId="{476ADA6D-5B16-4BBD-9890-627D558F939B}" dt="2021-09-18T03:51:50.200" v="147"/>
        <pc:sldMkLst>
          <pc:docMk/>
          <pc:sldMk cId="2888229444" sldId="297"/>
        </pc:sldMkLst>
        <pc:picChg chg="add del">
          <ac:chgData name="Aniket Chhabra" userId="598e0514-bef3-4e71-b6aa-f2edd6441cff" providerId="ADAL" clId="{476ADA6D-5B16-4BBD-9890-627D558F939B}" dt="2021-09-18T02:43:29.815" v="133" actId="478"/>
          <ac:picMkLst>
            <pc:docMk/>
            <pc:sldMk cId="2888229444" sldId="297"/>
            <ac:picMk id="5" creationId="{E012A1A6-3A52-4126-922F-F7E4A8892C6B}"/>
          </ac:picMkLst>
        </pc:picChg>
        <pc:picChg chg="add">
          <ac:chgData name="Aniket Chhabra" userId="598e0514-bef3-4e71-b6aa-f2edd6441cff" providerId="ADAL" clId="{476ADA6D-5B16-4BBD-9890-627D558F939B}" dt="2021-09-18T02:43:30.282" v="135"/>
          <ac:picMkLst>
            <pc:docMk/>
            <pc:sldMk cId="2888229444" sldId="297"/>
            <ac:picMk id="7" creationId="{BE67714F-36E8-4527-9106-62AA5ABF9D16}"/>
          </ac:picMkLst>
        </pc:picChg>
      </pc:sldChg>
      <pc:sldChg chg="addSp delSp modSp new add del mod setBg">
        <pc:chgData name="Aniket Chhabra" userId="598e0514-bef3-4e71-b6aa-f2edd6441cff" providerId="ADAL" clId="{476ADA6D-5B16-4BBD-9890-627D558F939B}" dt="2021-09-18T02:42:45.654" v="128" actId="680"/>
        <pc:sldMkLst>
          <pc:docMk/>
          <pc:sldMk cId="3284449648" sldId="297"/>
        </pc:sldMkLst>
        <pc:spChg chg="del">
          <ac:chgData name="Aniket Chhabra" userId="598e0514-bef3-4e71-b6aa-f2edd6441cff" providerId="ADAL" clId="{476ADA6D-5B16-4BBD-9890-627D558F939B}" dt="2021-09-18T02:42:40.981" v="104" actId="26606"/>
          <ac:spMkLst>
            <pc:docMk/>
            <pc:sldMk cId="3284449648" sldId="297"/>
            <ac:spMk id="2" creationId="{346C2D34-08DB-47C9-A19E-592B32051EF4}"/>
          </ac:spMkLst>
        </pc:spChg>
        <pc:spChg chg="del">
          <ac:chgData name="Aniket Chhabra" userId="598e0514-bef3-4e71-b6aa-f2edd6441cff" providerId="ADAL" clId="{476ADA6D-5B16-4BBD-9890-627D558F939B}" dt="2021-09-18T02:42:40.981" v="104" actId="26606"/>
          <ac:spMkLst>
            <pc:docMk/>
            <pc:sldMk cId="3284449648" sldId="297"/>
            <ac:spMk id="3" creationId="{61864454-5DF4-47A5-8725-8383B34C79F1}"/>
          </ac:spMkLst>
        </pc:spChg>
        <pc:spChg chg="add">
          <ac:chgData name="Aniket Chhabra" userId="598e0514-bef3-4e71-b6aa-f2edd6441cff" providerId="ADAL" clId="{476ADA6D-5B16-4BBD-9890-627D558F939B}" dt="2021-09-18T02:42:40.981" v="104" actId="26606"/>
          <ac:spMkLst>
            <pc:docMk/>
            <pc:sldMk cId="3284449648" sldId="297"/>
            <ac:spMk id="10" creationId="{F3060C83-F051-4F0E-ABAD-AA0DFC48B218}"/>
          </ac:spMkLst>
        </pc:spChg>
        <pc:spChg chg="add">
          <ac:chgData name="Aniket Chhabra" userId="598e0514-bef3-4e71-b6aa-f2edd6441cff" providerId="ADAL" clId="{476ADA6D-5B16-4BBD-9890-627D558F939B}" dt="2021-09-18T02:42:40.981" v="104" actId="26606"/>
          <ac:spMkLst>
            <pc:docMk/>
            <pc:sldMk cId="3284449648" sldId="297"/>
            <ac:spMk id="12" creationId="{83C98ABE-055B-441F-B07E-44F97F083C39}"/>
          </ac:spMkLst>
        </pc:spChg>
        <pc:spChg chg="add">
          <ac:chgData name="Aniket Chhabra" userId="598e0514-bef3-4e71-b6aa-f2edd6441cff" providerId="ADAL" clId="{476ADA6D-5B16-4BBD-9890-627D558F939B}" dt="2021-09-18T02:42:40.981" v="104" actId="26606"/>
          <ac:spMkLst>
            <pc:docMk/>
            <pc:sldMk cId="3284449648" sldId="297"/>
            <ac:spMk id="14" creationId="{29FDB030-9B49-4CED-8CCD-4D99382388AC}"/>
          </ac:spMkLst>
        </pc:spChg>
        <pc:spChg chg="add">
          <ac:chgData name="Aniket Chhabra" userId="598e0514-bef3-4e71-b6aa-f2edd6441cff" providerId="ADAL" clId="{476ADA6D-5B16-4BBD-9890-627D558F939B}" dt="2021-09-18T02:42:40.981" v="104" actId="26606"/>
          <ac:spMkLst>
            <pc:docMk/>
            <pc:sldMk cId="3284449648" sldId="297"/>
            <ac:spMk id="16" creationId="{3783CA14-24A1-485C-8B30-D6A5D87987AD}"/>
          </ac:spMkLst>
        </pc:spChg>
        <pc:spChg chg="add">
          <ac:chgData name="Aniket Chhabra" userId="598e0514-bef3-4e71-b6aa-f2edd6441cff" providerId="ADAL" clId="{476ADA6D-5B16-4BBD-9890-627D558F939B}" dt="2021-09-18T02:42:40.981" v="104" actId="26606"/>
          <ac:spMkLst>
            <pc:docMk/>
            <pc:sldMk cId="3284449648" sldId="297"/>
            <ac:spMk id="18" creationId="{9A97C86A-04D6-40F7-AE84-31AB43E6A846}"/>
          </ac:spMkLst>
        </pc:spChg>
        <pc:spChg chg="add">
          <ac:chgData name="Aniket Chhabra" userId="598e0514-bef3-4e71-b6aa-f2edd6441cff" providerId="ADAL" clId="{476ADA6D-5B16-4BBD-9890-627D558F939B}" dt="2021-09-18T02:42:40.981" v="104" actId="26606"/>
          <ac:spMkLst>
            <pc:docMk/>
            <pc:sldMk cId="3284449648" sldId="297"/>
            <ac:spMk id="20" creationId="{FF9F2414-84E8-453E-B1F3-389FDE8192D9}"/>
          </ac:spMkLst>
        </pc:spChg>
        <pc:spChg chg="add">
          <ac:chgData name="Aniket Chhabra" userId="598e0514-bef3-4e71-b6aa-f2edd6441cff" providerId="ADAL" clId="{476ADA6D-5B16-4BBD-9890-627D558F939B}" dt="2021-09-18T02:42:40.981" v="104" actId="26606"/>
          <ac:spMkLst>
            <pc:docMk/>
            <pc:sldMk cId="3284449648" sldId="297"/>
            <ac:spMk id="22" creationId="{3ECA69A1-7536-43AC-85EF-C7106179F5ED}"/>
          </ac:spMkLst>
        </pc:spChg>
        <pc:graphicFrameChg chg="add mod ord modVis">
          <ac:chgData name="Aniket Chhabra" userId="598e0514-bef3-4e71-b6aa-f2edd6441cff" providerId="ADAL" clId="{476ADA6D-5B16-4BBD-9890-627D558F939B}" dt="2021-09-18T02:42:43.842" v="126" actId="14100"/>
          <ac:graphicFrameMkLst>
            <pc:docMk/>
            <pc:sldMk cId="3284449648" sldId="297"/>
            <ac:graphicFrameMk id="6" creationId="{2E92B87A-5E18-418C-9FF7-C542020ECFFB}"/>
          </ac:graphicFrameMkLst>
        </pc:graphicFrameChg>
        <pc:picChg chg="add del mod">
          <ac:chgData name="Aniket Chhabra" userId="598e0514-bef3-4e71-b6aa-f2edd6441cff" providerId="ADAL" clId="{476ADA6D-5B16-4BBD-9890-627D558F939B}" dt="2021-09-18T02:42:43.842" v="127" actId="22"/>
          <ac:picMkLst>
            <pc:docMk/>
            <pc:sldMk cId="3284449648" sldId="297"/>
            <ac:picMk id="5" creationId="{5C8CEE4D-25E9-462F-ABBD-26D420744E68}"/>
          </ac:picMkLst>
        </pc:picChg>
      </pc:sldChg>
      <pc:sldChg chg="addSp delSp modSp new add del mod ord setBg">
        <pc:chgData name="Aniket Chhabra" userId="598e0514-bef3-4e71-b6aa-f2edd6441cff" providerId="ADAL" clId="{476ADA6D-5B16-4BBD-9890-627D558F939B}" dt="2021-09-18T01:36:12.241" v="94" actId="680"/>
        <pc:sldMkLst>
          <pc:docMk/>
          <pc:sldMk cId="3946423370" sldId="297"/>
        </pc:sldMkLst>
        <pc:spChg chg="add del mod">
          <ac:chgData name="Aniket Chhabra" userId="598e0514-bef3-4e71-b6aa-f2edd6441cff" providerId="ADAL" clId="{476ADA6D-5B16-4BBD-9890-627D558F939B}" dt="2021-09-18T01:36:11.080" v="91" actId="478"/>
          <ac:spMkLst>
            <pc:docMk/>
            <pc:sldMk cId="3946423370" sldId="297"/>
            <ac:spMk id="2" creationId="{0F389DBF-2486-407E-9A3A-14DD9F146D76}"/>
          </ac:spMkLst>
        </pc:spChg>
        <pc:spChg chg="add del mod">
          <ac:chgData name="Aniket Chhabra" userId="598e0514-bef3-4e71-b6aa-f2edd6441cff" providerId="ADAL" clId="{476ADA6D-5B16-4BBD-9890-627D558F939B}" dt="2021-09-18T01:36:11.080" v="91" actId="478"/>
          <ac:spMkLst>
            <pc:docMk/>
            <pc:sldMk cId="3946423370" sldId="297"/>
            <ac:spMk id="3" creationId="{55143975-381C-4458-A227-D37CA72B221B}"/>
          </ac:spMkLst>
        </pc:spChg>
        <pc:spChg chg="add">
          <ac:chgData name="Aniket Chhabra" userId="598e0514-bef3-4e71-b6aa-f2edd6441cff" providerId="ADAL" clId="{476ADA6D-5B16-4BBD-9890-627D558F939B}" dt="2021-09-18T01:36:06.330" v="44" actId="26606"/>
          <ac:spMkLst>
            <pc:docMk/>
            <pc:sldMk cId="3946423370" sldId="297"/>
            <ac:spMk id="10" creationId="{3CD9DF72-87A3-404E-A828-84CBF11A8303}"/>
          </ac:spMkLst>
        </pc:spChg>
        <pc:graphicFrameChg chg="add mod ord modVis">
          <ac:chgData name="Aniket Chhabra" userId="598e0514-bef3-4e71-b6aa-f2edd6441cff" providerId="ADAL" clId="{476ADA6D-5B16-4BBD-9890-627D558F939B}" dt="2021-09-18T01:36:07.465" v="66" actId="14100"/>
          <ac:graphicFrameMkLst>
            <pc:docMk/>
            <pc:sldMk cId="3946423370" sldId="297"/>
            <ac:graphicFrameMk id="6" creationId="{B2D27DFC-0FE3-4E39-AC0C-ABBF483E6AAE}"/>
          </ac:graphicFrameMkLst>
        </pc:graphicFrameChg>
        <pc:graphicFrameChg chg="add mod ord modVis">
          <ac:chgData name="Aniket Chhabra" userId="598e0514-bef3-4e71-b6aa-f2edd6441cff" providerId="ADAL" clId="{476ADA6D-5B16-4BBD-9890-627D558F939B}" dt="2021-09-18T01:36:11.080" v="90" actId="14100"/>
          <ac:graphicFrameMkLst>
            <pc:docMk/>
            <pc:sldMk cId="3946423370" sldId="297"/>
            <ac:graphicFrameMk id="7" creationId="{EFBE77B5-184B-448D-8192-333B8DAECDBB}"/>
          </ac:graphicFrameMkLst>
        </pc:graphicFrameChg>
        <pc:picChg chg="add del mod ord">
          <ac:chgData name="Aniket Chhabra" userId="598e0514-bef3-4e71-b6aa-f2edd6441cff" providerId="ADAL" clId="{476ADA6D-5B16-4BBD-9890-627D558F939B}" dt="2021-09-18T01:36:07.465" v="67" actId="22"/>
          <ac:picMkLst>
            <pc:docMk/>
            <pc:sldMk cId="3946423370" sldId="297"/>
            <ac:picMk id="5" creationId="{6FABD802-F44D-48B2-98F3-97D338793AEC}"/>
          </ac:picMkLst>
        </pc:picChg>
        <pc:cxnChg chg="add">
          <ac:chgData name="Aniket Chhabra" userId="598e0514-bef3-4e71-b6aa-f2edd6441cff" providerId="ADAL" clId="{476ADA6D-5B16-4BBD-9890-627D558F939B}" dt="2021-09-18T01:36:06.330" v="44" actId="26606"/>
          <ac:cxnSpMkLst>
            <pc:docMk/>
            <pc:sldMk cId="3946423370" sldId="297"/>
            <ac:cxnSpMk id="12" creationId="{20E3A342-4D61-4E3F-AF90-1AB42AEB96CC}"/>
          </ac:cxnSpMkLst>
        </pc:cxnChg>
      </pc:sldChg>
      <pc:sldChg chg="addSp modSp new add mod ord">
        <pc:chgData name="Aniket Chhabra" userId="598e0514-bef3-4e71-b6aa-f2edd6441cff" providerId="ADAL" clId="{476ADA6D-5B16-4BBD-9890-627D558F939B}" dt="2021-09-19T09:14:33.953" v="162" actId="1076"/>
        <pc:sldMkLst>
          <pc:docMk/>
          <pc:sldMk cId="3185156791" sldId="298"/>
        </pc:sldMkLst>
        <pc:picChg chg="add mod">
          <ac:chgData name="Aniket Chhabra" userId="598e0514-bef3-4e71-b6aa-f2edd6441cff" providerId="ADAL" clId="{476ADA6D-5B16-4BBD-9890-627D558F939B}" dt="2021-09-19T09:14:33.953" v="162" actId="1076"/>
          <ac:picMkLst>
            <pc:docMk/>
            <pc:sldMk cId="3185156791" sldId="298"/>
            <ac:picMk id="5" creationId="{BF85E241-DDAC-4E18-A6AD-6A50CBA9E223}"/>
          </ac:picMkLst>
        </pc:picChg>
      </pc:sldChg>
      <pc:sldChg chg="addSp new add mod">
        <pc:chgData name="Aniket Chhabra" userId="598e0514-bef3-4e71-b6aa-f2edd6441cff" providerId="ADAL" clId="{476ADA6D-5B16-4BBD-9890-627D558F939B}" dt="2021-09-18T03:52:49.075" v="151"/>
        <pc:sldMkLst>
          <pc:docMk/>
          <pc:sldMk cId="2251539055" sldId="299"/>
        </pc:sldMkLst>
        <pc:picChg chg="add">
          <ac:chgData name="Aniket Chhabra" userId="598e0514-bef3-4e71-b6aa-f2edd6441cff" providerId="ADAL" clId="{476ADA6D-5B16-4BBD-9890-627D558F939B}" dt="2021-09-18T03:52:49.075" v="151"/>
          <ac:picMkLst>
            <pc:docMk/>
            <pc:sldMk cId="2251539055" sldId="299"/>
            <ac:picMk id="5" creationId="{6C2BC105-180C-48C3-B18A-4FA8348B5B3C}"/>
          </ac:picMkLst>
        </pc:picChg>
      </pc:sldChg>
    </pc:docChg>
  </pc:docChgLst>
  <pc:docChgLst>
    <pc:chgData name="Aniket Chhabra" userId="598e0514-bef3-4e71-b6aa-f2edd6441cff" providerId="ADAL" clId="{A0F7D543-B727-034C-88B5-8F838AD07213}"/>
    <pc:docChg chg="undo custSel modSld">
      <pc:chgData name="Aniket Chhabra" userId="598e0514-bef3-4e71-b6aa-f2edd6441cff" providerId="ADAL" clId="{A0F7D543-B727-034C-88B5-8F838AD07213}" dt="2022-09-24T06:22:26.641" v="1865"/>
      <pc:docMkLst>
        <pc:docMk/>
      </pc:docMkLst>
      <pc:sldChg chg="addSp mod">
        <pc:chgData name="Aniket Chhabra" userId="598e0514-bef3-4e71-b6aa-f2edd6441cff" providerId="ADAL" clId="{A0F7D543-B727-034C-88B5-8F838AD07213}" dt="2022-09-10T08:33:57.466" v="888" actId="9405"/>
        <pc:sldMkLst>
          <pc:docMk/>
          <pc:sldMk cId="3497284152" sldId="280"/>
        </pc:sldMkLst>
        <pc:inkChg chg="add">
          <ac:chgData name="Aniket Chhabra" userId="598e0514-bef3-4e71-b6aa-f2edd6441cff" providerId="ADAL" clId="{A0F7D543-B727-034C-88B5-8F838AD07213}" dt="2022-09-10T08:33:57.466" v="888" actId="9405"/>
          <ac:inkMkLst>
            <pc:docMk/>
            <pc:sldMk cId="3497284152" sldId="280"/>
            <ac:inkMk id="3" creationId="{39FBA738-BFDC-295E-D992-D3CD59BFB5DC}"/>
          </ac:inkMkLst>
        </pc:inkChg>
      </pc:sldChg>
      <pc:sldChg chg="addSp delSp modSp mod">
        <pc:chgData name="Aniket Chhabra" userId="598e0514-bef3-4e71-b6aa-f2edd6441cff" providerId="ADAL" clId="{A0F7D543-B727-034C-88B5-8F838AD07213}" dt="2022-09-24T05:23:08.774" v="1587"/>
        <pc:sldMkLst>
          <pc:docMk/>
          <pc:sldMk cId="302558819" sldId="281"/>
        </pc:sldMkLst>
        <pc:grpChg chg="del mod">
          <ac:chgData name="Aniket Chhabra" userId="598e0514-bef3-4e71-b6aa-f2edd6441cff" providerId="ADAL" clId="{A0F7D543-B727-034C-88B5-8F838AD07213}" dt="2022-09-10T08:13:55.775" v="554"/>
          <ac:grpSpMkLst>
            <pc:docMk/>
            <pc:sldMk cId="302558819" sldId="281"/>
            <ac:grpSpMk id="14" creationId="{7FD28541-FB5B-033F-B4D5-B002CCA70255}"/>
          </ac:grpSpMkLst>
        </pc:grpChg>
        <pc:grpChg chg="mod">
          <ac:chgData name="Aniket Chhabra" userId="598e0514-bef3-4e71-b6aa-f2edd6441cff" providerId="ADAL" clId="{A0F7D543-B727-034C-88B5-8F838AD07213}" dt="2022-09-10T08:13:55.775" v="554"/>
          <ac:grpSpMkLst>
            <pc:docMk/>
            <pc:sldMk cId="302558819" sldId="281"/>
            <ac:grpSpMk id="19" creationId="{D9E3AEAF-95AD-7355-EBF7-D97F7BFE0D16}"/>
          </ac:grpSpMkLst>
        </pc:grpChg>
        <pc:grpChg chg="del mod">
          <ac:chgData name="Aniket Chhabra" userId="598e0514-bef3-4e71-b6aa-f2edd6441cff" providerId="ADAL" clId="{A0F7D543-B727-034C-88B5-8F838AD07213}" dt="2022-09-10T08:14:05.303" v="559"/>
          <ac:grpSpMkLst>
            <pc:docMk/>
            <pc:sldMk cId="302558819" sldId="281"/>
            <ac:grpSpMk id="22" creationId="{956A1C82-911B-2ECD-A817-F5A627E220C4}"/>
          </ac:grpSpMkLst>
        </pc:grpChg>
        <pc:grpChg chg="del mod">
          <ac:chgData name="Aniket Chhabra" userId="598e0514-bef3-4e71-b6aa-f2edd6441cff" providerId="ADAL" clId="{A0F7D543-B727-034C-88B5-8F838AD07213}" dt="2022-09-10T08:15:15.335" v="616"/>
          <ac:grpSpMkLst>
            <pc:docMk/>
            <pc:sldMk cId="302558819" sldId="281"/>
            <ac:grpSpMk id="24" creationId="{239098DD-0A5A-69A5-E4BD-CE064145D237}"/>
          </ac:grpSpMkLst>
        </pc:grpChg>
        <pc:grpChg chg="del mod">
          <ac:chgData name="Aniket Chhabra" userId="598e0514-bef3-4e71-b6aa-f2edd6441cff" providerId="ADAL" clId="{A0F7D543-B727-034C-88B5-8F838AD07213}" dt="2022-09-10T08:14:14.530" v="569"/>
          <ac:grpSpMkLst>
            <pc:docMk/>
            <pc:sldMk cId="302558819" sldId="281"/>
            <ac:grpSpMk id="32" creationId="{425D81AE-9A24-D539-71B7-744BBA5B497F}"/>
          </ac:grpSpMkLst>
        </pc:grpChg>
        <pc:grpChg chg="del mod">
          <ac:chgData name="Aniket Chhabra" userId="598e0514-bef3-4e71-b6aa-f2edd6441cff" providerId="ADAL" clId="{A0F7D543-B727-034C-88B5-8F838AD07213}" dt="2022-08-27T07:20:58.124" v="316"/>
          <ac:grpSpMkLst>
            <pc:docMk/>
            <pc:sldMk cId="302558819" sldId="281"/>
            <ac:grpSpMk id="33" creationId="{B4E1A846-21EF-D264-BE6B-70ECE4D59469}"/>
          </ac:grpSpMkLst>
        </pc:grpChg>
        <pc:grpChg chg="del mod">
          <ac:chgData name="Aniket Chhabra" userId="598e0514-bef3-4e71-b6aa-f2edd6441cff" providerId="ADAL" clId="{A0F7D543-B727-034C-88B5-8F838AD07213}" dt="2022-09-10T08:14:19.008" v="579"/>
          <ac:grpSpMkLst>
            <pc:docMk/>
            <pc:sldMk cId="302558819" sldId="281"/>
            <ac:grpSpMk id="35" creationId="{90DBA7A4-07B4-9668-24AA-0352EA93BF0D}"/>
          </ac:grpSpMkLst>
        </pc:grpChg>
        <pc:grpChg chg="del mod">
          <ac:chgData name="Aniket Chhabra" userId="598e0514-bef3-4e71-b6aa-f2edd6441cff" providerId="ADAL" clId="{A0F7D543-B727-034C-88B5-8F838AD07213}" dt="2022-08-27T07:20:58.119" v="296"/>
          <ac:grpSpMkLst>
            <pc:docMk/>
            <pc:sldMk cId="302558819" sldId="281"/>
            <ac:grpSpMk id="39" creationId="{B517C9FD-ABED-D7C4-6287-E946A5BF5560}"/>
          </ac:grpSpMkLst>
        </pc:grpChg>
        <pc:grpChg chg="del mod">
          <ac:chgData name="Aniket Chhabra" userId="598e0514-bef3-4e71-b6aa-f2edd6441cff" providerId="ADAL" clId="{A0F7D543-B727-034C-88B5-8F838AD07213}" dt="2022-09-10T08:14:21.260" v="586"/>
          <ac:grpSpMkLst>
            <pc:docMk/>
            <pc:sldMk cId="302558819" sldId="281"/>
            <ac:grpSpMk id="45" creationId="{E8BDFC2C-8BA0-B90D-DD58-EA500ED4F5C3}"/>
          </ac:grpSpMkLst>
        </pc:grpChg>
        <pc:grpChg chg="del mod">
          <ac:chgData name="Aniket Chhabra" userId="598e0514-bef3-4e71-b6aa-f2edd6441cff" providerId="ADAL" clId="{A0F7D543-B727-034C-88B5-8F838AD07213}" dt="2022-09-10T08:14:31.555" v="605"/>
          <ac:grpSpMkLst>
            <pc:docMk/>
            <pc:sldMk cId="302558819" sldId="281"/>
            <ac:grpSpMk id="52" creationId="{16A90F6B-B44E-291B-1883-132E1182F9B3}"/>
          </ac:grpSpMkLst>
        </pc:grpChg>
        <pc:grpChg chg="del mod">
          <ac:chgData name="Aniket Chhabra" userId="598e0514-bef3-4e71-b6aa-f2edd6441cff" providerId="ADAL" clId="{A0F7D543-B727-034C-88B5-8F838AD07213}" dt="2022-08-27T07:20:58.126" v="327"/>
          <ac:grpSpMkLst>
            <pc:docMk/>
            <pc:sldMk cId="302558819" sldId="281"/>
            <ac:grpSpMk id="58" creationId="{1413C00A-4479-A5E9-2479-ADCD896ECFA2}"/>
          </ac:grpSpMkLst>
        </pc:grpChg>
        <pc:grpChg chg="del mod">
          <ac:chgData name="Aniket Chhabra" userId="598e0514-bef3-4e71-b6aa-f2edd6441cff" providerId="ADAL" clId="{A0F7D543-B727-034C-88B5-8F838AD07213}" dt="2022-09-10T08:15:15.335" v="616"/>
          <ac:grpSpMkLst>
            <pc:docMk/>
            <pc:sldMk cId="302558819" sldId="281"/>
            <ac:grpSpMk id="70" creationId="{C635DBED-DE1F-A6DF-2B28-61F9484722AD}"/>
          </ac:grpSpMkLst>
        </pc:grpChg>
        <pc:grpChg chg="del mod">
          <ac:chgData name="Aniket Chhabra" userId="598e0514-bef3-4e71-b6aa-f2edd6441cff" providerId="ADAL" clId="{A0F7D543-B727-034C-88B5-8F838AD07213}" dt="2022-08-27T07:20:58.131" v="355"/>
          <ac:grpSpMkLst>
            <pc:docMk/>
            <pc:sldMk cId="302558819" sldId="281"/>
            <ac:grpSpMk id="76" creationId="{38757851-4854-3B5E-2C54-761585DD0123}"/>
          </ac:grpSpMkLst>
        </pc:grpChg>
        <pc:grpChg chg="del mod">
          <ac:chgData name="Aniket Chhabra" userId="598e0514-bef3-4e71-b6aa-f2edd6441cff" providerId="ADAL" clId="{A0F7D543-B727-034C-88B5-8F838AD07213}" dt="2022-08-27T07:22:18.786" v="373"/>
          <ac:grpSpMkLst>
            <pc:docMk/>
            <pc:sldMk cId="302558819" sldId="281"/>
            <ac:grpSpMk id="83" creationId="{07293D75-F15F-83E3-7BA9-D260D6FF7B43}"/>
          </ac:grpSpMkLst>
        </pc:grpChg>
        <pc:grpChg chg="del mod">
          <ac:chgData name="Aniket Chhabra" userId="598e0514-bef3-4e71-b6aa-f2edd6441cff" providerId="ADAL" clId="{A0F7D543-B727-034C-88B5-8F838AD07213}" dt="2022-08-27T07:35:36.372" v="379"/>
          <ac:grpSpMkLst>
            <pc:docMk/>
            <pc:sldMk cId="302558819" sldId="281"/>
            <ac:grpSpMk id="88" creationId="{470A55A3-A382-8C0C-179B-A57216E5CB95}"/>
          </ac:grpSpMkLst>
        </pc:grpChg>
        <pc:grpChg chg="del mod">
          <ac:chgData name="Aniket Chhabra" userId="598e0514-bef3-4e71-b6aa-f2edd6441cff" providerId="ADAL" clId="{A0F7D543-B727-034C-88B5-8F838AD07213}" dt="2022-08-27T07:35:36.372" v="379"/>
          <ac:grpSpMkLst>
            <pc:docMk/>
            <pc:sldMk cId="302558819" sldId="281"/>
            <ac:grpSpMk id="92" creationId="{75AD6100-B395-72D1-4702-D666BA9B6402}"/>
          </ac:grpSpMkLst>
        </pc:grpChg>
        <pc:grpChg chg="del mod">
          <ac:chgData name="Aniket Chhabra" userId="598e0514-bef3-4e71-b6aa-f2edd6441cff" providerId="ADAL" clId="{A0F7D543-B727-034C-88B5-8F838AD07213}" dt="2022-09-10T08:13:36.050" v="538"/>
          <ac:grpSpMkLst>
            <pc:docMk/>
            <pc:sldMk cId="302558819" sldId="281"/>
            <ac:grpSpMk id="94" creationId="{82063428-E466-F892-8F2A-8EA1AD68763C}"/>
          </ac:grpSpMkLst>
        </pc:grpChg>
        <pc:grpChg chg="del mod">
          <ac:chgData name="Aniket Chhabra" userId="598e0514-bef3-4e71-b6aa-f2edd6441cff" providerId="ADAL" clId="{A0F7D543-B727-034C-88B5-8F838AD07213}" dt="2022-08-27T07:35:47.355" v="393"/>
          <ac:grpSpMkLst>
            <pc:docMk/>
            <pc:sldMk cId="302558819" sldId="281"/>
            <ac:grpSpMk id="108" creationId="{A8E47C9C-A9AF-7D68-FB1C-D87466A339A3}"/>
          </ac:grpSpMkLst>
        </pc:grpChg>
        <pc:grpChg chg="del mod">
          <ac:chgData name="Aniket Chhabra" userId="598e0514-bef3-4e71-b6aa-f2edd6441cff" providerId="ADAL" clId="{A0F7D543-B727-034C-88B5-8F838AD07213}" dt="2022-08-27T07:35:48.576" v="395"/>
          <ac:grpSpMkLst>
            <pc:docMk/>
            <pc:sldMk cId="302558819" sldId="281"/>
            <ac:grpSpMk id="109" creationId="{FC785906-D75E-F2F5-66F4-6FF9D8869F9C}"/>
          </ac:grpSpMkLst>
        </pc:grpChg>
        <pc:grpChg chg="del mod">
          <ac:chgData name="Aniket Chhabra" userId="598e0514-bef3-4e71-b6aa-f2edd6441cff" providerId="ADAL" clId="{A0F7D543-B727-034C-88B5-8F838AD07213}" dt="2022-09-10T08:15:15.335" v="616"/>
          <ac:grpSpMkLst>
            <pc:docMk/>
            <pc:sldMk cId="302558819" sldId="281"/>
            <ac:grpSpMk id="111" creationId="{33E5221A-9680-230A-82C1-86B0A1C7E14A}"/>
          </ac:grpSpMkLst>
        </pc:grpChg>
        <pc:grpChg chg="del mod">
          <ac:chgData name="Aniket Chhabra" userId="598e0514-bef3-4e71-b6aa-f2edd6441cff" providerId="ADAL" clId="{A0F7D543-B727-034C-88B5-8F838AD07213}" dt="2022-08-27T07:35:55.416" v="408"/>
          <ac:grpSpMkLst>
            <pc:docMk/>
            <pc:sldMk cId="302558819" sldId="281"/>
            <ac:grpSpMk id="111" creationId="{D858B898-AD12-293B-2541-EC821DFB9828}"/>
          </ac:grpSpMkLst>
        </pc:grpChg>
        <pc:grpChg chg="del mod">
          <ac:chgData name="Aniket Chhabra" userId="598e0514-bef3-4e71-b6aa-f2edd6441cff" providerId="ADAL" clId="{A0F7D543-B727-034C-88B5-8F838AD07213}" dt="2022-08-27T07:36:00.407" v="419"/>
          <ac:grpSpMkLst>
            <pc:docMk/>
            <pc:sldMk cId="302558819" sldId="281"/>
            <ac:grpSpMk id="124" creationId="{26A5CC7E-7F55-A1AB-8BDD-ED7386E13895}"/>
          </ac:grpSpMkLst>
        </pc:grpChg>
        <pc:grpChg chg="del mod">
          <ac:chgData name="Aniket Chhabra" userId="598e0514-bef3-4e71-b6aa-f2edd6441cff" providerId="ADAL" clId="{A0F7D543-B727-034C-88B5-8F838AD07213}" dt="2022-09-10T08:15:16.908" v="618"/>
          <ac:grpSpMkLst>
            <pc:docMk/>
            <pc:sldMk cId="302558819" sldId="281"/>
            <ac:grpSpMk id="124" creationId="{525585DB-3E12-1E31-4535-16178BC3A6D6}"/>
          </ac:grpSpMkLst>
        </pc:grpChg>
        <pc:grpChg chg="del mod">
          <ac:chgData name="Aniket Chhabra" userId="598e0514-bef3-4e71-b6aa-f2edd6441cff" providerId="ADAL" clId="{A0F7D543-B727-034C-88B5-8F838AD07213}" dt="2022-09-10T08:13:36.051" v="542"/>
          <ac:grpSpMkLst>
            <pc:docMk/>
            <pc:sldMk cId="302558819" sldId="281"/>
            <ac:grpSpMk id="135" creationId="{CA0CA44A-623E-6359-DA80-E77F6FE82F68}"/>
          </ac:grpSpMkLst>
        </pc:grpChg>
        <pc:grpChg chg="del mod">
          <ac:chgData name="Aniket Chhabra" userId="598e0514-bef3-4e71-b6aa-f2edd6441cff" providerId="ADAL" clId="{A0F7D543-B727-034C-88B5-8F838AD07213}" dt="2022-09-10T08:15:46.927" v="623"/>
          <ac:grpSpMkLst>
            <pc:docMk/>
            <pc:sldMk cId="302558819" sldId="281"/>
            <ac:grpSpMk id="137" creationId="{74450586-C1DB-0EF5-E418-F39D35898550}"/>
          </ac:grpSpMkLst>
        </pc:grpChg>
        <pc:grpChg chg="mod">
          <ac:chgData name="Aniket Chhabra" userId="598e0514-bef3-4e71-b6aa-f2edd6441cff" providerId="ADAL" clId="{A0F7D543-B727-034C-88B5-8F838AD07213}" dt="2022-09-24T05:23:08.774" v="1586"/>
          <ac:grpSpMkLst>
            <pc:docMk/>
            <pc:sldMk cId="302558819" sldId="281"/>
            <ac:grpSpMk id="142" creationId="{2CF339B3-7D72-3D2E-333C-5A0F0DF72C02}"/>
          </ac:grpSpMkLst>
        </pc:grpChg>
        <pc:inkChg chg="mod">
          <ac:chgData name="Aniket Chhabra" userId="598e0514-bef3-4e71-b6aa-f2edd6441cff" providerId="ADAL" clId="{A0F7D543-B727-034C-88B5-8F838AD07213}" dt="2022-09-24T05:23:08.772" v="1581"/>
          <ac:inkMkLst>
            <pc:docMk/>
            <pc:sldMk cId="302558819" sldId="281"/>
            <ac:inkMk id="3" creationId="{57EC5420-67E8-4384-A702-2E9E6CC6B85B}"/>
          </ac:inkMkLst>
        </pc:inkChg>
        <pc:inkChg chg="mod">
          <ac:chgData name="Aniket Chhabra" userId="598e0514-bef3-4e71-b6aa-f2edd6441cff" providerId="ADAL" clId="{A0F7D543-B727-034C-88B5-8F838AD07213}" dt="2022-09-24T05:23:08.770" v="1573"/>
          <ac:inkMkLst>
            <pc:docMk/>
            <pc:sldMk cId="302558819" sldId="281"/>
            <ac:inkMk id="4" creationId="{28D345D5-1264-40E3-B0ED-CD3EDEBC5793}"/>
          </ac:inkMkLst>
        </pc:inkChg>
        <pc:inkChg chg="add del">
          <ac:chgData name="Aniket Chhabra" userId="598e0514-bef3-4e71-b6aa-f2edd6441cff" providerId="ADAL" clId="{A0F7D543-B727-034C-88B5-8F838AD07213}" dt="2022-09-10T08:13:36.041" v="493"/>
          <ac:inkMkLst>
            <pc:docMk/>
            <pc:sldMk cId="302558819" sldId="281"/>
            <ac:inkMk id="5" creationId="{15FD7543-27FB-6F28-6E6B-5888D8F67D21}"/>
          </ac:inkMkLst>
        </pc:inkChg>
        <pc:inkChg chg="del mod">
          <ac:chgData name="Aniket Chhabra" userId="598e0514-bef3-4e71-b6aa-f2edd6441cff" providerId="ADAL" clId="{A0F7D543-B727-034C-88B5-8F838AD07213}" dt="2022-08-27T07:20:58.120" v="299"/>
          <ac:inkMkLst>
            <pc:docMk/>
            <pc:sldMk cId="302558819" sldId="281"/>
            <ac:inkMk id="5" creationId="{4322C5D4-49B5-6526-3C1D-C2FBACBB8381}"/>
          </ac:inkMkLst>
        </pc:inkChg>
        <pc:inkChg chg="add mod">
          <ac:chgData name="Aniket Chhabra" userId="598e0514-bef3-4e71-b6aa-f2edd6441cff" providerId="ADAL" clId="{A0F7D543-B727-034C-88B5-8F838AD07213}" dt="2022-09-10T08:13:55.775" v="554"/>
          <ac:inkMkLst>
            <pc:docMk/>
            <pc:sldMk cId="302558819" sldId="281"/>
            <ac:inkMk id="7" creationId="{66346262-53E6-C8BB-EBC1-79229ABB8527}"/>
          </ac:inkMkLst>
        </pc:inkChg>
        <pc:inkChg chg="del mod">
          <ac:chgData name="Aniket Chhabra" userId="598e0514-bef3-4e71-b6aa-f2edd6441cff" providerId="ADAL" clId="{A0F7D543-B727-034C-88B5-8F838AD07213}" dt="2022-08-27T07:20:58.131" v="354"/>
          <ac:inkMkLst>
            <pc:docMk/>
            <pc:sldMk cId="302558819" sldId="281"/>
            <ac:inkMk id="7" creationId="{A3A98EED-56B4-284D-80BA-2DCE7107FD51}"/>
          </ac:inkMkLst>
        </pc:inkChg>
        <pc:inkChg chg="del mod">
          <ac:chgData name="Aniket Chhabra" userId="598e0514-bef3-4e71-b6aa-f2edd6441cff" providerId="ADAL" clId="{A0F7D543-B727-034C-88B5-8F838AD07213}" dt="2022-08-27T07:20:58.128" v="334"/>
          <ac:inkMkLst>
            <pc:docMk/>
            <pc:sldMk cId="302558819" sldId="281"/>
            <ac:inkMk id="8" creationId="{3A8DA971-C47C-B277-17A7-A688F21B5483}"/>
          </ac:inkMkLst>
        </pc:inkChg>
        <pc:inkChg chg="add mod">
          <ac:chgData name="Aniket Chhabra" userId="598e0514-bef3-4e71-b6aa-f2edd6441cff" providerId="ADAL" clId="{A0F7D543-B727-034C-88B5-8F838AD07213}" dt="2022-09-10T08:13:55.775" v="554"/>
          <ac:inkMkLst>
            <pc:docMk/>
            <pc:sldMk cId="302558819" sldId="281"/>
            <ac:inkMk id="8" creationId="{EF81FCF5-CCBC-E589-E298-7466776335BD}"/>
          </ac:inkMkLst>
        </pc:inkChg>
        <pc:inkChg chg="add mod">
          <ac:chgData name="Aniket Chhabra" userId="598e0514-bef3-4e71-b6aa-f2edd6441cff" providerId="ADAL" clId="{A0F7D543-B727-034C-88B5-8F838AD07213}" dt="2022-09-10T08:13:55.775" v="554"/>
          <ac:inkMkLst>
            <pc:docMk/>
            <pc:sldMk cId="302558819" sldId="281"/>
            <ac:inkMk id="9" creationId="{C0A6B636-2345-8DC9-751D-FCBA78302C26}"/>
          </ac:inkMkLst>
        </pc:inkChg>
        <pc:inkChg chg="del mod">
          <ac:chgData name="Aniket Chhabra" userId="598e0514-bef3-4e71-b6aa-f2edd6441cff" providerId="ADAL" clId="{A0F7D543-B727-034C-88B5-8F838AD07213}" dt="2022-08-27T07:20:58.128" v="338"/>
          <ac:inkMkLst>
            <pc:docMk/>
            <pc:sldMk cId="302558819" sldId="281"/>
            <ac:inkMk id="9" creationId="{C81158EC-3496-ACC7-B124-2849C6854F80}"/>
          </ac:inkMkLst>
        </pc:inkChg>
        <pc:inkChg chg="add mod">
          <ac:chgData name="Aniket Chhabra" userId="598e0514-bef3-4e71-b6aa-f2edd6441cff" providerId="ADAL" clId="{A0F7D543-B727-034C-88B5-8F838AD07213}" dt="2022-09-10T08:13:55.775" v="554"/>
          <ac:inkMkLst>
            <pc:docMk/>
            <pc:sldMk cId="302558819" sldId="281"/>
            <ac:inkMk id="10" creationId="{774476C6-197D-E411-37FF-12BBE052897F}"/>
          </ac:inkMkLst>
        </pc:inkChg>
        <pc:inkChg chg="del mod">
          <ac:chgData name="Aniket Chhabra" userId="598e0514-bef3-4e71-b6aa-f2edd6441cff" providerId="ADAL" clId="{A0F7D543-B727-034C-88B5-8F838AD07213}" dt="2022-08-27T07:20:58.130" v="348"/>
          <ac:inkMkLst>
            <pc:docMk/>
            <pc:sldMk cId="302558819" sldId="281"/>
            <ac:inkMk id="10" creationId="{90C1805C-4847-88AB-85D7-609E5D2053F6}"/>
          </ac:inkMkLst>
        </pc:inkChg>
        <pc:inkChg chg="add mod">
          <ac:chgData name="Aniket Chhabra" userId="598e0514-bef3-4e71-b6aa-f2edd6441cff" providerId="ADAL" clId="{A0F7D543-B727-034C-88B5-8F838AD07213}" dt="2022-09-10T08:13:55.775" v="554"/>
          <ac:inkMkLst>
            <pc:docMk/>
            <pc:sldMk cId="302558819" sldId="281"/>
            <ac:inkMk id="11" creationId="{1134842C-2A11-B7B2-9153-8EBD638BFC8B}"/>
          </ac:inkMkLst>
        </pc:inkChg>
        <pc:inkChg chg="add del">
          <ac:chgData name="Aniket Chhabra" userId="598e0514-bef3-4e71-b6aa-f2edd6441cff" providerId="ADAL" clId="{A0F7D543-B727-034C-88B5-8F838AD07213}" dt="2022-08-27T07:20:58.124" v="319"/>
          <ac:inkMkLst>
            <pc:docMk/>
            <pc:sldMk cId="302558819" sldId="281"/>
            <ac:inkMk id="11" creationId="{1AC3260D-E77C-5266-A6CE-37795B5D57AF}"/>
          </ac:inkMkLst>
        </pc:inkChg>
        <pc:inkChg chg="add mod">
          <ac:chgData name="Aniket Chhabra" userId="598e0514-bef3-4e71-b6aa-f2edd6441cff" providerId="ADAL" clId="{A0F7D543-B727-034C-88B5-8F838AD07213}" dt="2022-09-10T08:13:55.775" v="554"/>
          <ac:inkMkLst>
            <pc:docMk/>
            <pc:sldMk cId="302558819" sldId="281"/>
            <ac:inkMk id="12" creationId="{08E36AC8-8742-4912-E0B0-737BF8A150A1}"/>
          </ac:inkMkLst>
        </pc:inkChg>
        <pc:inkChg chg="del">
          <ac:chgData name="Aniket Chhabra" userId="598e0514-bef3-4e71-b6aa-f2edd6441cff" providerId="ADAL" clId="{A0F7D543-B727-034C-88B5-8F838AD07213}" dt="2022-08-27T07:20:58.118" v="294"/>
          <ac:inkMkLst>
            <pc:docMk/>
            <pc:sldMk cId="302558819" sldId="281"/>
            <ac:inkMk id="12" creationId="{A262BCBE-FBF8-3289-A82F-AE1D715FC12F}"/>
          </ac:inkMkLst>
        </pc:inkChg>
        <pc:inkChg chg="del mod">
          <ac:chgData name="Aniket Chhabra" userId="598e0514-bef3-4e71-b6aa-f2edd6441cff" providerId="ADAL" clId="{A0F7D543-B727-034C-88B5-8F838AD07213}" dt="2022-08-27T07:20:58.129" v="344"/>
          <ac:inkMkLst>
            <pc:docMk/>
            <pc:sldMk cId="302558819" sldId="281"/>
            <ac:inkMk id="14" creationId="{E43FF970-0271-7AC6-C343-915A2F03F874}"/>
          </ac:inkMkLst>
        </pc:inkChg>
        <pc:inkChg chg="add del">
          <ac:chgData name="Aniket Chhabra" userId="598e0514-bef3-4e71-b6aa-f2edd6441cff" providerId="ADAL" clId="{A0F7D543-B727-034C-88B5-8F838AD07213}" dt="2022-08-27T07:20:58.124" v="317"/>
          <ac:inkMkLst>
            <pc:docMk/>
            <pc:sldMk cId="302558819" sldId="281"/>
            <ac:inkMk id="15" creationId="{20C87302-69FF-CD28-7253-A93EDA38DB54}"/>
          </ac:inkMkLst>
        </pc:inkChg>
        <pc:inkChg chg="add mod">
          <ac:chgData name="Aniket Chhabra" userId="598e0514-bef3-4e71-b6aa-f2edd6441cff" providerId="ADAL" clId="{A0F7D543-B727-034C-88B5-8F838AD07213}" dt="2022-09-10T08:13:55.775" v="554"/>
          <ac:inkMkLst>
            <pc:docMk/>
            <pc:sldMk cId="302558819" sldId="281"/>
            <ac:inkMk id="15" creationId="{B1257532-715D-A5A4-BCE9-5FF14CAF4F71}"/>
          </ac:inkMkLst>
        </pc:inkChg>
        <pc:inkChg chg="del mod">
          <ac:chgData name="Aniket Chhabra" userId="598e0514-bef3-4e71-b6aa-f2edd6441cff" providerId="ADAL" clId="{A0F7D543-B727-034C-88B5-8F838AD07213}" dt="2022-08-27T07:20:58.129" v="341"/>
          <ac:inkMkLst>
            <pc:docMk/>
            <pc:sldMk cId="302558819" sldId="281"/>
            <ac:inkMk id="16" creationId="{3D78BD71-5D8A-A1D5-86D1-558DA1182F86}"/>
          </ac:inkMkLst>
        </pc:inkChg>
        <pc:inkChg chg="add mod">
          <ac:chgData name="Aniket Chhabra" userId="598e0514-bef3-4e71-b6aa-f2edd6441cff" providerId="ADAL" clId="{A0F7D543-B727-034C-88B5-8F838AD07213}" dt="2022-09-10T08:13:55.775" v="554"/>
          <ac:inkMkLst>
            <pc:docMk/>
            <pc:sldMk cId="302558819" sldId="281"/>
            <ac:inkMk id="16" creationId="{831C59F9-65E9-9E47-0DDC-A35BE84CB6F1}"/>
          </ac:inkMkLst>
        </pc:inkChg>
        <pc:inkChg chg="del mod">
          <ac:chgData name="Aniket Chhabra" userId="598e0514-bef3-4e71-b6aa-f2edd6441cff" providerId="ADAL" clId="{A0F7D543-B727-034C-88B5-8F838AD07213}" dt="2022-08-27T07:20:58.124" v="318"/>
          <ac:inkMkLst>
            <pc:docMk/>
            <pc:sldMk cId="302558819" sldId="281"/>
            <ac:inkMk id="17" creationId="{5C4BC236-3181-5FDB-E766-A4AD9BA89AA3}"/>
          </ac:inkMkLst>
        </pc:inkChg>
        <pc:inkChg chg="add mod">
          <ac:chgData name="Aniket Chhabra" userId="598e0514-bef3-4e71-b6aa-f2edd6441cff" providerId="ADAL" clId="{A0F7D543-B727-034C-88B5-8F838AD07213}" dt="2022-09-10T08:13:55.775" v="554"/>
          <ac:inkMkLst>
            <pc:docMk/>
            <pc:sldMk cId="302558819" sldId="281"/>
            <ac:inkMk id="17" creationId="{FF054A4A-4BC9-6B8D-0283-14B26A745061}"/>
          </ac:inkMkLst>
        </pc:inkChg>
        <pc:inkChg chg="del mod">
          <ac:chgData name="Aniket Chhabra" userId="598e0514-bef3-4e71-b6aa-f2edd6441cff" providerId="ADAL" clId="{A0F7D543-B727-034C-88B5-8F838AD07213}" dt="2022-08-27T07:20:58.120" v="300"/>
          <ac:inkMkLst>
            <pc:docMk/>
            <pc:sldMk cId="302558819" sldId="281"/>
            <ac:inkMk id="19" creationId="{86AD21D9-8C86-22DC-3945-4FED49250FD8}"/>
          </ac:inkMkLst>
        </pc:inkChg>
        <pc:inkChg chg="del mod">
          <ac:chgData name="Aniket Chhabra" userId="598e0514-bef3-4e71-b6aa-f2edd6441cff" providerId="ADAL" clId="{A0F7D543-B727-034C-88B5-8F838AD07213}" dt="2022-08-27T07:20:58.121" v="302"/>
          <ac:inkMkLst>
            <pc:docMk/>
            <pc:sldMk cId="302558819" sldId="281"/>
            <ac:inkMk id="20" creationId="{D5A16E5A-93F2-1D2B-E77C-38DFF4BC6612}"/>
          </ac:inkMkLst>
        </pc:inkChg>
        <pc:inkChg chg="add del mod">
          <ac:chgData name="Aniket Chhabra" userId="598e0514-bef3-4e71-b6aa-f2edd6441cff" providerId="ADAL" clId="{A0F7D543-B727-034C-88B5-8F838AD07213}" dt="2022-09-24T05:23:08.772" v="1580"/>
          <ac:inkMkLst>
            <pc:docMk/>
            <pc:sldMk cId="302558819" sldId="281"/>
            <ac:inkMk id="20" creationId="{F0D5AB2B-4921-FE4B-C89A-86B6EAC5559F}"/>
          </ac:inkMkLst>
        </pc:inkChg>
        <pc:inkChg chg="add del mod">
          <ac:chgData name="Aniket Chhabra" userId="598e0514-bef3-4e71-b6aa-f2edd6441cff" providerId="ADAL" clId="{A0F7D543-B727-034C-88B5-8F838AD07213}" dt="2022-09-24T05:23:08.773" v="1585"/>
          <ac:inkMkLst>
            <pc:docMk/>
            <pc:sldMk cId="302558819" sldId="281"/>
            <ac:inkMk id="21" creationId="{3FA5CA13-73C8-D027-DF98-6E48BD94EB82}"/>
          </ac:inkMkLst>
        </pc:inkChg>
        <pc:inkChg chg="del mod">
          <ac:chgData name="Aniket Chhabra" userId="598e0514-bef3-4e71-b6aa-f2edd6441cff" providerId="ADAL" clId="{A0F7D543-B727-034C-88B5-8F838AD07213}" dt="2022-08-27T07:20:58.122" v="306"/>
          <ac:inkMkLst>
            <pc:docMk/>
            <pc:sldMk cId="302558819" sldId="281"/>
            <ac:inkMk id="21" creationId="{BCB48795-295E-AF26-6F01-86D0DA5A1BFC}"/>
          </ac:inkMkLst>
        </pc:inkChg>
        <pc:inkChg chg="del mod">
          <ac:chgData name="Aniket Chhabra" userId="598e0514-bef3-4e71-b6aa-f2edd6441cff" providerId="ADAL" clId="{A0F7D543-B727-034C-88B5-8F838AD07213}" dt="2022-08-27T07:20:58.131" v="356"/>
          <ac:inkMkLst>
            <pc:docMk/>
            <pc:sldMk cId="302558819" sldId="281"/>
            <ac:inkMk id="22" creationId="{CFF93EA7-55F5-91D3-6AF6-2093991493D8}"/>
          </ac:inkMkLst>
        </pc:inkChg>
        <pc:inkChg chg="add del mod">
          <ac:chgData name="Aniket Chhabra" userId="598e0514-bef3-4e71-b6aa-f2edd6441cff" providerId="ADAL" clId="{A0F7D543-B727-034C-88B5-8F838AD07213}" dt="2022-09-24T05:23:08.769" v="1572"/>
          <ac:inkMkLst>
            <pc:docMk/>
            <pc:sldMk cId="302558819" sldId="281"/>
            <ac:inkMk id="23" creationId="{2B18B29B-54BB-4963-4DA8-813FB7BFBD73}"/>
          </ac:inkMkLst>
        </pc:inkChg>
        <pc:inkChg chg="del mod">
          <ac:chgData name="Aniket Chhabra" userId="598e0514-bef3-4e71-b6aa-f2edd6441cff" providerId="ADAL" clId="{A0F7D543-B727-034C-88B5-8F838AD07213}" dt="2022-08-27T07:20:58.125" v="323"/>
          <ac:inkMkLst>
            <pc:docMk/>
            <pc:sldMk cId="302558819" sldId="281"/>
            <ac:inkMk id="23" creationId="{AA68FC99-5573-F191-25A7-0104E5FC3552}"/>
          </ac:inkMkLst>
        </pc:inkChg>
        <pc:inkChg chg="del mod">
          <ac:chgData name="Aniket Chhabra" userId="598e0514-bef3-4e71-b6aa-f2edd6441cff" providerId="ADAL" clId="{A0F7D543-B727-034C-88B5-8F838AD07213}" dt="2022-08-27T07:20:58.125" v="322"/>
          <ac:inkMkLst>
            <pc:docMk/>
            <pc:sldMk cId="302558819" sldId="281"/>
            <ac:inkMk id="24" creationId="{03B947A2-550B-C912-8001-02731E888D99}"/>
          </ac:inkMkLst>
        </pc:inkChg>
        <pc:inkChg chg="add del mod">
          <ac:chgData name="Aniket Chhabra" userId="598e0514-bef3-4e71-b6aa-f2edd6441cff" providerId="ADAL" clId="{A0F7D543-B727-034C-88B5-8F838AD07213}" dt="2022-09-24T05:23:08.771" v="1577"/>
          <ac:inkMkLst>
            <pc:docMk/>
            <pc:sldMk cId="302558819" sldId="281"/>
            <ac:inkMk id="25" creationId="{DA20023A-1B00-6343-A610-7ADD61EFE6A2}"/>
          </ac:inkMkLst>
        </pc:inkChg>
        <pc:inkChg chg="add del mod">
          <ac:chgData name="Aniket Chhabra" userId="598e0514-bef3-4e71-b6aa-f2edd6441cff" providerId="ADAL" clId="{A0F7D543-B727-034C-88B5-8F838AD07213}" dt="2022-08-27T07:20:58.126" v="327"/>
          <ac:inkMkLst>
            <pc:docMk/>
            <pc:sldMk cId="302558819" sldId="281"/>
            <ac:inkMk id="25" creationId="{DBF859FA-C28E-0007-5298-7B6394BB3827}"/>
          </ac:inkMkLst>
        </pc:inkChg>
        <pc:inkChg chg="add del mod">
          <ac:chgData name="Aniket Chhabra" userId="598e0514-bef3-4e71-b6aa-f2edd6441cff" providerId="ADAL" clId="{A0F7D543-B727-034C-88B5-8F838AD07213}" dt="2022-09-24T05:23:08.773" v="1584"/>
          <ac:inkMkLst>
            <pc:docMk/>
            <pc:sldMk cId="302558819" sldId="281"/>
            <ac:inkMk id="26" creationId="{B4A85E03-1A40-50DC-6B55-04884F4ACCD2}"/>
          </ac:inkMkLst>
        </pc:inkChg>
        <pc:inkChg chg="del mod">
          <ac:chgData name="Aniket Chhabra" userId="598e0514-bef3-4e71-b6aa-f2edd6441cff" providerId="ADAL" clId="{A0F7D543-B727-034C-88B5-8F838AD07213}" dt="2022-08-27T07:20:58.127" v="333"/>
          <ac:inkMkLst>
            <pc:docMk/>
            <pc:sldMk cId="302558819" sldId="281"/>
            <ac:inkMk id="26" creationId="{E3109CA9-AB6F-B3BA-93A9-17A5B2D5C5F4}"/>
          </ac:inkMkLst>
        </pc:inkChg>
        <pc:inkChg chg="add mod">
          <ac:chgData name="Aniket Chhabra" userId="598e0514-bef3-4e71-b6aa-f2edd6441cff" providerId="ADAL" clId="{A0F7D543-B727-034C-88B5-8F838AD07213}" dt="2022-09-24T05:23:08.774" v="1586"/>
          <ac:inkMkLst>
            <pc:docMk/>
            <pc:sldMk cId="302558819" sldId="281"/>
            <ac:inkMk id="27" creationId="{C395E04C-59F4-B3FD-FA0A-D8BEA6616A0D}"/>
          </ac:inkMkLst>
        </pc:inkChg>
        <pc:inkChg chg="del mod">
          <ac:chgData name="Aniket Chhabra" userId="598e0514-bef3-4e71-b6aa-f2edd6441cff" providerId="ADAL" clId="{A0F7D543-B727-034C-88B5-8F838AD07213}" dt="2022-08-27T07:20:58.129" v="339"/>
          <ac:inkMkLst>
            <pc:docMk/>
            <pc:sldMk cId="302558819" sldId="281"/>
            <ac:inkMk id="27" creationId="{EABD148D-BD8D-5391-D1BF-6AA2BC1FF621}"/>
          </ac:inkMkLst>
        </pc:inkChg>
        <pc:inkChg chg="del mod">
          <ac:chgData name="Aniket Chhabra" userId="598e0514-bef3-4e71-b6aa-f2edd6441cff" providerId="ADAL" clId="{A0F7D543-B727-034C-88B5-8F838AD07213}" dt="2022-08-27T07:20:58.123" v="315"/>
          <ac:inkMkLst>
            <pc:docMk/>
            <pc:sldMk cId="302558819" sldId="281"/>
            <ac:inkMk id="28" creationId="{024FB00C-B1FB-8B10-73E8-B69B2A745EC8}"/>
          </ac:inkMkLst>
        </pc:inkChg>
        <pc:inkChg chg="add mod">
          <ac:chgData name="Aniket Chhabra" userId="598e0514-bef3-4e71-b6aa-f2edd6441cff" providerId="ADAL" clId="{A0F7D543-B727-034C-88B5-8F838AD07213}" dt="2022-09-24T05:23:08.774" v="1586"/>
          <ac:inkMkLst>
            <pc:docMk/>
            <pc:sldMk cId="302558819" sldId="281"/>
            <ac:inkMk id="28" creationId="{C1A1CDC1-64F4-0664-A9CF-BAED10C9CCF9}"/>
          </ac:inkMkLst>
        </pc:inkChg>
        <pc:inkChg chg="add mod">
          <ac:chgData name="Aniket Chhabra" userId="598e0514-bef3-4e71-b6aa-f2edd6441cff" providerId="ADAL" clId="{A0F7D543-B727-034C-88B5-8F838AD07213}" dt="2022-09-24T05:23:08.774" v="1586"/>
          <ac:inkMkLst>
            <pc:docMk/>
            <pc:sldMk cId="302558819" sldId="281"/>
            <ac:inkMk id="29" creationId="{A1B2C1A2-FF85-BFA5-4F9A-8F041E0074EF}"/>
          </ac:inkMkLst>
        </pc:inkChg>
        <pc:inkChg chg="add del mod">
          <ac:chgData name="Aniket Chhabra" userId="598e0514-bef3-4e71-b6aa-f2edd6441cff" providerId="ADAL" clId="{A0F7D543-B727-034C-88B5-8F838AD07213}" dt="2022-08-27T07:20:58.129" v="342"/>
          <ac:inkMkLst>
            <pc:docMk/>
            <pc:sldMk cId="302558819" sldId="281"/>
            <ac:inkMk id="29" creationId="{D483BBA5-98E9-5433-B201-118FF1FA8B53}"/>
          </ac:inkMkLst>
        </pc:inkChg>
        <pc:inkChg chg="mod">
          <ac:chgData name="Aniket Chhabra" userId="598e0514-bef3-4e71-b6aa-f2edd6441cff" providerId="ADAL" clId="{A0F7D543-B727-034C-88B5-8F838AD07213}" dt="2022-08-27T07:20:58.124" v="316"/>
          <ac:inkMkLst>
            <pc:docMk/>
            <pc:sldMk cId="302558819" sldId="281"/>
            <ac:inkMk id="30" creationId="{7102748D-19D1-BD40-B611-13AFD5FD0C38}"/>
          </ac:inkMkLst>
        </pc:inkChg>
        <pc:inkChg chg="add del mod">
          <ac:chgData name="Aniket Chhabra" userId="598e0514-bef3-4e71-b6aa-f2edd6441cff" providerId="ADAL" clId="{A0F7D543-B727-034C-88B5-8F838AD07213}" dt="2022-09-24T05:23:08.774" v="1586"/>
          <ac:inkMkLst>
            <pc:docMk/>
            <pc:sldMk cId="302558819" sldId="281"/>
            <ac:inkMk id="31" creationId="{CDEA838F-365F-2628-CC03-557A425F9693}"/>
          </ac:inkMkLst>
        </pc:inkChg>
        <pc:inkChg chg="del">
          <ac:chgData name="Aniket Chhabra" userId="598e0514-bef3-4e71-b6aa-f2edd6441cff" providerId="ADAL" clId="{A0F7D543-B727-034C-88B5-8F838AD07213}" dt="2022-08-27T07:20:58.124" v="316"/>
          <ac:inkMkLst>
            <pc:docMk/>
            <pc:sldMk cId="302558819" sldId="281"/>
            <ac:inkMk id="31" creationId="{D3423F40-90FD-F770-E57C-DE4A75CCFD03}"/>
          </ac:inkMkLst>
        </pc:inkChg>
        <pc:inkChg chg="del">
          <ac:chgData name="Aniket Chhabra" userId="598e0514-bef3-4e71-b6aa-f2edd6441cff" providerId="ADAL" clId="{A0F7D543-B727-034C-88B5-8F838AD07213}" dt="2022-08-27T07:20:58.122" v="307"/>
          <ac:inkMkLst>
            <pc:docMk/>
            <pc:sldMk cId="302558819" sldId="281"/>
            <ac:inkMk id="32" creationId="{CFDAE5EF-2BEF-C1A3-0E94-CD7E283CF36F}"/>
          </ac:inkMkLst>
        </pc:inkChg>
        <pc:inkChg chg="add mod">
          <ac:chgData name="Aniket Chhabra" userId="598e0514-bef3-4e71-b6aa-f2edd6441cff" providerId="ADAL" clId="{A0F7D543-B727-034C-88B5-8F838AD07213}" dt="2022-09-24T05:23:08.774" v="1586"/>
          <ac:inkMkLst>
            <pc:docMk/>
            <pc:sldMk cId="302558819" sldId="281"/>
            <ac:inkMk id="33" creationId="{85CECC38-1437-7DA5-164A-5DF8745804CC}"/>
          </ac:inkMkLst>
        </pc:inkChg>
        <pc:inkChg chg="del mod">
          <ac:chgData name="Aniket Chhabra" userId="598e0514-bef3-4e71-b6aa-f2edd6441cff" providerId="ADAL" clId="{A0F7D543-B727-034C-88B5-8F838AD07213}" dt="2022-08-27T07:20:58.127" v="331"/>
          <ac:inkMkLst>
            <pc:docMk/>
            <pc:sldMk cId="302558819" sldId="281"/>
            <ac:inkMk id="34" creationId="{2B8940E3-58D6-BEDA-F126-28301C7C863A}"/>
          </ac:inkMkLst>
        </pc:inkChg>
        <pc:inkChg chg="add del mod">
          <ac:chgData name="Aniket Chhabra" userId="598e0514-bef3-4e71-b6aa-f2edd6441cff" providerId="ADAL" clId="{A0F7D543-B727-034C-88B5-8F838AD07213}" dt="2022-09-24T05:23:08.774" v="1586"/>
          <ac:inkMkLst>
            <pc:docMk/>
            <pc:sldMk cId="302558819" sldId="281"/>
            <ac:inkMk id="34" creationId="{B23AAC5F-DA97-EF70-57B6-5875821D3DBE}"/>
          </ac:inkMkLst>
        </pc:inkChg>
        <pc:inkChg chg="del mod">
          <ac:chgData name="Aniket Chhabra" userId="598e0514-bef3-4e71-b6aa-f2edd6441cff" providerId="ADAL" clId="{A0F7D543-B727-034C-88B5-8F838AD07213}" dt="2022-08-27T07:20:58.121" v="303"/>
          <ac:inkMkLst>
            <pc:docMk/>
            <pc:sldMk cId="302558819" sldId="281"/>
            <ac:inkMk id="35" creationId="{CFC38DEB-B1EF-6A11-F005-3A9B1D88D57A}"/>
          </ac:inkMkLst>
        </pc:inkChg>
        <pc:inkChg chg="add del mod">
          <ac:chgData name="Aniket Chhabra" userId="598e0514-bef3-4e71-b6aa-f2edd6441cff" providerId="ADAL" clId="{A0F7D543-B727-034C-88B5-8F838AD07213}" dt="2022-08-27T07:20:58.120" v="301"/>
          <ac:inkMkLst>
            <pc:docMk/>
            <pc:sldMk cId="302558819" sldId="281"/>
            <ac:inkMk id="36" creationId="{48E3D222-0BB7-0BDE-670A-03BAE8B58940}"/>
          </ac:inkMkLst>
        </pc:inkChg>
        <pc:inkChg chg="add mod">
          <ac:chgData name="Aniket Chhabra" userId="598e0514-bef3-4e71-b6aa-f2edd6441cff" providerId="ADAL" clId="{A0F7D543-B727-034C-88B5-8F838AD07213}" dt="2022-09-24T05:23:08.774" v="1586"/>
          <ac:inkMkLst>
            <pc:docMk/>
            <pc:sldMk cId="302558819" sldId="281"/>
            <ac:inkMk id="36" creationId="{6B821731-AD30-6254-5848-FC2CDE91261E}"/>
          </ac:inkMkLst>
        </pc:inkChg>
        <pc:inkChg chg="add mod">
          <ac:chgData name="Aniket Chhabra" userId="598e0514-bef3-4e71-b6aa-f2edd6441cff" providerId="ADAL" clId="{A0F7D543-B727-034C-88B5-8F838AD07213}" dt="2022-09-24T05:23:08.774" v="1586"/>
          <ac:inkMkLst>
            <pc:docMk/>
            <pc:sldMk cId="302558819" sldId="281"/>
            <ac:inkMk id="37" creationId="{8CA85113-5620-D75D-4D32-6EC9B7ED7F45}"/>
          </ac:inkMkLst>
        </pc:inkChg>
        <pc:inkChg chg="del mod">
          <ac:chgData name="Aniket Chhabra" userId="598e0514-bef3-4e71-b6aa-f2edd6441cff" providerId="ADAL" clId="{A0F7D543-B727-034C-88B5-8F838AD07213}" dt="2022-08-27T07:20:58.125" v="324"/>
          <ac:inkMkLst>
            <pc:docMk/>
            <pc:sldMk cId="302558819" sldId="281"/>
            <ac:inkMk id="37" creationId="{FDF8231D-79C2-A916-09FB-7CADFCD286FA}"/>
          </ac:inkMkLst>
        </pc:inkChg>
        <pc:inkChg chg="add mod">
          <ac:chgData name="Aniket Chhabra" userId="598e0514-bef3-4e71-b6aa-f2edd6441cff" providerId="ADAL" clId="{A0F7D543-B727-034C-88B5-8F838AD07213}" dt="2022-09-24T05:23:08.774" v="1586"/>
          <ac:inkMkLst>
            <pc:docMk/>
            <pc:sldMk cId="302558819" sldId="281"/>
            <ac:inkMk id="38" creationId="{07E2D3E5-0E14-666F-1466-E028B491069C}"/>
          </ac:inkMkLst>
        </pc:inkChg>
        <pc:inkChg chg="del">
          <ac:chgData name="Aniket Chhabra" userId="598e0514-bef3-4e71-b6aa-f2edd6441cff" providerId="ADAL" clId="{A0F7D543-B727-034C-88B5-8F838AD07213}" dt="2022-08-27T07:20:58.119" v="296"/>
          <ac:inkMkLst>
            <pc:docMk/>
            <pc:sldMk cId="302558819" sldId="281"/>
            <ac:inkMk id="38" creationId="{648D94BD-2A35-9150-3690-B97D4CEC4711}"/>
          </ac:inkMkLst>
        </pc:inkChg>
        <pc:inkChg chg="add mod">
          <ac:chgData name="Aniket Chhabra" userId="598e0514-bef3-4e71-b6aa-f2edd6441cff" providerId="ADAL" clId="{A0F7D543-B727-034C-88B5-8F838AD07213}" dt="2022-09-24T05:23:08.774" v="1586"/>
          <ac:inkMkLst>
            <pc:docMk/>
            <pc:sldMk cId="302558819" sldId="281"/>
            <ac:inkMk id="39" creationId="{B0EF964A-9D54-7C9E-A202-7AFBCE4D32E8}"/>
          </ac:inkMkLst>
        </pc:inkChg>
        <pc:inkChg chg="add mod">
          <ac:chgData name="Aniket Chhabra" userId="598e0514-bef3-4e71-b6aa-f2edd6441cff" providerId="ADAL" clId="{A0F7D543-B727-034C-88B5-8F838AD07213}" dt="2022-09-24T05:23:08.774" v="1586"/>
          <ac:inkMkLst>
            <pc:docMk/>
            <pc:sldMk cId="302558819" sldId="281"/>
            <ac:inkMk id="40" creationId="{626AB496-D163-E15E-6815-D0025A4C796E}"/>
          </ac:inkMkLst>
        </pc:inkChg>
        <pc:inkChg chg="del mod">
          <ac:chgData name="Aniket Chhabra" userId="598e0514-bef3-4e71-b6aa-f2edd6441cff" providerId="ADAL" clId="{A0F7D543-B727-034C-88B5-8F838AD07213}" dt="2022-08-27T07:20:58.130" v="347"/>
          <ac:inkMkLst>
            <pc:docMk/>
            <pc:sldMk cId="302558819" sldId="281"/>
            <ac:inkMk id="40" creationId="{894AF37A-20D3-6906-13D9-7A6B68CEE61C}"/>
          </ac:inkMkLst>
        </pc:inkChg>
        <pc:inkChg chg="add mod">
          <ac:chgData name="Aniket Chhabra" userId="598e0514-bef3-4e71-b6aa-f2edd6441cff" providerId="ADAL" clId="{A0F7D543-B727-034C-88B5-8F838AD07213}" dt="2022-09-24T05:23:08.774" v="1586"/>
          <ac:inkMkLst>
            <pc:docMk/>
            <pc:sldMk cId="302558819" sldId="281"/>
            <ac:inkMk id="41" creationId="{770942D2-ECBA-E158-EF85-1B526F56D0B1}"/>
          </ac:inkMkLst>
        </pc:inkChg>
        <pc:inkChg chg="del mod">
          <ac:chgData name="Aniket Chhabra" userId="598e0514-bef3-4e71-b6aa-f2edd6441cff" providerId="ADAL" clId="{A0F7D543-B727-034C-88B5-8F838AD07213}" dt="2022-08-27T07:20:58.125" v="325"/>
          <ac:inkMkLst>
            <pc:docMk/>
            <pc:sldMk cId="302558819" sldId="281"/>
            <ac:inkMk id="41" creationId="{D21A495C-34B8-E2E3-5D57-40B9620F6906}"/>
          </ac:inkMkLst>
        </pc:inkChg>
        <pc:inkChg chg="add mod">
          <ac:chgData name="Aniket Chhabra" userId="598e0514-bef3-4e71-b6aa-f2edd6441cff" providerId="ADAL" clId="{A0F7D543-B727-034C-88B5-8F838AD07213}" dt="2022-09-24T05:23:08.774" v="1586"/>
          <ac:inkMkLst>
            <pc:docMk/>
            <pc:sldMk cId="302558819" sldId="281"/>
            <ac:inkMk id="42" creationId="{793810D3-77E3-17E0-3BEB-BE349C38DB41}"/>
          </ac:inkMkLst>
        </pc:inkChg>
        <pc:inkChg chg="del mod">
          <ac:chgData name="Aniket Chhabra" userId="598e0514-bef3-4e71-b6aa-f2edd6441cff" providerId="ADAL" clId="{A0F7D543-B727-034C-88B5-8F838AD07213}" dt="2022-08-27T07:20:58.127" v="332"/>
          <ac:inkMkLst>
            <pc:docMk/>
            <pc:sldMk cId="302558819" sldId="281"/>
            <ac:inkMk id="42" creationId="{A0D16414-03C8-5883-C734-9C2818B130CB}"/>
          </ac:inkMkLst>
        </pc:inkChg>
        <pc:inkChg chg="del mod">
          <ac:chgData name="Aniket Chhabra" userId="598e0514-bef3-4e71-b6aa-f2edd6441cff" providerId="ADAL" clId="{A0F7D543-B727-034C-88B5-8F838AD07213}" dt="2022-08-27T07:20:58.126" v="329"/>
          <ac:inkMkLst>
            <pc:docMk/>
            <pc:sldMk cId="302558819" sldId="281"/>
            <ac:inkMk id="43" creationId="{7F368479-0C7D-7196-632C-8C54D511635D}"/>
          </ac:inkMkLst>
        </pc:inkChg>
        <pc:inkChg chg="add mod">
          <ac:chgData name="Aniket Chhabra" userId="598e0514-bef3-4e71-b6aa-f2edd6441cff" providerId="ADAL" clId="{A0F7D543-B727-034C-88B5-8F838AD07213}" dt="2022-09-24T05:23:08.774" v="1586"/>
          <ac:inkMkLst>
            <pc:docMk/>
            <pc:sldMk cId="302558819" sldId="281"/>
            <ac:inkMk id="43" creationId="{8590F2D2-F94F-6BB1-B9D5-27DB845142BB}"/>
          </ac:inkMkLst>
        </pc:inkChg>
        <pc:inkChg chg="add mod">
          <ac:chgData name="Aniket Chhabra" userId="598e0514-bef3-4e71-b6aa-f2edd6441cff" providerId="ADAL" clId="{A0F7D543-B727-034C-88B5-8F838AD07213}" dt="2022-09-24T05:23:08.774" v="1586"/>
          <ac:inkMkLst>
            <pc:docMk/>
            <pc:sldMk cId="302558819" sldId="281"/>
            <ac:inkMk id="44" creationId="{313D5EAE-8A0A-316A-2493-7924C4F10A03}"/>
          </ac:inkMkLst>
        </pc:inkChg>
        <pc:inkChg chg="del mod">
          <ac:chgData name="Aniket Chhabra" userId="598e0514-bef3-4e71-b6aa-f2edd6441cff" providerId="ADAL" clId="{A0F7D543-B727-034C-88B5-8F838AD07213}" dt="2022-08-27T07:20:58.120" v="297"/>
          <ac:inkMkLst>
            <pc:docMk/>
            <pc:sldMk cId="302558819" sldId="281"/>
            <ac:inkMk id="44" creationId="{CFEA1F7C-E9BC-F56C-D5B8-6ED3714DB732}"/>
          </ac:inkMkLst>
        </pc:inkChg>
        <pc:inkChg chg="del mod">
          <ac:chgData name="Aniket Chhabra" userId="598e0514-bef3-4e71-b6aa-f2edd6441cff" providerId="ADAL" clId="{A0F7D543-B727-034C-88B5-8F838AD07213}" dt="2022-08-27T07:20:58.131" v="352"/>
          <ac:inkMkLst>
            <pc:docMk/>
            <pc:sldMk cId="302558819" sldId="281"/>
            <ac:inkMk id="45" creationId="{96FC70A9-5282-8499-8DFD-D976ADFD595C}"/>
          </ac:inkMkLst>
        </pc:inkChg>
        <pc:inkChg chg="del mod">
          <ac:chgData name="Aniket Chhabra" userId="598e0514-bef3-4e71-b6aa-f2edd6441cff" providerId="ADAL" clId="{A0F7D543-B727-034C-88B5-8F838AD07213}" dt="2022-08-27T07:20:58.122" v="308"/>
          <ac:inkMkLst>
            <pc:docMk/>
            <pc:sldMk cId="302558819" sldId="281"/>
            <ac:inkMk id="46" creationId="{7BBE85F1-7FC3-3A29-58F1-71E2E7ED51C7}"/>
          </ac:inkMkLst>
        </pc:inkChg>
        <pc:inkChg chg="add mod">
          <ac:chgData name="Aniket Chhabra" userId="598e0514-bef3-4e71-b6aa-f2edd6441cff" providerId="ADAL" clId="{A0F7D543-B727-034C-88B5-8F838AD07213}" dt="2022-09-24T05:23:08.774" v="1586"/>
          <ac:inkMkLst>
            <pc:docMk/>
            <pc:sldMk cId="302558819" sldId="281"/>
            <ac:inkMk id="46" creationId="{F73AC5B6-0AFF-0E3C-7328-776608D18E31}"/>
          </ac:inkMkLst>
        </pc:inkChg>
        <pc:inkChg chg="del mod">
          <ac:chgData name="Aniket Chhabra" userId="598e0514-bef3-4e71-b6aa-f2edd6441cff" providerId="ADAL" clId="{A0F7D543-B727-034C-88B5-8F838AD07213}" dt="2022-08-27T07:20:58.126" v="326"/>
          <ac:inkMkLst>
            <pc:docMk/>
            <pc:sldMk cId="302558819" sldId="281"/>
            <ac:inkMk id="47" creationId="{13F9EB33-EABA-7C83-0D20-6F53FA029D34}"/>
          </ac:inkMkLst>
        </pc:inkChg>
        <pc:inkChg chg="add mod">
          <ac:chgData name="Aniket Chhabra" userId="598e0514-bef3-4e71-b6aa-f2edd6441cff" providerId="ADAL" clId="{A0F7D543-B727-034C-88B5-8F838AD07213}" dt="2022-09-24T05:23:08.774" v="1586"/>
          <ac:inkMkLst>
            <pc:docMk/>
            <pc:sldMk cId="302558819" sldId="281"/>
            <ac:inkMk id="47" creationId="{EF6DE2F1-F5E2-4FF9-CDB0-7BFBE61AECC7}"/>
          </ac:inkMkLst>
        </pc:inkChg>
        <pc:inkChg chg="add mod">
          <ac:chgData name="Aniket Chhabra" userId="598e0514-bef3-4e71-b6aa-f2edd6441cff" providerId="ADAL" clId="{A0F7D543-B727-034C-88B5-8F838AD07213}" dt="2022-09-24T05:23:08.774" v="1586"/>
          <ac:inkMkLst>
            <pc:docMk/>
            <pc:sldMk cId="302558819" sldId="281"/>
            <ac:inkMk id="48" creationId="{43489C05-8D74-8828-E730-046B1286F09B}"/>
          </ac:inkMkLst>
        </pc:inkChg>
        <pc:inkChg chg="del mod">
          <ac:chgData name="Aniket Chhabra" userId="598e0514-bef3-4e71-b6aa-f2edd6441cff" providerId="ADAL" clId="{A0F7D543-B727-034C-88B5-8F838AD07213}" dt="2022-08-27T07:20:58.122" v="309"/>
          <ac:inkMkLst>
            <pc:docMk/>
            <pc:sldMk cId="302558819" sldId="281"/>
            <ac:inkMk id="48" creationId="{D547E3BA-A331-A103-859B-4CDC425AEFF9}"/>
          </ac:inkMkLst>
        </pc:inkChg>
        <pc:inkChg chg="del mod">
          <ac:chgData name="Aniket Chhabra" userId="598e0514-bef3-4e71-b6aa-f2edd6441cff" providerId="ADAL" clId="{A0F7D543-B727-034C-88B5-8F838AD07213}" dt="2022-08-27T07:20:58.130" v="350"/>
          <ac:inkMkLst>
            <pc:docMk/>
            <pc:sldMk cId="302558819" sldId="281"/>
            <ac:inkMk id="49" creationId="{3D594EEC-4688-BCCC-7215-CB657134CC3B}"/>
          </ac:inkMkLst>
        </pc:inkChg>
        <pc:inkChg chg="add mod">
          <ac:chgData name="Aniket Chhabra" userId="598e0514-bef3-4e71-b6aa-f2edd6441cff" providerId="ADAL" clId="{A0F7D543-B727-034C-88B5-8F838AD07213}" dt="2022-09-24T05:23:08.774" v="1586"/>
          <ac:inkMkLst>
            <pc:docMk/>
            <pc:sldMk cId="302558819" sldId="281"/>
            <ac:inkMk id="49" creationId="{904B07F5-F687-257E-F51F-DA706B48C8AC}"/>
          </ac:inkMkLst>
        </pc:inkChg>
        <pc:inkChg chg="add mod">
          <ac:chgData name="Aniket Chhabra" userId="598e0514-bef3-4e71-b6aa-f2edd6441cff" providerId="ADAL" clId="{A0F7D543-B727-034C-88B5-8F838AD07213}" dt="2022-09-24T05:23:08.774" v="1586"/>
          <ac:inkMkLst>
            <pc:docMk/>
            <pc:sldMk cId="302558819" sldId="281"/>
            <ac:inkMk id="50" creationId="{459012F9-9802-7006-152A-C9ADEDAD061F}"/>
          </ac:inkMkLst>
        </pc:inkChg>
        <pc:inkChg chg="del mod">
          <ac:chgData name="Aniket Chhabra" userId="598e0514-bef3-4e71-b6aa-f2edd6441cff" providerId="ADAL" clId="{A0F7D543-B727-034C-88B5-8F838AD07213}" dt="2022-08-27T07:20:58.124" v="320"/>
          <ac:inkMkLst>
            <pc:docMk/>
            <pc:sldMk cId="302558819" sldId="281"/>
            <ac:inkMk id="50" creationId="{7478AF9D-8154-2958-8314-CC994118EF71}"/>
          </ac:inkMkLst>
        </pc:inkChg>
        <pc:inkChg chg="add mod">
          <ac:chgData name="Aniket Chhabra" userId="598e0514-bef3-4e71-b6aa-f2edd6441cff" providerId="ADAL" clId="{A0F7D543-B727-034C-88B5-8F838AD07213}" dt="2022-09-24T05:23:08.774" v="1586"/>
          <ac:inkMkLst>
            <pc:docMk/>
            <pc:sldMk cId="302558819" sldId="281"/>
            <ac:inkMk id="51" creationId="{507DE00D-4465-1CF8-EEF0-BE31947BE6AC}"/>
          </ac:inkMkLst>
        </pc:inkChg>
        <pc:inkChg chg="del mod">
          <ac:chgData name="Aniket Chhabra" userId="598e0514-bef3-4e71-b6aa-f2edd6441cff" providerId="ADAL" clId="{A0F7D543-B727-034C-88B5-8F838AD07213}" dt="2022-08-27T07:20:58.128" v="336"/>
          <ac:inkMkLst>
            <pc:docMk/>
            <pc:sldMk cId="302558819" sldId="281"/>
            <ac:inkMk id="51" creationId="{ADCD8AC9-4CC4-A8B3-03D5-CE51CA989C69}"/>
          </ac:inkMkLst>
        </pc:inkChg>
        <pc:inkChg chg="del mod">
          <ac:chgData name="Aniket Chhabra" userId="598e0514-bef3-4e71-b6aa-f2edd6441cff" providerId="ADAL" clId="{A0F7D543-B727-034C-88B5-8F838AD07213}" dt="2022-08-27T07:20:58.131" v="355"/>
          <ac:inkMkLst>
            <pc:docMk/>
            <pc:sldMk cId="302558819" sldId="281"/>
            <ac:inkMk id="52" creationId="{8385A61C-FC2F-90EF-6CD7-62A281F57343}"/>
          </ac:inkMkLst>
        </pc:inkChg>
        <pc:inkChg chg="add del">
          <ac:chgData name="Aniket Chhabra" userId="598e0514-bef3-4e71-b6aa-f2edd6441cff" providerId="ADAL" clId="{A0F7D543-B727-034C-88B5-8F838AD07213}" dt="2022-09-10T08:14:23.979" v="588" actId="9405"/>
          <ac:inkMkLst>
            <pc:docMk/>
            <pc:sldMk cId="302558819" sldId="281"/>
            <ac:inkMk id="53" creationId="{3EF3999B-EF6B-B263-7A16-869349876293}"/>
          </ac:inkMkLst>
        </pc:inkChg>
        <pc:inkChg chg="del mod">
          <ac:chgData name="Aniket Chhabra" userId="598e0514-bef3-4e71-b6aa-f2edd6441cff" providerId="ADAL" clId="{A0F7D543-B727-034C-88B5-8F838AD07213}" dt="2022-08-27T07:20:58.130" v="346"/>
          <ac:inkMkLst>
            <pc:docMk/>
            <pc:sldMk cId="302558819" sldId="281"/>
            <ac:inkMk id="53" creationId="{50BFFA8F-9C7C-8262-D25D-0368D1D2CC6A}"/>
          </ac:inkMkLst>
        </pc:inkChg>
        <pc:inkChg chg="add mod">
          <ac:chgData name="Aniket Chhabra" userId="598e0514-bef3-4e71-b6aa-f2edd6441cff" providerId="ADAL" clId="{A0F7D543-B727-034C-88B5-8F838AD07213}" dt="2022-09-24T05:23:08.774" v="1586"/>
          <ac:inkMkLst>
            <pc:docMk/>
            <pc:sldMk cId="302558819" sldId="281"/>
            <ac:inkMk id="54" creationId="{15AC1B6C-5334-325C-3D03-E63C4D0ECAED}"/>
          </ac:inkMkLst>
        </pc:inkChg>
        <pc:inkChg chg="del mod">
          <ac:chgData name="Aniket Chhabra" userId="598e0514-bef3-4e71-b6aa-f2edd6441cff" providerId="ADAL" clId="{A0F7D543-B727-034C-88B5-8F838AD07213}" dt="2022-08-27T07:20:58.130" v="345"/>
          <ac:inkMkLst>
            <pc:docMk/>
            <pc:sldMk cId="302558819" sldId="281"/>
            <ac:inkMk id="54" creationId="{DD6088DF-F8ED-624C-4B30-498DB42D495D}"/>
          </ac:inkMkLst>
        </pc:inkChg>
        <pc:inkChg chg="del mod">
          <ac:chgData name="Aniket Chhabra" userId="598e0514-bef3-4e71-b6aa-f2edd6441cff" providerId="ADAL" clId="{A0F7D543-B727-034C-88B5-8F838AD07213}" dt="2022-08-27T07:20:58.129" v="343"/>
          <ac:inkMkLst>
            <pc:docMk/>
            <pc:sldMk cId="302558819" sldId="281"/>
            <ac:inkMk id="55" creationId="{2A3F5801-47F4-1DBE-3E71-B23968B973CD}"/>
          </ac:inkMkLst>
        </pc:inkChg>
        <pc:inkChg chg="add mod">
          <ac:chgData name="Aniket Chhabra" userId="598e0514-bef3-4e71-b6aa-f2edd6441cff" providerId="ADAL" clId="{A0F7D543-B727-034C-88B5-8F838AD07213}" dt="2022-09-24T05:23:08.774" v="1586"/>
          <ac:inkMkLst>
            <pc:docMk/>
            <pc:sldMk cId="302558819" sldId="281"/>
            <ac:inkMk id="55" creationId="{6468A611-9E88-58BC-B72A-87C854193F9F}"/>
          </ac:inkMkLst>
        </pc:inkChg>
        <pc:inkChg chg="add mod">
          <ac:chgData name="Aniket Chhabra" userId="598e0514-bef3-4e71-b6aa-f2edd6441cff" providerId="ADAL" clId="{A0F7D543-B727-034C-88B5-8F838AD07213}" dt="2022-09-24T05:23:08.774" v="1586"/>
          <ac:inkMkLst>
            <pc:docMk/>
            <pc:sldMk cId="302558819" sldId="281"/>
            <ac:inkMk id="56" creationId="{3DAD62EA-886F-69A2-9298-35A55D4C2779}"/>
          </ac:inkMkLst>
        </pc:inkChg>
        <pc:inkChg chg="del mod">
          <ac:chgData name="Aniket Chhabra" userId="598e0514-bef3-4e71-b6aa-f2edd6441cff" providerId="ADAL" clId="{A0F7D543-B727-034C-88B5-8F838AD07213}" dt="2022-08-27T07:20:58.129" v="340"/>
          <ac:inkMkLst>
            <pc:docMk/>
            <pc:sldMk cId="302558819" sldId="281"/>
            <ac:inkMk id="56" creationId="{AD19BCF3-6495-FDD5-FD4F-FF1BC2573E77}"/>
          </ac:inkMkLst>
        </pc:inkChg>
        <pc:inkChg chg="add mod">
          <ac:chgData name="Aniket Chhabra" userId="598e0514-bef3-4e71-b6aa-f2edd6441cff" providerId="ADAL" clId="{A0F7D543-B727-034C-88B5-8F838AD07213}" dt="2022-09-24T05:23:08.774" v="1586"/>
          <ac:inkMkLst>
            <pc:docMk/>
            <pc:sldMk cId="302558819" sldId="281"/>
            <ac:inkMk id="57" creationId="{4D8D170C-7D36-8D29-CA6D-327FADCEEB00}"/>
          </ac:inkMkLst>
        </pc:inkChg>
        <pc:inkChg chg="del mod">
          <ac:chgData name="Aniket Chhabra" userId="598e0514-bef3-4e71-b6aa-f2edd6441cff" providerId="ADAL" clId="{A0F7D543-B727-034C-88B5-8F838AD07213}" dt="2022-08-27T07:20:58.123" v="313"/>
          <ac:inkMkLst>
            <pc:docMk/>
            <pc:sldMk cId="302558819" sldId="281"/>
            <ac:inkMk id="57" creationId="{CA7C951E-5B53-3A92-6D42-19BBB24ABA55}"/>
          </ac:inkMkLst>
        </pc:inkChg>
        <pc:inkChg chg="add mod">
          <ac:chgData name="Aniket Chhabra" userId="598e0514-bef3-4e71-b6aa-f2edd6441cff" providerId="ADAL" clId="{A0F7D543-B727-034C-88B5-8F838AD07213}" dt="2022-09-24T05:23:08.774" v="1586"/>
          <ac:inkMkLst>
            <pc:docMk/>
            <pc:sldMk cId="302558819" sldId="281"/>
            <ac:inkMk id="58" creationId="{E9CE52D3-4ECA-0CC6-CC8C-59477E325456}"/>
          </ac:inkMkLst>
        </pc:inkChg>
        <pc:inkChg chg="del mod">
          <ac:chgData name="Aniket Chhabra" userId="598e0514-bef3-4e71-b6aa-f2edd6441cff" providerId="ADAL" clId="{A0F7D543-B727-034C-88B5-8F838AD07213}" dt="2022-08-27T07:20:58.123" v="312"/>
          <ac:inkMkLst>
            <pc:docMk/>
            <pc:sldMk cId="302558819" sldId="281"/>
            <ac:inkMk id="59" creationId="{0865D8B8-3C86-709D-5BC4-3DA46FE86D8F}"/>
          </ac:inkMkLst>
        </pc:inkChg>
        <pc:inkChg chg="add mod">
          <ac:chgData name="Aniket Chhabra" userId="598e0514-bef3-4e71-b6aa-f2edd6441cff" providerId="ADAL" clId="{A0F7D543-B727-034C-88B5-8F838AD07213}" dt="2022-09-24T05:23:08.774" v="1586"/>
          <ac:inkMkLst>
            <pc:docMk/>
            <pc:sldMk cId="302558819" sldId="281"/>
            <ac:inkMk id="59" creationId="{181B0EB3-8CD3-CE63-0B74-A3B8CB409251}"/>
          </ac:inkMkLst>
        </pc:inkChg>
        <pc:inkChg chg="add mod">
          <ac:chgData name="Aniket Chhabra" userId="598e0514-bef3-4e71-b6aa-f2edd6441cff" providerId="ADAL" clId="{A0F7D543-B727-034C-88B5-8F838AD07213}" dt="2022-09-24T05:23:08.774" v="1586"/>
          <ac:inkMkLst>
            <pc:docMk/>
            <pc:sldMk cId="302558819" sldId="281"/>
            <ac:inkMk id="60" creationId="{441DF44C-F60D-E139-FE3A-623B43784A19}"/>
          </ac:inkMkLst>
        </pc:inkChg>
        <pc:inkChg chg="add del">
          <ac:chgData name="Aniket Chhabra" userId="598e0514-bef3-4e71-b6aa-f2edd6441cff" providerId="ADAL" clId="{A0F7D543-B727-034C-88B5-8F838AD07213}" dt="2022-08-27T07:20:58.122" v="310"/>
          <ac:inkMkLst>
            <pc:docMk/>
            <pc:sldMk cId="302558819" sldId="281"/>
            <ac:inkMk id="60" creationId="{E282DA96-6B85-D93F-7B2D-755861996B21}"/>
          </ac:inkMkLst>
        </pc:inkChg>
        <pc:inkChg chg="add mod">
          <ac:chgData name="Aniket Chhabra" userId="598e0514-bef3-4e71-b6aa-f2edd6441cff" providerId="ADAL" clId="{A0F7D543-B727-034C-88B5-8F838AD07213}" dt="2022-09-24T05:23:08.774" v="1586"/>
          <ac:inkMkLst>
            <pc:docMk/>
            <pc:sldMk cId="302558819" sldId="281"/>
            <ac:inkMk id="61" creationId="{407A2818-7B92-18FE-E884-55DEFE5E6E1F}"/>
          </ac:inkMkLst>
        </pc:inkChg>
        <pc:inkChg chg="del mod">
          <ac:chgData name="Aniket Chhabra" userId="598e0514-bef3-4e71-b6aa-f2edd6441cff" providerId="ADAL" clId="{A0F7D543-B727-034C-88B5-8F838AD07213}" dt="2022-08-27T07:20:58.125" v="321"/>
          <ac:inkMkLst>
            <pc:docMk/>
            <pc:sldMk cId="302558819" sldId="281"/>
            <ac:inkMk id="61" creationId="{D6B36B5B-E4A2-0061-79D7-A080FCD91564}"/>
          </ac:inkMkLst>
        </pc:inkChg>
        <pc:inkChg chg="add mod">
          <ac:chgData name="Aniket Chhabra" userId="598e0514-bef3-4e71-b6aa-f2edd6441cff" providerId="ADAL" clId="{A0F7D543-B727-034C-88B5-8F838AD07213}" dt="2022-09-24T05:23:08.774" v="1586"/>
          <ac:inkMkLst>
            <pc:docMk/>
            <pc:sldMk cId="302558819" sldId="281"/>
            <ac:inkMk id="62" creationId="{2D4BFE9F-88E8-547D-B044-5210F6800A19}"/>
          </ac:inkMkLst>
        </pc:inkChg>
        <pc:inkChg chg="del mod">
          <ac:chgData name="Aniket Chhabra" userId="598e0514-bef3-4e71-b6aa-f2edd6441cff" providerId="ADAL" clId="{A0F7D543-B727-034C-88B5-8F838AD07213}" dt="2022-08-27T07:20:58.121" v="304"/>
          <ac:inkMkLst>
            <pc:docMk/>
            <pc:sldMk cId="302558819" sldId="281"/>
            <ac:inkMk id="62" creationId="{655CBEB0-F70F-81C0-06DC-21108CBDE51F}"/>
          </ac:inkMkLst>
        </pc:inkChg>
        <pc:inkChg chg="del mod">
          <ac:chgData name="Aniket Chhabra" userId="598e0514-bef3-4e71-b6aa-f2edd6441cff" providerId="ADAL" clId="{A0F7D543-B727-034C-88B5-8F838AD07213}" dt="2022-08-27T07:20:58.126" v="328"/>
          <ac:inkMkLst>
            <pc:docMk/>
            <pc:sldMk cId="302558819" sldId="281"/>
            <ac:inkMk id="63" creationId="{32F5D30B-0759-60CF-48F6-1AA034E4466C}"/>
          </ac:inkMkLst>
        </pc:inkChg>
        <pc:inkChg chg="add mod">
          <ac:chgData name="Aniket Chhabra" userId="598e0514-bef3-4e71-b6aa-f2edd6441cff" providerId="ADAL" clId="{A0F7D543-B727-034C-88B5-8F838AD07213}" dt="2022-09-24T05:23:08.774" v="1586"/>
          <ac:inkMkLst>
            <pc:docMk/>
            <pc:sldMk cId="302558819" sldId="281"/>
            <ac:inkMk id="63" creationId="{5EDEB377-5CDB-4534-D594-3796B5B7F26C}"/>
          </ac:inkMkLst>
        </pc:inkChg>
        <pc:inkChg chg="add del">
          <ac:chgData name="Aniket Chhabra" userId="598e0514-bef3-4e71-b6aa-f2edd6441cff" providerId="ADAL" clId="{A0F7D543-B727-034C-88B5-8F838AD07213}" dt="2022-08-27T07:21:58.739" v="359"/>
          <ac:inkMkLst>
            <pc:docMk/>
            <pc:sldMk cId="302558819" sldId="281"/>
            <ac:inkMk id="64" creationId="{77F30CD2-CA55-8C2F-1DD8-7F96C9D6E3E1}"/>
          </ac:inkMkLst>
        </pc:inkChg>
        <pc:inkChg chg="add mod">
          <ac:chgData name="Aniket Chhabra" userId="598e0514-bef3-4e71-b6aa-f2edd6441cff" providerId="ADAL" clId="{A0F7D543-B727-034C-88B5-8F838AD07213}" dt="2022-09-24T05:23:08.774" v="1586"/>
          <ac:inkMkLst>
            <pc:docMk/>
            <pc:sldMk cId="302558819" sldId="281"/>
            <ac:inkMk id="64" creationId="{A8209099-EF0C-48D1-DA03-E924ED58FBF0}"/>
          </ac:inkMkLst>
        </pc:inkChg>
        <pc:inkChg chg="add mod">
          <ac:chgData name="Aniket Chhabra" userId="598e0514-bef3-4e71-b6aa-f2edd6441cff" providerId="ADAL" clId="{A0F7D543-B727-034C-88B5-8F838AD07213}" dt="2022-09-24T05:23:08.774" v="1586"/>
          <ac:inkMkLst>
            <pc:docMk/>
            <pc:sldMk cId="302558819" sldId="281"/>
            <ac:inkMk id="65" creationId="{65F71ADA-1A52-ACFE-5961-D71B686D57DB}"/>
          </ac:inkMkLst>
        </pc:inkChg>
        <pc:inkChg chg="del mod">
          <ac:chgData name="Aniket Chhabra" userId="598e0514-bef3-4e71-b6aa-f2edd6441cff" providerId="ADAL" clId="{A0F7D543-B727-034C-88B5-8F838AD07213}" dt="2022-08-27T07:20:58.128" v="337"/>
          <ac:inkMkLst>
            <pc:docMk/>
            <pc:sldMk cId="302558819" sldId="281"/>
            <ac:inkMk id="65" creationId="{A94BCE4B-1392-AC67-6CF6-9DEF2B0D2E23}"/>
          </ac:inkMkLst>
        </pc:inkChg>
        <pc:inkChg chg="add mod">
          <ac:chgData name="Aniket Chhabra" userId="598e0514-bef3-4e71-b6aa-f2edd6441cff" providerId="ADAL" clId="{A0F7D543-B727-034C-88B5-8F838AD07213}" dt="2022-09-24T05:23:08.774" v="1586"/>
          <ac:inkMkLst>
            <pc:docMk/>
            <pc:sldMk cId="302558819" sldId="281"/>
            <ac:inkMk id="66" creationId="{99E00805-5651-A83C-C8FC-CAB7B8C60E3F}"/>
          </ac:inkMkLst>
        </pc:inkChg>
        <pc:inkChg chg="del mod">
          <ac:chgData name="Aniket Chhabra" userId="598e0514-bef3-4e71-b6aa-f2edd6441cff" providerId="ADAL" clId="{A0F7D543-B727-034C-88B5-8F838AD07213}" dt="2022-08-27T07:20:58.123" v="314"/>
          <ac:inkMkLst>
            <pc:docMk/>
            <pc:sldMk cId="302558819" sldId="281"/>
            <ac:inkMk id="66" creationId="{BDA9586D-BC96-E9BF-EF68-BA3A115C64E8}"/>
          </ac:inkMkLst>
        </pc:inkChg>
        <pc:inkChg chg="add mod">
          <ac:chgData name="Aniket Chhabra" userId="598e0514-bef3-4e71-b6aa-f2edd6441cff" providerId="ADAL" clId="{A0F7D543-B727-034C-88B5-8F838AD07213}" dt="2022-09-24T05:23:08.774" v="1586"/>
          <ac:inkMkLst>
            <pc:docMk/>
            <pc:sldMk cId="302558819" sldId="281"/>
            <ac:inkMk id="67" creationId="{34BA43DD-6A22-B908-5E64-D1091628AC5E}"/>
          </ac:inkMkLst>
        </pc:inkChg>
        <pc:inkChg chg="del mod">
          <ac:chgData name="Aniket Chhabra" userId="598e0514-bef3-4e71-b6aa-f2edd6441cff" providerId="ADAL" clId="{A0F7D543-B727-034C-88B5-8F838AD07213}" dt="2022-08-27T07:20:58.131" v="353"/>
          <ac:inkMkLst>
            <pc:docMk/>
            <pc:sldMk cId="302558819" sldId="281"/>
            <ac:inkMk id="67" creationId="{FB70F539-C1A6-F3A5-91C8-209F3E6FD419}"/>
          </ac:inkMkLst>
        </pc:inkChg>
        <pc:inkChg chg="del mod">
          <ac:chgData name="Aniket Chhabra" userId="598e0514-bef3-4e71-b6aa-f2edd6441cff" providerId="ADAL" clId="{A0F7D543-B727-034C-88B5-8F838AD07213}" dt="2022-08-27T07:20:58.128" v="335"/>
          <ac:inkMkLst>
            <pc:docMk/>
            <pc:sldMk cId="302558819" sldId="281"/>
            <ac:inkMk id="68" creationId="{C1B6411C-6E09-271A-5B8B-A80588578601}"/>
          </ac:inkMkLst>
        </pc:inkChg>
        <pc:inkChg chg="add mod">
          <ac:chgData name="Aniket Chhabra" userId="598e0514-bef3-4e71-b6aa-f2edd6441cff" providerId="ADAL" clId="{A0F7D543-B727-034C-88B5-8F838AD07213}" dt="2022-09-24T05:23:08.774" v="1586"/>
          <ac:inkMkLst>
            <pc:docMk/>
            <pc:sldMk cId="302558819" sldId="281"/>
            <ac:inkMk id="68" creationId="{C4BAC2DB-1885-B87E-1F7E-3EEF74DDE6F5}"/>
          </ac:inkMkLst>
        </pc:inkChg>
        <pc:inkChg chg="del mod">
          <ac:chgData name="Aniket Chhabra" userId="598e0514-bef3-4e71-b6aa-f2edd6441cff" providerId="ADAL" clId="{A0F7D543-B727-034C-88B5-8F838AD07213}" dt="2022-08-27T07:20:58.130" v="349"/>
          <ac:inkMkLst>
            <pc:docMk/>
            <pc:sldMk cId="302558819" sldId="281"/>
            <ac:inkMk id="69" creationId="{4B6E646A-FC6E-8B54-1AE4-069C237B7F9F}"/>
          </ac:inkMkLst>
        </pc:inkChg>
        <pc:inkChg chg="add mod">
          <ac:chgData name="Aniket Chhabra" userId="598e0514-bef3-4e71-b6aa-f2edd6441cff" providerId="ADAL" clId="{A0F7D543-B727-034C-88B5-8F838AD07213}" dt="2022-09-24T05:23:08.774" v="1586"/>
          <ac:inkMkLst>
            <pc:docMk/>
            <pc:sldMk cId="302558819" sldId="281"/>
            <ac:inkMk id="69" creationId="{ABDF125E-FC83-6088-B05D-2544D6E087D8}"/>
          </ac:inkMkLst>
        </pc:inkChg>
        <pc:inkChg chg="del mod">
          <ac:chgData name="Aniket Chhabra" userId="598e0514-bef3-4e71-b6aa-f2edd6441cff" providerId="ADAL" clId="{A0F7D543-B727-034C-88B5-8F838AD07213}" dt="2022-08-27T07:20:58.131" v="351"/>
          <ac:inkMkLst>
            <pc:docMk/>
            <pc:sldMk cId="302558819" sldId="281"/>
            <ac:inkMk id="70" creationId="{5A6EBEEC-1C75-DA14-9B22-86CEBE0E9C41}"/>
          </ac:inkMkLst>
        </pc:inkChg>
        <pc:inkChg chg="add del mod">
          <ac:chgData name="Aniket Chhabra" userId="598e0514-bef3-4e71-b6aa-f2edd6441cff" providerId="ADAL" clId="{A0F7D543-B727-034C-88B5-8F838AD07213}" dt="2022-09-24T05:23:08.771" v="1579"/>
          <ac:inkMkLst>
            <pc:docMk/>
            <pc:sldMk cId="302558819" sldId="281"/>
            <ac:inkMk id="71" creationId="{6DF9805A-6BD7-B68C-0FC5-4902AD4F916B}"/>
          </ac:inkMkLst>
        </pc:inkChg>
        <pc:inkChg chg="del mod">
          <ac:chgData name="Aniket Chhabra" userId="598e0514-bef3-4e71-b6aa-f2edd6441cff" providerId="ADAL" clId="{A0F7D543-B727-034C-88B5-8F838AD07213}" dt="2022-08-27T07:20:58.123" v="311"/>
          <ac:inkMkLst>
            <pc:docMk/>
            <pc:sldMk cId="302558819" sldId="281"/>
            <ac:inkMk id="71" creationId="{77AFE760-1666-0C4B-F312-A1E9B7587E7D}"/>
          </ac:inkMkLst>
        </pc:inkChg>
        <pc:inkChg chg="add del mod">
          <ac:chgData name="Aniket Chhabra" userId="598e0514-bef3-4e71-b6aa-f2edd6441cff" providerId="ADAL" clId="{A0F7D543-B727-034C-88B5-8F838AD07213}" dt="2022-09-24T05:23:08.774" v="1586"/>
          <ac:inkMkLst>
            <pc:docMk/>
            <pc:sldMk cId="302558819" sldId="281"/>
            <ac:inkMk id="72" creationId="{CB0E9324-30C0-FECE-68FA-A5A8327ED5E9}"/>
          </ac:inkMkLst>
        </pc:inkChg>
        <pc:inkChg chg="del mod">
          <ac:chgData name="Aniket Chhabra" userId="598e0514-bef3-4e71-b6aa-f2edd6441cff" providerId="ADAL" clId="{A0F7D543-B727-034C-88B5-8F838AD07213}" dt="2022-08-27T07:20:58.126" v="330"/>
          <ac:inkMkLst>
            <pc:docMk/>
            <pc:sldMk cId="302558819" sldId="281"/>
            <ac:inkMk id="72" creationId="{D680D6FE-AE47-93B9-D869-083F9A3E6002}"/>
          </ac:inkMkLst>
        </pc:inkChg>
        <pc:inkChg chg="add del mod">
          <ac:chgData name="Aniket Chhabra" userId="598e0514-bef3-4e71-b6aa-f2edd6441cff" providerId="ADAL" clId="{A0F7D543-B727-034C-88B5-8F838AD07213}" dt="2022-09-24T05:23:08.768" v="1569"/>
          <ac:inkMkLst>
            <pc:docMk/>
            <pc:sldMk cId="302558819" sldId="281"/>
            <ac:inkMk id="73" creationId="{2E25118C-4713-A646-96D7-A20FE8663714}"/>
          </ac:inkMkLst>
        </pc:inkChg>
        <pc:inkChg chg="add del">
          <ac:chgData name="Aniket Chhabra" userId="598e0514-bef3-4e71-b6aa-f2edd6441cff" providerId="ADAL" clId="{A0F7D543-B727-034C-88B5-8F838AD07213}" dt="2022-08-27T07:21:58.898" v="360"/>
          <ac:inkMkLst>
            <pc:docMk/>
            <pc:sldMk cId="302558819" sldId="281"/>
            <ac:inkMk id="73" creationId="{7E1B2F43-F09A-D8CE-6123-B5C993356242}"/>
          </ac:inkMkLst>
        </pc:inkChg>
        <pc:inkChg chg="add del">
          <ac:chgData name="Aniket Chhabra" userId="598e0514-bef3-4e71-b6aa-f2edd6441cff" providerId="ADAL" clId="{A0F7D543-B727-034C-88B5-8F838AD07213}" dt="2022-09-10T08:13:36.050" v="537"/>
          <ac:inkMkLst>
            <pc:docMk/>
            <pc:sldMk cId="302558819" sldId="281"/>
            <ac:inkMk id="74" creationId="{DE5B42D2-3949-4DCF-DD5A-C2B8D9B8AB3B}"/>
          </ac:inkMkLst>
        </pc:inkChg>
        <pc:inkChg chg="add del mod">
          <ac:chgData name="Aniket Chhabra" userId="598e0514-bef3-4e71-b6aa-f2edd6441cff" providerId="ADAL" clId="{A0F7D543-B727-034C-88B5-8F838AD07213}" dt="2022-09-24T05:23:08.774" v="1586"/>
          <ac:inkMkLst>
            <pc:docMk/>
            <pc:sldMk cId="302558819" sldId="281"/>
            <ac:inkMk id="75" creationId="{57171836-F300-E2B8-121E-A140415A58A4}"/>
          </ac:inkMkLst>
        </pc:inkChg>
        <pc:inkChg chg="del mod">
          <ac:chgData name="Aniket Chhabra" userId="598e0514-bef3-4e71-b6aa-f2edd6441cff" providerId="ADAL" clId="{A0F7D543-B727-034C-88B5-8F838AD07213}" dt="2022-08-27T07:20:58.119" v="295"/>
          <ac:inkMkLst>
            <pc:docMk/>
            <pc:sldMk cId="302558819" sldId="281"/>
            <ac:inkMk id="75" creationId="{76340483-2EB9-2763-1E2A-B1EECE0B24AB}"/>
          </ac:inkMkLst>
        </pc:inkChg>
        <pc:inkChg chg="add del mod">
          <ac:chgData name="Aniket Chhabra" userId="598e0514-bef3-4e71-b6aa-f2edd6441cff" providerId="ADAL" clId="{A0F7D543-B727-034C-88B5-8F838AD07213}" dt="2022-09-24T05:23:08.768" v="1570"/>
          <ac:inkMkLst>
            <pc:docMk/>
            <pc:sldMk cId="302558819" sldId="281"/>
            <ac:inkMk id="76" creationId="{88378983-E8B1-D4B7-1008-08D3D42AFA9D}"/>
          </ac:inkMkLst>
        </pc:inkChg>
        <pc:inkChg chg="add del">
          <ac:chgData name="Aniket Chhabra" userId="598e0514-bef3-4e71-b6aa-f2edd6441cff" providerId="ADAL" clId="{A0F7D543-B727-034C-88B5-8F838AD07213}" dt="2022-09-10T08:13:36.049" v="533"/>
          <ac:inkMkLst>
            <pc:docMk/>
            <pc:sldMk cId="302558819" sldId="281"/>
            <ac:inkMk id="77" creationId="{FCA3FCFE-300B-0266-1842-E77AEF95B85E}"/>
          </ac:inkMkLst>
        </pc:inkChg>
        <pc:inkChg chg="add del mod">
          <ac:chgData name="Aniket Chhabra" userId="598e0514-bef3-4e71-b6aa-f2edd6441cff" providerId="ADAL" clId="{A0F7D543-B727-034C-88B5-8F838AD07213}" dt="2022-09-10T08:13:36.043" v="499"/>
          <ac:inkMkLst>
            <pc:docMk/>
            <pc:sldMk cId="302558819" sldId="281"/>
            <ac:inkMk id="78" creationId="{94C029F8-542B-3038-5C16-DC8F773FB3C0}"/>
          </ac:inkMkLst>
        </pc:inkChg>
        <pc:inkChg chg="add del mod">
          <ac:chgData name="Aniket Chhabra" userId="598e0514-bef3-4e71-b6aa-f2edd6441cff" providerId="ADAL" clId="{A0F7D543-B727-034C-88B5-8F838AD07213}" dt="2022-09-10T08:13:36.043" v="502"/>
          <ac:inkMkLst>
            <pc:docMk/>
            <pc:sldMk cId="302558819" sldId="281"/>
            <ac:inkMk id="79" creationId="{79FD754F-6D14-D487-DFF9-5E20FC46CB54}"/>
          </ac:inkMkLst>
        </pc:inkChg>
        <pc:inkChg chg="add del mod">
          <ac:chgData name="Aniket Chhabra" userId="598e0514-bef3-4e71-b6aa-f2edd6441cff" providerId="ADAL" clId="{A0F7D543-B727-034C-88B5-8F838AD07213}" dt="2022-09-10T08:13:36.050" v="538"/>
          <ac:inkMkLst>
            <pc:docMk/>
            <pc:sldMk cId="302558819" sldId="281"/>
            <ac:inkMk id="80" creationId="{7BBC6700-D235-80AB-0BFF-41A7CE0E1A3A}"/>
          </ac:inkMkLst>
        </pc:inkChg>
        <pc:inkChg chg="add del mod">
          <ac:chgData name="Aniket Chhabra" userId="598e0514-bef3-4e71-b6aa-f2edd6441cff" providerId="ADAL" clId="{A0F7D543-B727-034C-88B5-8F838AD07213}" dt="2022-09-10T08:13:36.046" v="512"/>
          <ac:inkMkLst>
            <pc:docMk/>
            <pc:sldMk cId="302558819" sldId="281"/>
            <ac:inkMk id="81" creationId="{6754A648-2762-9367-F110-E1C7C9FC9DA7}"/>
          </ac:inkMkLst>
        </pc:inkChg>
        <pc:inkChg chg="add del mod">
          <ac:chgData name="Aniket Chhabra" userId="598e0514-bef3-4e71-b6aa-f2edd6441cff" providerId="ADAL" clId="{A0F7D543-B727-034C-88B5-8F838AD07213}" dt="2022-09-10T08:13:36.048" v="527"/>
          <ac:inkMkLst>
            <pc:docMk/>
            <pc:sldMk cId="302558819" sldId="281"/>
            <ac:inkMk id="82" creationId="{BD93E34B-5F7C-6D57-3575-DD4BC21C5B63}"/>
          </ac:inkMkLst>
        </pc:inkChg>
        <pc:inkChg chg="add del mod">
          <ac:chgData name="Aniket Chhabra" userId="598e0514-bef3-4e71-b6aa-f2edd6441cff" providerId="ADAL" clId="{A0F7D543-B727-034C-88B5-8F838AD07213}" dt="2022-09-24T05:23:08.773" v="1583"/>
          <ac:inkMkLst>
            <pc:docMk/>
            <pc:sldMk cId="302558819" sldId="281"/>
            <ac:inkMk id="83" creationId="{2922F6B8-E49B-1031-B713-A2AC6029628A}"/>
          </ac:inkMkLst>
        </pc:inkChg>
        <pc:inkChg chg="add del mod">
          <ac:chgData name="Aniket Chhabra" userId="598e0514-bef3-4e71-b6aa-f2edd6441cff" providerId="ADAL" clId="{A0F7D543-B727-034C-88B5-8F838AD07213}" dt="2022-09-10T08:13:36.044" v="504"/>
          <ac:inkMkLst>
            <pc:docMk/>
            <pc:sldMk cId="302558819" sldId="281"/>
            <ac:inkMk id="84" creationId="{2D8CA0DB-9349-CCA1-BEED-39AFB22B4FB1}"/>
          </ac:inkMkLst>
        </pc:inkChg>
        <pc:inkChg chg="add del mod">
          <ac:chgData name="Aniket Chhabra" userId="598e0514-bef3-4e71-b6aa-f2edd6441cff" providerId="ADAL" clId="{A0F7D543-B727-034C-88B5-8F838AD07213}" dt="2022-09-10T08:13:36.044" v="503"/>
          <ac:inkMkLst>
            <pc:docMk/>
            <pc:sldMk cId="302558819" sldId="281"/>
            <ac:inkMk id="85" creationId="{C1DCE765-DF68-E1CD-3067-E8AB1D33710B}"/>
          </ac:inkMkLst>
        </pc:inkChg>
        <pc:inkChg chg="add del mod">
          <ac:chgData name="Aniket Chhabra" userId="598e0514-bef3-4e71-b6aa-f2edd6441cff" providerId="ADAL" clId="{A0F7D543-B727-034C-88B5-8F838AD07213}" dt="2022-09-10T08:13:36.045" v="511"/>
          <ac:inkMkLst>
            <pc:docMk/>
            <pc:sldMk cId="302558819" sldId="281"/>
            <ac:inkMk id="86" creationId="{48CCFC42-6F19-8316-8B7C-A97C140A425F}"/>
          </ac:inkMkLst>
        </pc:inkChg>
        <pc:inkChg chg="add del mod">
          <ac:chgData name="Aniket Chhabra" userId="598e0514-bef3-4e71-b6aa-f2edd6441cff" providerId="ADAL" clId="{A0F7D543-B727-034C-88B5-8F838AD07213}" dt="2022-09-10T08:13:36.046" v="516"/>
          <ac:inkMkLst>
            <pc:docMk/>
            <pc:sldMk cId="302558819" sldId="281"/>
            <ac:inkMk id="87" creationId="{A211398E-F0AA-C1E6-EB6F-DEC2F44EF7E1}"/>
          </ac:inkMkLst>
        </pc:inkChg>
        <pc:inkChg chg="add del mod">
          <ac:chgData name="Aniket Chhabra" userId="598e0514-bef3-4e71-b6aa-f2edd6441cff" providerId="ADAL" clId="{A0F7D543-B727-034C-88B5-8F838AD07213}" dt="2022-09-24T05:23:08.772" v="1582"/>
          <ac:inkMkLst>
            <pc:docMk/>
            <pc:sldMk cId="302558819" sldId="281"/>
            <ac:inkMk id="88" creationId="{1291D9F4-FFFA-D426-8920-68BD10753154}"/>
          </ac:inkMkLst>
        </pc:inkChg>
        <pc:inkChg chg="add del mod">
          <ac:chgData name="Aniket Chhabra" userId="598e0514-bef3-4e71-b6aa-f2edd6441cff" providerId="ADAL" clId="{A0F7D543-B727-034C-88B5-8F838AD07213}" dt="2022-09-10T08:13:36.046" v="514"/>
          <ac:inkMkLst>
            <pc:docMk/>
            <pc:sldMk cId="302558819" sldId="281"/>
            <ac:inkMk id="89" creationId="{4A353DD7-543B-F8D9-38D4-2A5982560CF5}"/>
          </ac:inkMkLst>
        </pc:inkChg>
        <pc:inkChg chg="add del mod">
          <ac:chgData name="Aniket Chhabra" userId="598e0514-bef3-4e71-b6aa-f2edd6441cff" providerId="ADAL" clId="{A0F7D543-B727-034C-88B5-8F838AD07213}" dt="2022-09-10T08:13:36.047" v="520"/>
          <ac:inkMkLst>
            <pc:docMk/>
            <pc:sldMk cId="302558819" sldId="281"/>
            <ac:inkMk id="90" creationId="{9F77B1EA-5F22-C0DF-9292-B57ECDC05F73}"/>
          </ac:inkMkLst>
        </pc:inkChg>
        <pc:inkChg chg="add del mod">
          <ac:chgData name="Aniket Chhabra" userId="598e0514-bef3-4e71-b6aa-f2edd6441cff" providerId="ADAL" clId="{A0F7D543-B727-034C-88B5-8F838AD07213}" dt="2022-09-10T08:13:36.047" v="519"/>
          <ac:inkMkLst>
            <pc:docMk/>
            <pc:sldMk cId="302558819" sldId="281"/>
            <ac:inkMk id="91" creationId="{ABA5AC27-54B0-3841-625E-B7A8AC7D4344}"/>
          </ac:inkMkLst>
        </pc:inkChg>
        <pc:inkChg chg="add del mod">
          <ac:chgData name="Aniket Chhabra" userId="598e0514-bef3-4e71-b6aa-f2edd6441cff" providerId="ADAL" clId="{A0F7D543-B727-034C-88B5-8F838AD07213}" dt="2022-09-24T05:23:08.770" v="1576"/>
          <ac:inkMkLst>
            <pc:docMk/>
            <pc:sldMk cId="302558819" sldId="281"/>
            <ac:inkMk id="92" creationId="{924F16E2-F0C3-DEBD-564A-6A7C881FA649}"/>
          </ac:inkMkLst>
        </pc:inkChg>
        <pc:inkChg chg="add del mod">
          <ac:chgData name="Aniket Chhabra" userId="598e0514-bef3-4e71-b6aa-f2edd6441cff" providerId="ADAL" clId="{A0F7D543-B727-034C-88B5-8F838AD07213}" dt="2022-09-10T08:13:36.051" v="543"/>
          <ac:inkMkLst>
            <pc:docMk/>
            <pc:sldMk cId="302558819" sldId="281"/>
            <ac:inkMk id="93" creationId="{D3D3F6B2-EBC0-B4D6-CA15-27891F95CD7A}"/>
          </ac:inkMkLst>
        </pc:inkChg>
        <pc:inkChg chg="add del mod">
          <ac:chgData name="Aniket Chhabra" userId="598e0514-bef3-4e71-b6aa-f2edd6441cff" providerId="ADAL" clId="{A0F7D543-B727-034C-88B5-8F838AD07213}" dt="2022-09-10T08:13:36.045" v="510"/>
          <ac:inkMkLst>
            <pc:docMk/>
            <pc:sldMk cId="302558819" sldId="281"/>
            <ac:inkMk id="95" creationId="{FEC9C502-9196-C147-2113-4BD433138F7C}"/>
          </ac:inkMkLst>
        </pc:inkChg>
        <pc:inkChg chg="add del mod">
          <ac:chgData name="Aniket Chhabra" userId="598e0514-bef3-4e71-b6aa-f2edd6441cff" providerId="ADAL" clId="{A0F7D543-B727-034C-88B5-8F838AD07213}" dt="2022-09-10T08:13:36.048" v="523"/>
          <ac:inkMkLst>
            <pc:docMk/>
            <pc:sldMk cId="302558819" sldId="281"/>
            <ac:inkMk id="96" creationId="{F6FEED9E-A0AB-8EAF-8D8B-BE16525BFC9F}"/>
          </ac:inkMkLst>
        </pc:inkChg>
        <pc:inkChg chg="add del mod">
          <ac:chgData name="Aniket Chhabra" userId="598e0514-bef3-4e71-b6aa-f2edd6441cff" providerId="ADAL" clId="{A0F7D543-B727-034C-88B5-8F838AD07213}" dt="2022-09-10T08:13:36.042" v="495"/>
          <ac:inkMkLst>
            <pc:docMk/>
            <pc:sldMk cId="302558819" sldId="281"/>
            <ac:inkMk id="97" creationId="{BF6C65EB-DF85-5C67-5C30-7E64E1E7BAE0}"/>
          </ac:inkMkLst>
        </pc:inkChg>
        <pc:inkChg chg="add del mod">
          <ac:chgData name="Aniket Chhabra" userId="598e0514-bef3-4e71-b6aa-f2edd6441cff" providerId="ADAL" clId="{A0F7D543-B727-034C-88B5-8F838AD07213}" dt="2022-09-10T08:13:36.047" v="517"/>
          <ac:inkMkLst>
            <pc:docMk/>
            <pc:sldMk cId="302558819" sldId="281"/>
            <ac:inkMk id="98" creationId="{60A7CA97-9E71-845D-6CA7-A0F21EBE0929}"/>
          </ac:inkMkLst>
        </pc:inkChg>
        <pc:inkChg chg="add del mod">
          <ac:chgData name="Aniket Chhabra" userId="598e0514-bef3-4e71-b6aa-f2edd6441cff" providerId="ADAL" clId="{A0F7D543-B727-034C-88B5-8F838AD07213}" dt="2022-09-10T08:13:36.042" v="494"/>
          <ac:inkMkLst>
            <pc:docMk/>
            <pc:sldMk cId="302558819" sldId="281"/>
            <ac:inkMk id="99" creationId="{4A9174D5-23EB-8217-AC07-EFC58F0658C5}"/>
          </ac:inkMkLst>
        </pc:inkChg>
        <pc:inkChg chg="add del mod">
          <ac:chgData name="Aniket Chhabra" userId="598e0514-bef3-4e71-b6aa-f2edd6441cff" providerId="ADAL" clId="{A0F7D543-B727-034C-88B5-8F838AD07213}" dt="2022-09-10T08:13:36.045" v="509"/>
          <ac:inkMkLst>
            <pc:docMk/>
            <pc:sldMk cId="302558819" sldId="281"/>
            <ac:inkMk id="100" creationId="{FFDD34FF-22C2-7775-A742-BAE5275F0759}"/>
          </ac:inkMkLst>
        </pc:inkChg>
        <pc:inkChg chg="add del mod">
          <ac:chgData name="Aniket Chhabra" userId="598e0514-bef3-4e71-b6aa-f2edd6441cff" providerId="ADAL" clId="{A0F7D543-B727-034C-88B5-8F838AD07213}" dt="2022-09-10T08:13:36.045" v="508"/>
          <ac:inkMkLst>
            <pc:docMk/>
            <pc:sldMk cId="302558819" sldId="281"/>
            <ac:inkMk id="101" creationId="{FA17AFE1-9AF7-C72A-EC58-34FA11473DB2}"/>
          </ac:inkMkLst>
        </pc:inkChg>
        <pc:inkChg chg="add del mod">
          <ac:chgData name="Aniket Chhabra" userId="598e0514-bef3-4e71-b6aa-f2edd6441cff" providerId="ADAL" clId="{A0F7D543-B727-034C-88B5-8F838AD07213}" dt="2022-09-10T08:13:36.046" v="515"/>
          <ac:inkMkLst>
            <pc:docMk/>
            <pc:sldMk cId="302558819" sldId="281"/>
            <ac:inkMk id="102" creationId="{F8E77EBB-396D-B2A8-4346-457F56DA9443}"/>
          </ac:inkMkLst>
        </pc:inkChg>
        <pc:inkChg chg="add del mod">
          <ac:chgData name="Aniket Chhabra" userId="598e0514-bef3-4e71-b6aa-f2edd6441cff" providerId="ADAL" clId="{A0F7D543-B727-034C-88B5-8F838AD07213}" dt="2022-09-10T08:13:36.045" v="507"/>
          <ac:inkMkLst>
            <pc:docMk/>
            <pc:sldMk cId="302558819" sldId="281"/>
            <ac:inkMk id="103" creationId="{39EAE82D-110D-0F2C-6A5B-62840134A7DE}"/>
          </ac:inkMkLst>
        </pc:inkChg>
        <pc:inkChg chg="add del mod">
          <ac:chgData name="Aniket Chhabra" userId="598e0514-bef3-4e71-b6aa-f2edd6441cff" providerId="ADAL" clId="{A0F7D543-B727-034C-88B5-8F838AD07213}" dt="2022-09-10T08:13:36.050" v="539"/>
          <ac:inkMkLst>
            <pc:docMk/>
            <pc:sldMk cId="302558819" sldId="281"/>
            <ac:inkMk id="104" creationId="{4DF751C6-4B83-0BC3-6648-2526DBDAF5FA}"/>
          </ac:inkMkLst>
        </pc:inkChg>
        <pc:inkChg chg="add del mod">
          <ac:chgData name="Aniket Chhabra" userId="598e0514-bef3-4e71-b6aa-f2edd6441cff" providerId="ADAL" clId="{A0F7D543-B727-034C-88B5-8F838AD07213}" dt="2022-09-10T08:13:36.043" v="501"/>
          <ac:inkMkLst>
            <pc:docMk/>
            <pc:sldMk cId="302558819" sldId="281"/>
            <ac:inkMk id="105" creationId="{48D4B622-8FCE-8310-81C8-4B8503A2E8D6}"/>
          </ac:inkMkLst>
        </pc:inkChg>
        <pc:inkChg chg="add del mod">
          <ac:chgData name="Aniket Chhabra" userId="598e0514-bef3-4e71-b6aa-f2edd6441cff" providerId="ADAL" clId="{A0F7D543-B727-034C-88B5-8F838AD07213}" dt="2022-09-10T08:13:36.048" v="524"/>
          <ac:inkMkLst>
            <pc:docMk/>
            <pc:sldMk cId="302558819" sldId="281"/>
            <ac:inkMk id="106" creationId="{E098DCBB-BE3B-8C16-7506-A96B4CE509AC}"/>
          </ac:inkMkLst>
        </pc:inkChg>
        <pc:inkChg chg="add del mod">
          <ac:chgData name="Aniket Chhabra" userId="598e0514-bef3-4e71-b6aa-f2edd6441cff" providerId="ADAL" clId="{A0F7D543-B727-034C-88B5-8F838AD07213}" dt="2022-09-10T08:13:36.044" v="506"/>
          <ac:inkMkLst>
            <pc:docMk/>
            <pc:sldMk cId="302558819" sldId="281"/>
            <ac:inkMk id="107" creationId="{B6E736FB-7C86-00B3-8431-472B25FDEBEB}"/>
          </ac:inkMkLst>
        </pc:inkChg>
        <pc:inkChg chg="add del mod">
          <ac:chgData name="Aniket Chhabra" userId="598e0514-bef3-4e71-b6aa-f2edd6441cff" providerId="ADAL" clId="{A0F7D543-B727-034C-88B5-8F838AD07213}" dt="2022-09-24T05:23:08.770" v="1574"/>
          <ac:inkMkLst>
            <pc:docMk/>
            <pc:sldMk cId="302558819" sldId="281"/>
            <ac:inkMk id="108" creationId="{2E536B68-8174-F86A-5053-24D4E5F01360}"/>
          </ac:inkMkLst>
        </pc:inkChg>
        <pc:inkChg chg="add del mod">
          <ac:chgData name="Aniket Chhabra" userId="598e0514-bef3-4e71-b6aa-f2edd6441cff" providerId="ADAL" clId="{A0F7D543-B727-034C-88B5-8F838AD07213}" dt="2022-09-24T05:23:08.767" v="1568"/>
          <ac:inkMkLst>
            <pc:docMk/>
            <pc:sldMk cId="302558819" sldId="281"/>
            <ac:inkMk id="109" creationId="{7FF27FA2-B564-C7F6-BD00-10C9CDA718AF}"/>
          </ac:inkMkLst>
        </pc:inkChg>
        <pc:inkChg chg="add del mod">
          <ac:chgData name="Aniket Chhabra" userId="598e0514-bef3-4e71-b6aa-f2edd6441cff" providerId="ADAL" clId="{A0F7D543-B727-034C-88B5-8F838AD07213}" dt="2022-09-10T08:13:36.051" v="540"/>
          <ac:inkMkLst>
            <pc:docMk/>
            <pc:sldMk cId="302558819" sldId="281"/>
            <ac:inkMk id="110" creationId="{1A7C8CCB-457E-7634-08B9-355F4E514FEC}"/>
          </ac:inkMkLst>
        </pc:inkChg>
        <pc:inkChg chg="add del mod">
          <ac:chgData name="Aniket Chhabra" userId="598e0514-bef3-4e71-b6aa-f2edd6441cff" providerId="ADAL" clId="{A0F7D543-B727-034C-88B5-8F838AD07213}" dt="2022-09-10T08:13:36.048" v="522"/>
          <ac:inkMkLst>
            <pc:docMk/>
            <pc:sldMk cId="302558819" sldId="281"/>
            <ac:inkMk id="112" creationId="{B160289F-B1A3-F3D3-F6CC-6C33C5FA7183}"/>
          </ac:inkMkLst>
        </pc:inkChg>
        <pc:inkChg chg="add del mod">
          <ac:chgData name="Aniket Chhabra" userId="598e0514-bef3-4e71-b6aa-f2edd6441cff" providerId="ADAL" clId="{A0F7D543-B727-034C-88B5-8F838AD07213}" dt="2022-09-10T08:13:36.043" v="498"/>
          <ac:inkMkLst>
            <pc:docMk/>
            <pc:sldMk cId="302558819" sldId="281"/>
            <ac:inkMk id="113" creationId="{591789B2-36C8-6B2C-A179-80290F564E4F}"/>
          </ac:inkMkLst>
        </pc:inkChg>
        <pc:inkChg chg="add mod">
          <ac:chgData name="Aniket Chhabra" userId="598e0514-bef3-4e71-b6aa-f2edd6441cff" providerId="ADAL" clId="{A0F7D543-B727-034C-88B5-8F838AD07213}" dt="2022-09-10T08:13:36.051" v="542"/>
          <ac:inkMkLst>
            <pc:docMk/>
            <pc:sldMk cId="302558819" sldId="281"/>
            <ac:inkMk id="114" creationId="{BB53E4AA-11AC-3DAE-F23A-2B721D01BB86}"/>
          </ac:inkMkLst>
        </pc:inkChg>
        <pc:inkChg chg="add del mod">
          <ac:chgData name="Aniket Chhabra" userId="598e0514-bef3-4e71-b6aa-f2edd6441cff" providerId="ADAL" clId="{A0F7D543-B727-034C-88B5-8F838AD07213}" dt="2022-09-10T08:13:36.049" v="532"/>
          <ac:inkMkLst>
            <pc:docMk/>
            <pc:sldMk cId="302558819" sldId="281"/>
            <ac:inkMk id="115" creationId="{07E4362B-F76E-D198-005A-581A56B01D34}"/>
          </ac:inkMkLst>
        </pc:inkChg>
        <pc:inkChg chg="add del mod">
          <ac:chgData name="Aniket Chhabra" userId="598e0514-bef3-4e71-b6aa-f2edd6441cff" providerId="ADAL" clId="{A0F7D543-B727-034C-88B5-8F838AD07213}" dt="2022-09-10T08:13:36.047" v="521"/>
          <ac:inkMkLst>
            <pc:docMk/>
            <pc:sldMk cId="302558819" sldId="281"/>
            <ac:inkMk id="116" creationId="{A180CAD3-5E00-4EC1-E128-87E45B30B664}"/>
          </ac:inkMkLst>
        </pc:inkChg>
        <pc:inkChg chg="add del mod">
          <ac:chgData name="Aniket Chhabra" userId="598e0514-bef3-4e71-b6aa-f2edd6441cff" providerId="ADAL" clId="{A0F7D543-B727-034C-88B5-8F838AD07213}" dt="2022-09-10T08:13:36.049" v="531"/>
          <ac:inkMkLst>
            <pc:docMk/>
            <pc:sldMk cId="302558819" sldId="281"/>
            <ac:inkMk id="117" creationId="{76C378DD-431C-68D1-66A4-0B06761990CA}"/>
          </ac:inkMkLst>
        </pc:inkChg>
        <pc:inkChg chg="add del mod">
          <ac:chgData name="Aniket Chhabra" userId="598e0514-bef3-4e71-b6aa-f2edd6441cff" providerId="ADAL" clId="{A0F7D543-B727-034C-88B5-8F838AD07213}" dt="2022-09-10T08:13:36.050" v="534"/>
          <ac:inkMkLst>
            <pc:docMk/>
            <pc:sldMk cId="302558819" sldId="281"/>
            <ac:inkMk id="118" creationId="{B8C0CCE7-0133-B84A-D03D-61FA843A3206}"/>
          </ac:inkMkLst>
        </pc:inkChg>
        <pc:inkChg chg="add del mod">
          <ac:chgData name="Aniket Chhabra" userId="598e0514-bef3-4e71-b6aa-f2edd6441cff" providerId="ADAL" clId="{A0F7D543-B727-034C-88B5-8F838AD07213}" dt="2022-09-10T08:13:36.039" v="491"/>
          <ac:inkMkLst>
            <pc:docMk/>
            <pc:sldMk cId="302558819" sldId="281"/>
            <ac:inkMk id="119" creationId="{698789B0-689A-9391-D28D-A0B7E0A0E614}"/>
          </ac:inkMkLst>
        </pc:inkChg>
        <pc:inkChg chg="add del mod">
          <ac:chgData name="Aniket Chhabra" userId="598e0514-bef3-4e71-b6aa-f2edd6441cff" providerId="ADAL" clId="{A0F7D543-B727-034C-88B5-8F838AD07213}" dt="2022-09-10T08:13:36.046" v="513"/>
          <ac:inkMkLst>
            <pc:docMk/>
            <pc:sldMk cId="302558819" sldId="281"/>
            <ac:inkMk id="120" creationId="{EAD5B8CF-9EF2-E7BF-247C-F0F50E72C7AD}"/>
          </ac:inkMkLst>
        </pc:inkChg>
        <pc:inkChg chg="add del mod">
          <ac:chgData name="Aniket Chhabra" userId="598e0514-bef3-4e71-b6aa-f2edd6441cff" providerId="ADAL" clId="{A0F7D543-B727-034C-88B5-8F838AD07213}" dt="2022-09-10T08:13:36.044" v="505"/>
          <ac:inkMkLst>
            <pc:docMk/>
            <pc:sldMk cId="302558819" sldId="281"/>
            <ac:inkMk id="121" creationId="{37A4694F-E7CA-2309-63A4-ACDCDFF966D0}"/>
          </ac:inkMkLst>
        </pc:inkChg>
        <pc:inkChg chg="add del mod">
          <ac:chgData name="Aniket Chhabra" userId="598e0514-bef3-4e71-b6aa-f2edd6441cff" providerId="ADAL" clId="{A0F7D543-B727-034C-88B5-8F838AD07213}" dt="2022-09-10T08:13:36.050" v="536"/>
          <ac:inkMkLst>
            <pc:docMk/>
            <pc:sldMk cId="302558819" sldId="281"/>
            <ac:inkMk id="122" creationId="{1030852B-CB7E-B970-05D3-0F54D85A05F4}"/>
          </ac:inkMkLst>
        </pc:inkChg>
        <pc:inkChg chg="add del mod">
          <ac:chgData name="Aniket Chhabra" userId="598e0514-bef3-4e71-b6aa-f2edd6441cff" providerId="ADAL" clId="{A0F7D543-B727-034C-88B5-8F838AD07213}" dt="2022-09-10T08:13:36.051" v="541"/>
          <ac:inkMkLst>
            <pc:docMk/>
            <pc:sldMk cId="302558819" sldId="281"/>
            <ac:inkMk id="123" creationId="{85E35742-A384-5505-0B61-6D86E1345612}"/>
          </ac:inkMkLst>
        </pc:inkChg>
        <pc:inkChg chg="add del mod">
          <ac:chgData name="Aniket Chhabra" userId="598e0514-bef3-4e71-b6aa-f2edd6441cff" providerId="ADAL" clId="{A0F7D543-B727-034C-88B5-8F838AD07213}" dt="2022-09-10T08:13:36.050" v="535"/>
          <ac:inkMkLst>
            <pc:docMk/>
            <pc:sldMk cId="302558819" sldId="281"/>
            <ac:inkMk id="125" creationId="{EF7E7FA8-D4E0-8D9D-55AB-32BE94D26262}"/>
          </ac:inkMkLst>
        </pc:inkChg>
        <pc:inkChg chg="add del mod">
          <ac:chgData name="Aniket Chhabra" userId="598e0514-bef3-4e71-b6aa-f2edd6441cff" providerId="ADAL" clId="{A0F7D543-B727-034C-88B5-8F838AD07213}" dt="2022-09-10T08:13:36.049" v="530"/>
          <ac:inkMkLst>
            <pc:docMk/>
            <pc:sldMk cId="302558819" sldId="281"/>
            <ac:inkMk id="126" creationId="{3C8E18A8-785C-3016-6379-23C6FC9B9C69}"/>
          </ac:inkMkLst>
        </pc:inkChg>
        <pc:inkChg chg="add del mod">
          <ac:chgData name="Aniket Chhabra" userId="598e0514-bef3-4e71-b6aa-f2edd6441cff" providerId="ADAL" clId="{A0F7D543-B727-034C-88B5-8F838AD07213}" dt="2022-09-10T08:13:36.041" v="492"/>
          <ac:inkMkLst>
            <pc:docMk/>
            <pc:sldMk cId="302558819" sldId="281"/>
            <ac:inkMk id="127" creationId="{EE13E1CF-4E9E-E7F6-44EA-BF1F68B11897}"/>
          </ac:inkMkLst>
        </pc:inkChg>
        <pc:inkChg chg="add del mod">
          <ac:chgData name="Aniket Chhabra" userId="598e0514-bef3-4e71-b6aa-f2edd6441cff" providerId="ADAL" clId="{A0F7D543-B727-034C-88B5-8F838AD07213}" dt="2022-09-10T08:13:36.042" v="497"/>
          <ac:inkMkLst>
            <pc:docMk/>
            <pc:sldMk cId="302558819" sldId="281"/>
            <ac:inkMk id="128" creationId="{8015F9A3-961D-25AF-F11F-D2B822A6817C}"/>
          </ac:inkMkLst>
        </pc:inkChg>
        <pc:inkChg chg="add del mod">
          <ac:chgData name="Aniket Chhabra" userId="598e0514-bef3-4e71-b6aa-f2edd6441cff" providerId="ADAL" clId="{A0F7D543-B727-034C-88B5-8F838AD07213}" dt="2022-09-10T08:13:36.051" v="542"/>
          <ac:inkMkLst>
            <pc:docMk/>
            <pc:sldMk cId="302558819" sldId="281"/>
            <ac:inkMk id="129" creationId="{8E851DA8-A944-38A8-B13C-47562BE1461F}"/>
          </ac:inkMkLst>
        </pc:inkChg>
        <pc:inkChg chg="add del mod">
          <ac:chgData name="Aniket Chhabra" userId="598e0514-bef3-4e71-b6aa-f2edd6441cff" providerId="ADAL" clId="{A0F7D543-B727-034C-88B5-8F838AD07213}" dt="2022-09-10T08:13:36.042" v="496"/>
          <ac:inkMkLst>
            <pc:docMk/>
            <pc:sldMk cId="302558819" sldId="281"/>
            <ac:inkMk id="130" creationId="{180C3D9A-B865-E0AF-C0D2-30DFC65F30B5}"/>
          </ac:inkMkLst>
        </pc:inkChg>
        <pc:inkChg chg="add del mod">
          <ac:chgData name="Aniket Chhabra" userId="598e0514-bef3-4e71-b6aa-f2edd6441cff" providerId="ADAL" clId="{A0F7D543-B727-034C-88B5-8F838AD07213}" dt="2022-09-10T08:13:36.047" v="518"/>
          <ac:inkMkLst>
            <pc:docMk/>
            <pc:sldMk cId="302558819" sldId="281"/>
            <ac:inkMk id="131" creationId="{45FA1F6C-530C-3E1C-231D-FE2181A84103}"/>
          </ac:inkMkLst>
        </pc:inkChg>
        <pc:inkChg chg="add del mod">
          <ac:chgData name="Aniket Chhabra" userId="598e0514-bef3-4e71-b6aa-f2edd6441cff" providerId="ADAL" clId="{A0F7D543-B727-034C-88B5-8F838AD07213}" dt="2022-09-10T08:13:36.049" v="529"/>
          <ac:inkMkLst>
            <pc:docMk/>
            <pc:sldMk cId="302558819" sldId="281"/>
            <ac:inkMk id="132" creationId="{AB2B3680-098F-A741-7506-A8D6941D16EB}"/>
          </ac:inkMkLst>
        </pc:inkChg>
        <pc:inkChg chg="add del mod">
          <ac:chgData name="Aniket Chhabra" userId="598e0514-bef3-4e71-b6aa-f2edd6441cff" providerId="ADAL" clId="{A0F7D543-B727-034C-88B5-8F838AD07213}" dt="2022-09-10T08:13:36.049" v="528"/>
          <ac:inkMkLst>
            <pc:docMk/>
            <pc:sldMk cId="302558819" sldId="281"/>
            <ac:inkMk id="133" creationId="{7673BBB8-CCC8-94F4-291F-44C9B485B43D}"/>
          </ac:inkMkLst>
        </pc:inkChg>
        <pc:inkChg chg="add del mod">
          <ac:chgData name="Aniket Chhabra" userId="598e0514-bef3-4e71-b6aa-f2edd6441cff" providerId="ADAL" clId="{A0F7D543-B727-034C-88B5-8F838AD07213}" dt="2022-09-10T08:13:36.048" v="525"/>
          <ac:inkMkLst>
            <pc:docMk/>
            <pc:sldMk cId="302558819" sldId="281"/>
            <ac:inkMk id="134" creationId="{6AAFB18E-6530-46A7-FDBD-B0494935A696}"/>
          </ac:inkMkLst>
        </pc:inkChg>
        <pc:inkChg chg="add del mod">
          <ac:chgData name="Aniket Chhabra" userId="598e0514-bef3-4e71-b6aa-f2edd6441cff" providerId="ADAL" clId="{A0F7D543-B727-034C-88B5-8F838AD07213}" dt="2022-09-24T05:23:08.771" v="1578"/>
          <ac:inkMkLst>
            <pc:docMk/>
            <pc:sldMk cId="302558819" sldId="281"/>
            <ac:inkMk id="136" creationId="{022C42C4-35C0-D755-261B-AB4167570958}"/>
          </ac:inkMkLst>
        </pc:inkChg>
        <pc:inkChg chg="add del">
          <ac:chgData name="Aniket Chhabra" userId="598e0514-bef3-4e71-b6aa-f2edd6441cff" providerId="ADAL" clId="{A0F7D543-B727-034C-88B5-8F838AD07213}" dt="2022-09-24T05:23:08.774" v="1587"/>
          <ac:inkMkLst>
            <pc:docMk/>
            <pc:sldMk cId="302558819" sldId="281"/>
            <ac:inkMk id="138" creationId="{C7C33E75-9F73-5AE8-AB86-644B4F4C2C6E}"/>
          </ac:inkMkLst>
        </pc:inkChg>
        <pc:inkChg chg="add del">
          <ac:chgData name="Aniket Chhabra" userId="598e0514-bef3-4e71-b6aa-f2edd6441cff" providerId="ADAL" clId="{A0F7D543-B727-034C-88B5-8F838AD07213}" dt="2022-09-24T05:23:08.770" v="1575"/>
          <ac:inkMkLst>
            <pc:docMk/>
            <pc:sldMk cId="302558819" sldId="281"/>
            <ac:inkMk id="139" creationId="{5506E6A0-F121-D5B7-A605-4C89B92B882B}"/>
          </ac:inkMkLst>
        </pc:inkChg>
        <pc:inkChg chg="add del mod">
          <ac:chgData name="Aniket Chhabra" userId="598e0514-bef3-4e71-b6aa-f2edd6441cff" providerId="ADAL" clId="{A0F7D543-B727-034C-88B5-8F838AD07213}" dt="2022-09-24T05:23:08.769" v="1571"/>
          <ac:inkMkLst>
            <pc:docMk/>
            <pc:sldMk cId="302558819" sldId="281"/>
            <ac:inkMk id="140" creationId="{A7EB0C6F-32C8-9553-F089-6E70CCC73F85}"/>
          </ac:inkMkLst>
        </pc:inkChg>
        <pc:inkChg chg="add del mod">
          <ac:chgData name="Aniket Chhabra" userId="598e0514-bef3-4e71-b6aa-f2edd6441cff" providerId="ADAL" clId="{A0F7D543-B727-034C-88B5-8F838AD07213}" dt="2022-09-24T05:23:08.774" v="1586"/>
          <ac:inkMkLst>
            <pc:docMk/>
            <pc:sldMk cId="302558819" sldId="281"/>
            <ac:inkMk id="141" creationId="{D592F55F-3557-491D-782E-43C31561708A}"/>
          </ac:inkMkLst>
        </pc:inkChg>
        <pc:inkChg chg="add">
          <ac:chgData name="Aniket Chhabra" userId="598e0514-bef3-4e71-b6aa-f2edd6441cff" providerId="ADAL" clId="{A0F7D543-B727-034C-88B5-8F838AD07213}" dt="2022-09-10T08:23:20.168" v="805" actId="9405"/>
          <ac:inkMkLst>
            <pc:docMk/>
            <pc:sldMk cId="302558819" sldId="281"/>
            <ac:inkMk id="143" creationId="{2D12B552-B7E4-E0BB-469F-AAA000254346}"/>
          </ac:inkMkLst>
        </pc:inkChg>
        <pc:inkChg chg="add">
          <ac:chgData name="Aniket Chhabra" userId="598e0514-bef3-4e71-b6aa-f2edd6441cff" providerId="ADAL" clId="{A0F7D543-B727-034C-88B5-8F838AD07213}" dt="2022-09-10T08:23:20.453" v="806" actId="9405"/>
          <ac:inkMkLst>
            <pc:docMk/>
            <pc:sldMk cId="302558819" sldId="281"/>
            <ac:inkMk id="144" creationId="{00E5485B-1452-B865-EA6D-5B88C0A8BBC3}"/>
          </ac:inkMkLst>
        </pc:inkChg>
        <pc:inkChg chg="add">
          <ac:chgData name="Aniket Chhabra" userId="598e0514-bef3-4e71-b6aa-f2edd6441cff" providerId="ADAL" clId="{A0F7D543-B727-034C-88B5-8F838AD07213}" dt="2022-09-10T08:23:20.687" v="807" actId="9405"/>
          <ac:inkMkLst>
            <pc:docMk/>
            <pc:sldMk cId="302558819" sldId="281"/>
            <ac:inkMk id="145" creationId="{F3617F86-2DE9-8BA4-1307-40503A5F3465}"/>
          </ac:inkMkLst>
        </pc:inkChg>
      </pc:sldChg>
      <pc:sldChg chg="addSp delSp modSp mod">
        <pc:chgData name="Aniket Chhabra" userId="598e0514-bef3-4e71-b6aa-f2edd6441cff" providerId="ADAL" clId="{A0F7D543-B727-034C-88B5-8F838AD07213}" dt="2022-09-24T05:23:56.662" v="1814"/>
        <pc:sldMkLst>
          <pc:docMk/>
          <pc:sldMk cId="1370836176" sldId="285"/>
        </pc:sldMkLst>
        <pc:grpChg chg="del mod">
          <ac:chgData name="Aniket Chhabra" userId="598e0514-bef3-4e71-b6aa-f2edd6441cff" providerId="ADAL" clId="{A0F7D543-B727-034C-88B5-8F838AD07213}" dt="2022-09-10T08:20:52.669" v="642"/>
          <ac:grpSpMkLst>
            <pc:docMk/>
            <pc:sldMk cId="1370836176" sldId="285"/>
            <ac:grpSpMk id="13" creationId="{BFE967DF-B128-4DF6-411B-013F0C550118}"/>
          </ac:grpSpMkLst>
        </pc:grpChg>
        <pc:grpChg chg="del mod">
          <ac:chgData name="Aniket Chhabra" userId="598e0514-bef3-4e71-b6aa-f2edd6441cff" providerId="ADAL" clId="{A0F7D543-B727-034C-88B5-8F838AD07213}" dt="2022-09-10T08:21:00.024" v="683"/>
          <ac:grpSpMkLst>
            <pc:docMk/>
            <pc:sldMk cId="1370836176" sldId="285"/>
            <ac:grpSpMk id="24" creationId="{807343FA-1A36-CF5C-1C7D-257109616379}"/>
          </ac:grpSpMkLst>
        </pc:grpChg>
        <pc:grpChg chg="del mod">
          <ac:chgData name="Aniket Chhabra" userId="598e0514-bef3-4e71-b6aa-f2edd6441cff" providerId="ADAL" clId="{A0F7D543-B727-034C-88B5-8F838AD07213}" dt="2022-08-21T06:20:09.387" v="8"/>
          <ac:grpSpMkLst>
            <pc:docMk/>
            <pc:sldMk cId="1370836176" sldId="285"/>
            <ac:grpSpMk id="28" creationId="{3D28FFF2-71F3-6DDA-6896-C02B10CD325B}"/>
          </ac:grpSpMkLst>
        </pc:grpChg>
        <pc:grpChg chg="del mod">
          <ac:chgData name="Aniket Chhabra" userId="598e0514-bef3-4e71-b6aa-f2edd6441cff" providerId="ADAL" clId="{A0F7D543-B727-034C-88B5-8F838AD07213}" dt="2022-09-10T08:20:48.992" v="641"/>
          <ac:grpSpMkLst>
            <pc:docMk/>
            <pc:sldMk cId="1370836176" sldId="285"/>
            <ac:grpSpMk id="30" creationId="{F457632F-3BE7-4A9D-0B98-850414A7D9F1}"/>
          </ac:grpSpMkLst>
        </pc:grpChg>
        <pc:grpChg chg="del mod">
          <ac:chgData name="Aniket Chhabra" userId="598e0514-bef3-4e71-b6aa-f2edd6441cff" providerId="ADAL" clId="{A0F7D543-B727-034C-88B5-8F838AD07213}" dt="2022-09-10T08:20:48.992" v="640"/>
          <ac:grpSpMkLst>
            <pc:docMk/>
            <pc:sldMk cId="1370836176" sldId="285"/>
            <ac:grpSpMk id="40" creationId="{F0232243-4099-AFD0-2160-92378E6B3D06}"/>
          </ac:grpSpMkLst>
        </pc:grpChg>
        <pc:grpChg chg="del mod">
          <ac:chgData name="Aniket Chhabra" userId="598e0514-bef3-4e71-b6aa-f2edd6441cff" providerId="ADAL" clId="{A0F7D543-B727-034C-88B5-8F838AD07213}" dt="2022-09-10T08:21:00.024" v="687"/>
          <ac:grpSpMkLst>
            <pc:docMk/>
            <pc:sldMk cId="1370836176" sldId="285"/>
            <ac:grpSpMk id="49" creationId="{EF625C99-AA47-F812-CEA1-5F61579F7A19}"/>
          </ac:grpSpMkLst>
        </pc:grpChg>
        <pc:grpChg chg="del mod">
          <ac:chgData name="Aniket Chhabra" userId="598e0514-bef3-4e71-b6aa-f2edd6441cff" providerId="ADAL" clId="{A0F7D543-B727-034C-88B5-8F838AD07213}" dt="2022-08-21T06:21:00.349" v="49"/>
          <ac:grpSpMkLst>
            <pc:docMk/>
            <pc:sldMk cId="1370836176" sldId="285"/>
            <ac:grpSpMk id="60" creationId="{196731CF-ADEB-E2FA-BEE2-FBBAB79CC4F4}"/>
          </ac:grpSpMkLst>
        </pc:grpChg>
        <pc:grpChg chg="del mod">
          <ac:chgData name="Aniket Chhabra" userId="598e0514-bef3-4e71-b6aa-f2edd6441cff" providerId="ADAL" clId="{A0F7D543-B727-034C-88B5-8F838AD07213}" dt="2022-09-10T08:21:00.024" v="684"/>
          <ac:grpSpMkLst>
            <pc:docMk/>
            <pc:sldMk cId="1370836176" sldId="285"/>
            <ac:grpSpMk id="71" creationId="{EE1431B8-DDB4-8CB7-3F57-BFE6462A0347}"/>
          </ac:grpSpMkLst>
        </pc:grpChg>
        <pc:grpChg chg="del mod">
          <ac:chgData name="Aniket Chhabra" userId="598e0514-bef3-4e71-b6aa-f2edd6441cff" providerId="ADAL" clId="{A0F7D543-B727-034C-88B5-8F838AD07213}" dt="2022-09-10T08:21:00.023" v="682"/>
          <ac:grpSpMkLst>
            <pc:docMk/>
            <pc:sldMk cId="1370836176" sldId="285"/>
            <ac:grpSpMk id="72" creationId="{17E8DC33-6D9A-9729-D159-DBE0080EFBF6}"/>
          </ac:grpSpMkLst>
        </pc:grpChg>
        <pc:grpChg chg="del mod">
          <ac:chgData name="Aniket Chhabra" userId="598e0514-bef3-4e71-b6aa-f2edd6441cff" providerId="ADAL" clId="{A0F7D543-B727-034C-88B5-8F838AD07213}" dt="2022-09-10T08:21:00.023" v="676"/>
          <ac:grpSpMkLst>
            <pc:docMk/>
            <pc:sldMk cId="1370836176" sldId="285"/>
            <ac:grpSpMk id="84" creationId="{A4B36FCC-E290-5902-5134-C6065820609D}"/>
          </ac:grpSpMkLst>
        </pc:grpChg>
        <pc:grpChg chg="add del mod">
          <ac:chgData name="Aniket Chhabra" userId="598e0514-bef3-4e71-b6aa-f2edd6441cff" providerId="ADAL" clId="{A0F7D543-B727-034C-88B5-8F838AD07213}" dt="2022-09-24T05:23:46.405" v="1772"/>
          <ac:grpSpMkLst>
            <pc:docMk/>
            <pc:sldMk cId="1370836176" sldId="285"/>
            <ac:grpSpMk id="90" creationId="{45D56CA8-0044-EB23-3401-A072917A8C80}"/>
          </ac:grpSpMkLst>
        </pc:grpChg>
        <pc:grpChg chg="mod">
          <ac:chgData name="Aniket Chhabra" userId="598e0514-bef3-4e71-b6aa-f2edd6441cff" providerId="ADAL" clId="{A0F7D543-B727-034C-88B5-8F838AD07213}" dt="2022-09-24T05:23:37.704" v="1736"/>
          <ac:grpSpMkLst>
            <pc:docMk/>
            <pc:sldMk cId="1370836176" sldId="285"/>
            <ac:grpSpMk id="99" creationId="{2FA39F35-A134-BF89-4C75-7E60EE379CD7}"/>
          </ac:grpSpMkLst>
        </pc:grpChg>
        <pc:grpChg chg="mod">
          <ac:chgData name="Aniket Chhabra" userId="598e0514-bef3-4e71-b6aa-f2edd6441cff" providerId="ADAL" clId="{A0F7D543-B727-034C-88B5-8F838AD07213}" dt="2022-09-10T08:21:23.061" v="709"/>
          <ac:grpSpMkLst>
            <pc:docMk/>
            <pc:sldMk cId="1370836176" sldId="285"/>
            <ac:grpSpMk id="104" creationId="{44F26FCF-1ECB-7835-7E6D-69E24FFE9A64}"/>
          </ac:grpSpMkLst>
        </pc:grpChg>
        <pc:grpChg chg="add del mod">
          <ac:chgData name="Aniket Chhabra" userId="598e0514-bef3-4e71-b6aa-f2edd6441cff" providerId="ADAL" clId="{A0F7D543-B727-034C-88B5-8F838AD07213}" dt="2022-09-24T05:23:37.704" v="1736"/>
          <ac:grpSpMkLst>
            <pc:docMk/>
            <pc:sldMk cId="1370836176" sldId="285"/>
            <ac:grpSpMk id="107" creationId="{EC19D45C-9143-7054-ECE6-BD3FB38A4B27}"/>
          </ac:grpSpMkLst>
        </pc:grpChg>
        <pc:grpChg chg="del mod">
          <ac:chgData name="Aniket Chhabra" userId="598e0514-bef3-4e71-b6aa-f2edd6441cff" providerId="ADAL" clId="{A0F7D543-B727-034C-88B5-8F838AD07213}" dt="2022-09-10T08:23:49.214" v="816"/>
          <ac:grpSpMkLst>
            <pc:docMk/>
            <pc:sldMk cId="1370836176" sldId="285"/>
            <ac:grpSpMk id="119" creationId="{39093362-0D27-2CDC-7705-52116D5DA587}"/>
          </ac:grpSpMkLst>
        </pc:grpChg>
        <pc:grpChg chg="del mod">
          <ac:chgData name="Aniket Chhabra" userId="598e0514-bef3-4e71-b6aa-f2edd6441cff" providerId="ADAL" clId="{A0F7D543-B727-034C-88B5-8F838AD07213}" dt="2022-09-10T08:23:49.214" v="816"/>
          <ac:grpSpMkLst>
            <pc:docMk/>
            <pc:sldMk cId="1370836176" sldId="285"/>
            <ac:grpSpMk id="124" creationId="{91DFB31C-186B-4C58-1F48-1CA36DF1D864}"/>
          </ac:grpSpMkLst>
        </pc:grpChg>
        <pc:grpChg chg="del mod">
          <ac:chgData name="Aniket Chhabra" userId="598e0514-bef3-4e71-b6aa-f2edd6441cff" providerId="ADAL" clId="{A0F7D543-B727-034C-88B5-8F838AD07213}" dt="2022-09-10T08:23:17.863" v="804"/>
          <ac:grpSpMkLst>
            <pc:docMk/>
            <pc:sldMk cId="1370836176" sldId="285"/>
            <ac:grpSpMk id="125" creationId="{1E4C02B4-0B70-6494-38BE-2F704AC9E109}"/>
          </ac:grpSpMkLst>
        </pc:grpChg>
        <pc:grpChg chg="del mod">
          <ac:chgData name="Aniket Chhabra" userId="598e0514-bef3-4e71-b6aa-f2edd6441cff" providerId="ADAL" clId="{A0F7D543-B727-034C-88B5-8F838AD07213}" dt="2022-09-24T05:23:53.452" v="1794"/>
          <ac:grpSpMkLst>
            <pc:docMk/>
            <pc:sldMk cId="1370836176" sldId="285"/>
            <ac:grpSpMk id="132" creationId="{7C2B9F13-CB62-2710-832D-C3A64A73CF48}"/>
          </ac:grpSpMkLst>
        </pc:grpChg>
        <pc:grpChg chg="del mod">
          <ac:chgData name="Aniket Chhabra" userId="598e0514-bef3-4e71-b6aa-f2edd6441cff" providerId="ADAL" clId="{A0F7D543-B727-034C-88B5-8F838AD07213}" dt="2022-09-10T08:22:15.229" v="747"/>
          <ac:grpSpMkLst>
            <pc:docMk/>
            <pc:sldMk cId="1370836176" sldId="285"/>
            <ac:grpSpMk id="138" creationId="{95880C4F-1233-E2E7-938C-EB00F8A173CA}"/>
          </ac:grpSpMkLst>
        </pc:grpChg>
        <pc:grpChg chg="mod">
          <ac:chgData name="Aniket Chhabra" userId="598e0514-bef3-4e71-b6aa-f2edd6441cff" providerId="ADAL" clId="{A0F7D543-B727-034C-88B5-8F838AD07213}" dt="2022-09-24T05:23:33.347" v="1729"/>
          <ac:grpSpMkLst>
            <pc:docMk/>
            <pc:sldMk cId="1370836176" sldId="285"/>
            <ac:grpSpMk id="143" creationId="{463B33A8-C6E8-D445-D36C-FB04573FA099}"/>
          </ac:grpSpMkLst>
        </pc:grpChg>
        <pc:grpChg chg="del mod">
          <ac:chgData name="Aniket Chhabra" userId="598e0514-bef3-4e71-b6aa-f2edd6441cff" providerId="ADAL" clId="{A0F7D543-B727-034C-88B5-8F838AD07213}" dt="2022-09-10T08:23:49.214" v="816"/>
          <ac:grpSpMkLst>
            <pc:docMk/>
            <pc:sldMk cId="1370836176" sldId="285"/>
            <ac:grpSpMk id="149" creationId="{ED0103D7-ED27-B60E-75F5-E971FD68CFCE}"/>
          </ac:grpSpMkLst>
        </pc:grpChg>
        <pc:grpChg chg="add del mod">
          <ac:chgData name="Aniket Chhabra" userId="598e0514-bef3-4e71-b6aa-f2edd6441cff" providerId="ADAL" clId="{A0F7D543-B727-034C-88B5-8F838AD07213}" dt="2022-09-24T05:23:46.405" v="1772"/>
          <ac:grpSpMkLst>
            <pc:docMk/>
            <pc:sldMk cId="1370836176" sldId="285"/>
            <ac:grpSpMk id="159" creationId="{D7EA7A87-1291-47B9-8D6D-E220477A0484}"/>
          </ac:grpSpMkLst>
        </pc:grpChg>
        <pc:grpChg chg="del mod">
          <ac:chgData name="Aniket Chhabra" userId="598e0514-bef3-4e71-b6aa-f2edd6441cff" providerId="ADAL" clId="{A0F7D543-B727-034C-88B5-8F838AD07213}" dt="2022-09-10T08:22:48.685" v="794"/>
          <ac:grpSpMkLst>
            <pc:docMk/>
            <pc:sldMk cId="1370836176" sldId="285"/>
            <ac:grpSpMk id="180" creationId="{4E964A9D-EA12-7022-3E0D-4529C252732A}"/>
          </ac:grpSpMkLst>
        </pc:grpChg>
        <pc:grpChg chg="del mod">
          <ac:chgData name="Aniket Chhabra" userId="598e0514-bef3-4e71-b6aa-f2edd6441cff" providerId="ADAL" clId="{A0F7D543-B727-034C-88B5-8F838AD07213}" dt="2022-09-10T08:31:37.455" v="887"/>
          <ac:grpSpMkLst>
            <pc:docMk/>
            <pc:sldMk cId="1370836176" sldId="285"/>
            <ac:grpSpMk id="190" creationId="{9B2C392C-EDC2-35BA-07EA-4B928ABD622F}"/>
          </ac:grpSpMkLst>
        </pc:grpChg>
        <pc:grpChg chg="add del mod">
          <ac:chgData name="Aniket Chhabra" userId="598e0514-bef3-4e71-b6aa-f2edd6441cff" providerId="ADAL" clId="{A0F7D543-B727-034C-88B5-8F838AD07213}" dt="2022-09-24T05:23:33.347" v="1729"/>
          <ac:grpSpMkLst>
            <pc:docMk/>
            <pc:sldMk cId="1370836176" sldId="285"/>
            <ac:grpSpMk id="193" creationId="{56E844B9-7EB1-486A-6D42-3731C0B854F3}"/>
          </ac:grpSpMkLst>
        </pc:grpChg>
        <pc:grpChg chg="del mod">
          <ac:chgData name="Aniket Chhabra" userId="598e0514-bef3-4e71-b6aa-f2edd6441cff" providerId="ADAL" clId="{A0F7D543-B727-034C-88B5-8F838AD07213}" dt="2022-09-10T08:23:49.214" v="816"/>
          <ac:grpSpMkLst>
            <pc:docMk/>
            <pc:sldMk cId="1370836176" sldId="285"/>
            <ac:grpSpMk id="200" creationId="{DC485AEE-A99C-85CA-F86F-1AF3D66D50C5}"/>
          </ac:grpSpMkLst>
        </pc:grpChg>
        <pc:grpChg chg="del mod">
          <ac:chgData name="Aniket Chhabra" userId="598e0514-bef3-4e71-b6aa-f2edd6441cff" providerId="ADAL" clId="{A0F7D543-B727-034C-88B5-8F838AD07213}" dt="2022-09-10T08:23:49.214" v="816"/>
          <ac:grpSpMkLst>
            <pc:docMk/>
            <pc:sldMk cId="1370836176" sldId="285"/>
            <ac:grpSpMk id="201" creationId="{B4407A3B-B9DD-66E2-0134-977D7D598B8C}"/>
          </ac:grpSpMkLst>
        </pc:grpChg>
        <pc:grpChg chg="add del mod">
          <ac:chgData name="Aniket Chhabra" userId="598e0514-bef3-4e71-b6aa-f2edd6441cff" providerId="ADAL" clId="{A0F7D543-B727-034C-88B5-8F838AD07213}" dt="2022-09-24T05:23:53.454" v="1804"/>
          <ac:grpSpMkLst>
            <pc:docMk/>
            <pc:sldMk cId="1370836176" sldId="285"/>
            <ac:grpSpMk id="207" creationId="{F596A1F2-32C1-9A62-919B-D35FA30A15CF}"/>
          </ac:grpSpMkLst>
        </pc:grpChg>
        <pc:grpChg chg="del mod">
          <ac:chgData name="Aniket Chhabra" userId="598e0514-bef3-4e71-b6aa-f2edd6441cff" providerId="ADAL" clId="{A0F7D543-B727-034C-88B5-8F838AD07213}" dt="2022-09-10T08:23:49.214" v="816"/>
          <ac:grpSpMkLst>
            <pc:docMk/>
            <pc:sldMk cId="1370836176" sldId="285"/>
            <ac:grpSpMk id="208" creationId="{02F8E05C-6EEC-A30C-EFE0-E471C4E2C813}"/>
          </ac:grpSpMkLst>
        </pc:grpChg>
        <pc:grpChg chg="del mod">
          <ac:chgData name="Aniket Chhabra" userId="598e0514-bef3-4e71-b6aa-f2edd6441cff" providerId="ADAL" clId="{A0F7D543-B727-034C-88B5-8F838AD07213}" dt="2022-09-10T08:23:51.336" v="819"/>
          <ac:grpSpMkLst>
            <pc:docMk/>
            <pc:sldMk cId="1370836176" sldId="285"/>
            <ac:grpSpMk id="211" creationId="{845F4CF5-F852-07CF-9C21-489132C19312}"/>
          </ac:grpSpMkLst>
        </pc:grpChg>
        <pc:grpChg chg="del mod">
          <ac:chgData name="Aniket Chhabra" userId="598e0514-bef3-4e71-b6aa-f2edd6441cff" providerId="ADAL" clId="{A0F7D543-B727-034C-88B5-8F838AD07213}" dt="2022-09-10T08:29:15.949" v="838"/>
          <ac:grpSpMkLst>
            <pc:docMk/>
            <pc:sldMk cId="1370836176" sldId="285"/>
            <ac:grpSpMk id="214" creationId="{13354072-EBDC-3F2A-D831-FAE5EFCD05B4}"/>
          </ac:grpSpMkLst>
        </pc:grpChg>
        <pc:grpChg chg="add del mod">
          <ac:chgData name="Aniket Chhabra" userId="598e0514-bef3-4e71-b6aa-f2edd6441cff" providerId="ADAL" clId="{A0F7D543-B727-034C-88B5-8F838AD07213}" dt="2022-09-24T05:23:33.347" v="1729"/>
          <ac:grpSpMkLst>
            <pc:docMk/>
            <pc:sldMk cId="1370836176" sldId="285"/>
            <ac:grpSpMk id="228" creationId="{7C25A338-647D-C0C7-4B6B-71AB33B88417}"/>
          </ac:grpSpMkLst>
        </pc:grpChg>
        <pc:grpChg chg="del mod">
          <ac:chgData name="Aniket Chhabra" userId="598e0514-bef3-4e71-b6aa-f2edd6441cff" providerId="ADAL" clId="{A0F7D543-B727-034C-88B5-8F838AD07213}" dt="2022-09-24T05:23:56.662" v="1814"/>
          <ac:grpSpMkLst>
            <pc:docMk/>
            <pc:sldMk cId="1370836176" sldId="285"/>
            <ac:grpSpMk id="230" creationId="{6873A7E8-16A4-B930-3D34-551A75767092}"/>
          </ac:grpSpMkLst>
        </pc:grpChg>
        <pc:grpChg chg="mod">
          <ac:chgData name="Aniket Chhabra" userId="598e0514-bef3-4e71-b6aa-f2edd6441cff" providerId="ADAL" clId="{A0F7D543-B727-034C-88B5-8F838AD07213}" dt="2022-09-24T05:23:33.347" v="1729"/>
          <ac:grpSpMkLst>
            <pc:docMk/>
            <pc:sldMk cId="1370836176" sldId="285"/>
            <ac:grpSpMk id="260" creationId="{B170B8E8-9C37-4682-2316-FDD209AD8E30}"/>
          </ac:grpSpMkLst>
        </pc:grpChg>
        <pc:inkChg chg="mod">
          <ac:chgData name="Aniket Chhabra" userId="598e0514-bef3-4e71-b6aa-f2edd6441cff" providerId="ADAL" clId="{A0F7D543-B727-034C-88B5-8F838AD07213}" dt="2022-09-24T05:23:46.405" v="1772"/>
          <ac:inkMkLst>
            <pc:docMk/>
            <pc:sldMk cId="1370836176" sldId="285"/>
            <ac:inkMk id="3" creationId="{A38B737F-4F53-43D3-9789-7B2C3BEFAE37}"/>
          </ac:inkMkLst>
        </pc:inkChg>
        <pc:inkChg chg="del mod">
          <ac:chgData name="Aniket Chhabra" userId="598e0514-bef3-4e71-b6aa-f2edd6441cff" providerId="ADAL" clId="{A0F7D543-B727-034C-88B5-8F838AD07213}" dt="2022-09-10T08:21:00.019" v="649"/>
          <ac:inkMkLst>
            <pc:docMk/>
            <pc:sldMk cId="1370836176" sldId="285"/>
            <ac:inkMk id="4" creationId="{595C57CE-E25D-EBD7-73BA-E6BA71BFBD89}"/>
          </ac:inkMkLst>
        </pc:inkChg>
        <pc:inkChg chg="del mod">
          <ac:chgData name="Aniket Chhabra" userId="598e0514-bef3-4e71-b6aa-f2edd6441cff" providerId="ADAL" clId="{A0F7D543-B727-034C-88B5-8F838AD07213}" dt="2022-09-10T08:20:48.990" v="629"/>
          <ac:inkMkLst>
            <pc:docMk/>
            <pc:sldMk cId="1370836176" sldId="285"/>
            <ac:inkMk id="5" creationId="{855ECD75-D2F4-68CD-D634-89BBABE5E404}"/>
          </ac:inkMkLst>
        </pc:inkChg>
        <pc:inkChg chg="del mod">
          <ac:chgData name="Aniket Chhabra" userId="598e0514-bef3-4e71-b6aa-f2edd6441cff" providerId="ADAL" clId="{A0F7D543-B727-034C-88B5-8F838AD07213}" dt="2022-09-10T08:20:48.990" v="630"/>
          <ac:inkMkLst>
            <pc:docMk/>
            <pc:sldMk cId="1370836176" sldId="285"/>
            <ac:inkMk id="7" creationId="{B621DB92-3EDB-0DDE-B8F8-3CB57819E2B2}"/>
          </ac:inkMkLst>
        </pc:inkChg>
        <pc:inkChg chg="del">
          <ac:chgData name="Aniket Chhabra" userId="598e0514-bef3-4e71-b6aa-f2edd6441cff" providerId="ADAL" clId="{A0F7D543-B727-034C-88B5-8F838AD07213}" dt="2022-09-10T08:20:48.988" v="624"/>
          <ac:inkMkLst>
            <pc:docMk/>
            <pc:sldMk cId="1370836176" sldId="285"/>
            <ac:inkMk id="8" creationId="{64FF6C7E-FCE1-3F1A-34F1-A90106112082}"/>
          </ac:inkMkLst>
        </pc:inkChg>
        <pc:inkChg chg="add del mod">
          <ac:chgData name="Aniket Chhabra" userId="598e0514-bef3-4e71-b6aa-f2edd6441cff" providerId="ADAL" clId="{A0F7D543-B727-034C-88B5-8F838AD07213}" dt="2022-09-10T08:20:48.990" v="627"/>
          <ac:inkMkLst>
            <pc:docMk/>
            <pc:sldMk cId="1370836176" sldId="285"/>
            <ac:inkMk id="9" creationId="{FEC41B5E-4F80-59E8-F439-8E7ABDE1CFA9}"/>
          </ac:inkMkLst>
        </pc:inkChg>
        <pc:inkChg chg="del mod">
          <ac:chgData name="Aniket Chhabra" userId="598e0514-bef3-4e71-b6aa-f2edd6441cff" providerId="ADAL" clId="{A0F7D543-B727-034C-88B5-8F838AD07213}" dt="2022-09-10T08:20:52.670" v="643"/>
          <ac:inkMkLst>
            <pc:docMk/>
            <pc:sldMk cId="1370836176" sldId="285"/>
            <ac:inkMk id="11" creationId="{CD938533-7A20-56D7-D9F3-973046E4A69F}"/>
          </ac:inkMkLst>
        </pc:inkChg>
        <pc:inkChg chg="del">
          <ac:chgData name="Aniket Chhabra" userId="598e0514-bef3-4e71-b6aa-f2edd6441cff" providerId="ADAL" clId="{A0F7D543-B727-034C-88B5-8F838AD07213}" dt="2022-09-10T08:20:52.669" v="642"/>
          <ac:inkMkLst>
            <pc:docMk/>
            <pc:sldMk cId="1370836176" sldId="285"/>
            <ac:inkMk id="12" creationId="{9872F2CC-F001-6AB2-B0A7-EF6C64E72E53}"/>
          </ac:inkMkLst>
        </pc:inkChg>
        <pc:inkChg chg="del mod">
          <ac:chgData name="Aniket Chhabra" userId="598e0514-bef3-4e71-b6aa-f2edd6441cff" providerId="ADAL" clId="{A0F7D543-B727-034C-88B5-8F838AD07213}" dt="2022-09-10T08:21:00.023" v="677"/>
          <ac:inkMkLst>
            <pc:docMk/>
            <pc:sldMk cId="1370836176" sldId="285"/>
            <ac:inkMk id="14" creationId="{F5A4A43E-FD2A-A778-BF6F-D78134E1D57B}"/>
          </ac:inkMkLst>
        </pc:inkChg>
        <pc:inkChg chg="del mod">
          <ac:chgData name="Aniket Chhabra" userId="598e0514-bef3-4e71-b6aa-f2edd6441cff" providerId="ADAL" clId="{A0F7D543-B727-034C-88B5-8F838AD07213}" dt="2022-09-24T05:23:56.661" v="1812"/>
          <ac:inkMkLst>
            <pc:docMk/>
            <pc:sldMk cId="1370836176" sldId="285"/>
            <ac:inkMk id="15" creationId="{CF79E4CB-ED0D-72B5-CD45-9976E2916A50}"/>
          </ac:inkMkLst>
        </pc:inkChg>
        <pc:inkChg chg="add del mod">
          <ac:chgData name="Aniket Chhabra" userId="598e0514-bef3-4e71-b6aa-f2edd6441cff" providerId="ADAL" clId="{A0F7D543-B727-034C-88B5-8F838AD07213}" dt="2022-09-10T08:20:48.989" v="626"/>
          <ac:inkMkLst>
            <pc:docMk/>
            <pc:sldMk cId="1370836176" sldId="285"/>
            <ac:inkMk id="16" creationId="{F9556C2B-8A5C-4479-E452-E60830EB65AC}"/>
          </ac:inkMkLst>
        </pc:inkChg>
        <pc:inkChg chg="del mod">
          <ac:chgData name="Aniket Chhabra" userId="598e0514-bef3-4e71-b6aa-f2edd6441cff" providerId="ADAL" clId="{A0F7D543-B727-034C-88B5-8F838AD07213}" dt="2022-09-10T08:20:48.992" v="639"/>
          <ac:inkMkLst>
            <pc:docMk/>
            <pc:sldMk cId="1370836176" sldId="285"/>
            <ac:inkMk id="18" creationId="{1B734B26-0796-AD1C-7E09-9862D6F7ABD5}"/>
          </ac:inkMkLst>
        </pc:inkChg>
        <pc:inkChg chg="del mod">
          <ac:chgData name="Aniket Chhabra" userId="598e0514-bef3-4e71-b6aa-f2edd6441cff" providerId="ADAL" clId="{A0F7D543-B727-034C-88B5-8F838AD07213}" dt="2022-09-10T08:20:48.992" v="637"/>
          <ac:inkMkLst>
            <pc:docMk/>
            <pc:sldMk cId="1370836176" sldId="285"/>
            <ac:inkMk id="20" creationId="{43F8D53B-36B1-5467-4CD0-C1533AFF4617}"/>
          </ac:inkMkLst>
        </pc:inkChg>
        <pc:inkChg chg="add del mod">
          <ac:chgData name="Aniket Chhabra" userId="598e0514-bef3-4e71-b6aa-f2edd6441cff" providerId="ADAL" clId="{A0F7D543-B727-034C-88B5-8F838AD07213}" dt="2022-09-10T08:20:48.992" v="641"/>
          <ac:inkMkLst>
            <pc:docMk/>
            <pc:sldMk cId="1370836176" sldId="285"/>
            <ac:inkMk id="21" creationId="{8F40B858-A587-098E-4505-71B863A99200}"/>
          </ac:inkMkLst>
        </pc:inkChg>
        <pc:inkChg chg="del mod">
          <ac:chgData name="Aniket Chhabra" userId="598e0514-bef3-4e71-b6aa-f2edd6441cff" providerId="ADAL" clId="{A0F7D543-B727-034C-88B5-8F838AD07213}" dt="2022-09-10T08:21:00.024" v="683"/>
          <ac:inkMkLst>
            <pc:docMk/>
            <pc:sldMk cId="1370836176" sldId="285"/>
            <ac:inkMk id="22" creationId="{ADDD66B5-6B2B-99BD-9A6D-13A6E20343CD}"/>
          </ac:inkMkLst>
        </pc:inkChg>
        <pc:inkChg chg="del mod">
          <ac:chgData name="Aniket Chhabra" userId="598e0514-bef3-4e71-b6aa-f2edd6441cff" providerId="ADAL" clId="{A0F7D543-B727-034C-88B5-8F838AD07213}" dt="2022-09-10T08:20:48.990" v="628"/>
          <ac:inkMkLst>
            <pc:docMk/>
            <pc:sldMk cId="1370836176" sldId="285"/>
            <ac:inkMk id="23" creationId="{99158ADB-BE7B-3B29-D079-759340FA1209}"/>
          </ac:inkMkLst>
        </pc:inkChg>
        <pc:inkChg chg="add del mod">
          <ac:chgData name="Aniket Chhabra" userId="598e0514-bef3-4e71-b6aa-f2edd6441cff" providerId="ADAL" clId="{A0F7D543-B727-034C-88B5-8F838AD07213}" dt="2022-09-10T08:20:48.989" v="625"/>
          <ac:inkMkLst>
            <pc:docMk/>
            <pc:sldMk cId="1370836176" sldId="285"/>
            <ac:inkMk id="25" creationId="{6C8115A8-88CD-ED62-77BB-70D65120D2C0}"/>
          </ac:inkMkLst>
        </pc:inkChg>
        <pc:inkChg chg="add del mod">
          <ac:chgData name="Aniket Chhabra" userId="598e0514-bef3-4e71-b6aa-f2edd6441cff" providerId="ADAL" clId="{A0F7D543-B727-034C-88B5-8F838AD07213}" dt="2022-09-10T08:20:48.991" v="636"/>
          <ac:inkMkLst>
            <pc:docMk/>
            <pc:sldMk cId="1370836176" sldId="285"/>
            <ac:inkMk id="26" creationId="{C9BB021E-3A51-D60E-59E1-F48C2E77EE1D}"/>
          </ac:inkMkLst>
        </pc:inkChg>
        <pc:inkChg chg="add mod">
          <ac:chgData name="Aniket Chhabra" userId="598e0514-bef3-4e71-b6aa-f2edd6441cff" providerId="ADAL" clId="{A0F7D543-B727-034C-88B5-8F838AD07213}" dt="2022-09-10T08:20:48.992" v="641"/>
          <ac:inkMkLst>
            <pc:docMk/>
            <pc:sldMk cId="1370836176" sldId="285"/>
            <ac:inkMk id="27" creationId="{EECAD0D7-F7AD-8FBD-4156-4B73AB772017}"/>
          </ac:inkMkLst>
        </pc:inkChg>
        <pc:inkChg chg="add del">
          <ac:chgData name="Aniket Chhabra" userId="598e0514-bef3-4e71-b6aa-f2edd6441cff" providerId="ADAL" clId="{A0F7D543-B727-034C-88B5-8F838AD07213}" dt="2022-09-24T05:23:46.405" v="1772"/>
          <ac:inkMkLst>
            <pc:docMk/>
            <pc:sldMk cId="1370836176" sldId="285"/>
            <ac:inkMk id="28" creationId="{EAE80128-5881-0424-3BE5-9AC974E568F5}"/>
          </ac:inkMkLst>
        </pc:inkChg>
        <pc:inkChg chg="add del mod">
          <ac:chgData name="Aniket Chhabra" userId="598e0514-bef3-4e71-b6aa-f2edd6441cff" providerId="ADAL" clId="{A0F7D543-B727-034C-88B5-8F838AD07213}" dt="2022-09-10T08:20:48.992" v="638"/>
          <ac:inkMkLst>
            <pc:docMk/>
            <pc:sldMk cId="1370836176" sldId="285"/>
            <ac:inkMk id="29" creationId="{17A06CBD-EBC1-3111-A969-290ECC09CF9C}"/>
          </ac:inkMkLst>
        </pc:inkChg>
        <pc:inkChg chg="add del">
          <ac:chgData name="Aniket Chhabra" userId="598e0514-bef3-4e71-b6aa-f2edd6441cff" providerId="ADAL" clId="{A0F7D543-B727-034C-88B5-8F838AD07213}" dt="2022-09-10T08:20:48.991" v="634"/>
          <ac:inkMkLst>
            <pc:docMk/>
            <pc:sldMk cId="1370836176" sldId="285"/>
            <ac:inkMk id="31" creationId="{FC80D5C3-3F23-B0C0-CC80-6565B3556FAF}"/>
          </ac:inkMkLst>
        </pc:inkChg>
        <pc:inkChg chg="add del">
          <ac:chgData name="Aniket Chhabra" userId="598e0514-bef3-4e71-b6aa-f2edd6441cff" providerId="ADAL" clId="{A0F7D543-B727-034C-88B5-8F838AD07213}" dt="2022-09-10T08:21:00.019" v="652"/>
          <ac:inkMkLst>
            <pc:docMk/>
            <pc:sldMk cId="1370836176" sldId="285"/>
            <ac:inkMk id="32" creationId="{7B911A93-FB96-1BE7-CED9-9CD079B4150F}"/>
          </ac:inkMkLst>
        </pc:inkChg>
        <pc:inkChg chg="add del">
          <ac:chgData name="Aniket Chhabra" userId="598e0514-bef3-4e71-b6aa-f2edd6441cff" providerId="ADAL" clId="{A0F7D543-B727-034C-88B5-8F838AD07213}" dt="2022-09-10T08:21:00.022" v="673"/>
          <ac:inkMkLst>
            <pc:docMk/>
            <pc:sldMk cId="1370836176" sldId="285"/>
            <ac:inkMk id="33" creationId="{BED2FA27-536D-83EB-13B2-0CB75401C388}"/>
          </ac:inkMkLst>
        </pc:inkChg>
        <pc:inkChg chg="add del">
          <ac:chgData name="Aniket Chhabra" userId="598e0514-bef3-4e71-b6aa-f2edd6441cff" providerId="ADAL" clId="{A0F7D543-B727-034C-88B5-8F838AD07213}" dt="2022-09-10T08:20:48.990" v="631"/>
          <ac:inkMkLst>
            <pc:docMk/>
            <pc:sldMk cId="1370836176" sldId="285"/>
            <ac:inkMk id="34" creationId="{1BCD176D-94A1-1250-8E99-B95409FBC9E1}"/>
          </ac:inkMkLst>
        </pc:inkChg>
        <pc:inkChg chg="add del">
          <ac:chgData name="Aniket Chhabra" userId="598e0514-bef3-4e71-b6aa-f2edd6441cff" providerId="ADAL" clId="{A0F7D543-B727-034C-88B5-8F838AD07213}" dt="2022-09-10T08:21:01.034" v="690"/>
          <ac:inkMkLst>
            <pc:docMk/>
            <pc:sldMk cId="1370836176" sldId="285"/>
            <ac:inkMk id="35" creationId="{6A6AEB2E-82E3-F89C-5A96-CE915A8F99CA}"/>
          </ac:inkMkLst>
        </pc:inkChg>
        <pc:inkChg chg="add del">
          <ac:chgData name="Aniket Chhabra" userId="598e0514-bef3-4e71-b6aa-f2edd6441cff" providerId="ADAL" clId="{A0F7D543-B727-034C-88B5-8F838AD07213}" dt="2022-09-24T05:23:46.405" v="1772"/>
          <ac:inkMkLst>
            <pc:docMk/>
            <pc:sldMk cId="1370836176" sldId="285"/>
            <ac:inkMk id="36" creationId="{2E35F1E8-6F18-9AE1-E872-76FB5C293C06}"/>
          </ac:inkMkLst>
        </pc:inkChg>
        <pc:inkChg chg="add del mod">
          <ac:chgData name="Aniket Chhabra" userId="598e0514-bef3-4e71-b6aa-f2edd6441cff" providerId="ADAL" clId="{A0F7D543-B727-034C-88B5-8F838AD07213}" dt="2022-09-10T08:21:00.024" v="688"/>
          <ac:inkMkLst>
            <pc:docMk/>
            <pc:sldMk cId="1370836176" sldId="285"/>
            <ac:inkMk id="37" creationId="{47FA5A44-43BD-7D78-314D-890D5287A09A}"/>
          </ac:inkMkLst>
        </pc:inkChg>
        <pc:inkChg chg="add del mod">
          <ac:chgData name="Aniket Chhabra" userId="598e0514-bef3-4e71-b6aa-f2edd6441cff" providerId="ADAL" clId="{A0F7D543-B727-034C-88B5-8F838AD07213}" dt="2022-09-10T08:20:48.992" v="640"/>
          <ac:inkMkLst>
            <pc:docMk/>
            <pc:sldMk cId="1370836176" sldId="285"/>
            <ac:inkMk id="38" creationId="{55A5570B-463C-6264-93D1-04E6486D247E}"/>
          </ac:inkMkLst>
        </pc:inkChg>
        <pc:inkChg chg="add del mod">
          <ac:chgData name="Aniket Chhabra" userId="598e0514-bef3-4e71-b6aa-f2edd6441cff" providerId="ADAL" clId="{A0F7D543-B727-034C-88B5-8F838AD07213}" dt="2022-09-10T08:20:48.991" v="632"/>
          <ac:inkMkLst>
            <pc:docMk/>
            <pc:sldMk cId="1370836176" sldId="285"/>
            <ac:inkMk id="39" creationId="{36031421-AE49-EE35-288D-7F6A2ED8DE2B}"/>
          </ac:inkMkLst>
        </pc:inkChg>
        <pc:inkChg chg="add del mod">
          <ac:chgData name="Aniket Chhabra" userId="598e0514-bef3-4e71-b6aa-f2edd6441cff" providerId="ADAL" clId="{A0F7D543-B727-034C-88B5-8F838AD07213}" dt="2022-09-10T08:21:00.020" v="659"/>
          <ac:inkMkLst>
            <pc:docMk/>
            <pc:sldMk cId="1370836176" sldId="285"/>
            <ac:inkMk id="41" creationId="{FF169EF6-9182-DCD1-97A1-82F0C2C18D77}"/>
          </ac:inkMkLst>
        </pc:inkChg>
        <pc:inkChg chg="add del mod">
          <ac:chgData name="Aniket Chhabra" userId="598e0514-bef3-4e71-b6aa-f2edd6441cff" providerId="ADAL" clId="{A0F7D543-B727-034C-88B5-8F838AD07213}" dt="2022-09-10T08:21:00.020" v="658"/>
          <ac:inkMkLst>
            <pc:docMk/>
            <pc:sldMk cId="1370836176" sldId="285"/>
            <ac:inkMk id="42" creationId="{FAA6913B-4511-E2B2-9685-F5455514FE06}"/>
          </ac:inkMkLst>
        </pc:inkChg>
        <pc:inkChg chg="add del mod">
          <ac:chgData name="Aniket Chhabra" userId="598e0514-bef3-4e71-b6aa-f2edd6441cff" providerId="ADAL" clId="{A0F7D543-B727-034C-88B5-8F838AD07213}" dt="2022-09-10T08:21:00.022" v="671"/>
          <ac:inkMkLst>
            <pc:docMk/>
            <pc:sldMk cId="1370836176" sldId="285"/>
            <ac:inkMk id="43" creationId="{A88A1E7B-CE3A-311D-C5BE-F6ABA7B8C801}"/>
          </ac:inkMkLst>
        </pc:inkChg>
        <pc:inkChg chg="add del mod">
          <ac:chgData name="Aniket Chhabra" userId="598e0514-bef3-4e71-b6aa-f2edd6441cff" providerId="ADAL" clId="{A0F7D543-B727-034C-88B5-8F838AD07213}" dt="2022-09-10T08:21:00.024" v="689"/>
          <ac:inkMkLst>
            <pc:docMk/>
            <pc:sldMk cId="1370836176" sldId="285"/>
            <ac:inkMk id="44" creationId="{8B1477AD-444A-5CF6-A332-78EE61B7368C}"/>
          </ac:inkMkLst>
        </pc:inkChg>
        <pc:inkChg chg="add del mod">
          <ac:chgData name="Aniket Chhabra" userId="598e0514-bef3-4e71-b6aa-f2edd6441cff" providerId="ADAL" clId="{A0F7D543-B727-034C-88B5-8F838AD07213}" dt="2022-09-10T08:21:00.018" v="647"/>
          <ac:inkMkLst>
            <pc:docMk/>
            <pc:sldMk cId="1370836176" sldId="285"/>
            <ac:inkMk id="45" creationId="{BA2318B5-52DF-C1A1-6C72-0BBB0F7AA6F2}"/>
          </ac:inkMkLst>
        </pc:inkChg>
        <pc:inkChg chg="add del mod">
          <ac:chgData name="Aniket Chhabra" userId="598e0514-bef3-4e71-b6aa-f2edd6441cff" providerId="ADAL" clId="{A0F7D543-B727-034C-88B5-8F838AD07213}" dt="2022-09-10T08:21:00.020" v="657"/>
          <ac:inkMkLst>
            <pc:docMk/>
            <pc:sldMk cId="1370836176" sldId="285"/>
            <ac:inkMk id="46" creationId="{4231DED8-3097-5C8E-99D1-D34FB16BB454}"/>
          </ac:inkMkLst>
        </pc:inkChg>
        <pc:inkChg chg="add del mod">
          <ac:chgData name="Aniket Chhabra" userId="598e0514-bef3-4e71-b6aa-f2edd6441cff" providerId="ADAL" clId="{A0F7D543-B727-034C-88B5-8F838AD07213}" dt="2022-09-10T08:21:00.022" v="668"/>
          <ac:inkMkLst>
            <pc:docMk/>
            <pc:sldMk cId="1370836176" sldId="285"/>
            <ac:inkMk id="47" creationId="{4149C8E4-C69A-C98D-761E-5A3819A87652}"/>
          </ac:inkMkLst>
        </pc:inkChg>
        <pc:inkChg chg="add del mod">
          <ac:chgData name="Aniket Chhabra" userId="598e0514-bef3-4e71-b6aa-f2edd6441cff" providerId="ADAL" clId="{A0F7D543-B727-034C-88B5-8F838AD07213}" dt="2022-09-10T08:21:00.024" v="687"/>
          <ac:inkMkLst>
            <pc:docMk/>
            <pc:sldMk cId="1370836176" sldId="285"/>
            <ac:inkMk id="48" creationId="{8E41B089-7616-AE6B-C15B-135F26E76C65}"/>
          </ac:inkMkLst>
        </pc:inkChg>
        <pc:inkChg chg="add del mod">
          <ac:chgData name="Aniket Chhabra" userId="598e0514-bef3-4e71-b6aa-f2edd6441cff" providerId="ADAL" clId="{A0F7D543-B727-034C-88B5-8F838AD07213}" dt="2022-09-10T08:21:00.020" v="660"/>
          <ac:inkMkLst>
            <pc:docMk/>
            <pc:sldMk cId="1370836176" sldId="285"/>
            <ac:inkMk id="50" creationId="{B172093B-B809-07EF-B094-11036C4EBD19}"/>
          </ac:inkMkLst>
        </pc:inkChg>
        <pc:inkChg chg="add del mod">
          <ac:chgData name="Aniket Chhabra" userId="598e0514-bef3-4e71-b6aa-f2edd6441cff" providerId="ADAL" clId="{A0F7D543-B727-034C-88B5-8F838AD07213}" dt="2022-09-10T08:21:00.023" v="679"/>
          <ac:inkMkLst>
            <pc:docMk/>
            <pc:sldMk cId="1370836176" sldId="285"/>
            <ac:inkMk id="51" creationId="{7E3EC72F-B5FD-D74D-4095-3474F151A8B1}"/>
          </ac:inkMkLst>
        </pc:inkChg>
        <pc:inkChg chg="add del mod">
          <ac:chgData name="Aniket Chhabra" userId="598e0514-bef3-4e71-b6aa-f2edd6441cff" providerId="ADAL" clId="{A0F7D543-B727-034C-88B5-8F838AD07213}" dt="2022-09-10T08:21:00.024" v="686"/>
          <ac:inkMkLst>
            <pc:docMk/>
            <pc:sldMk cId="1370836176" sldId="285"/>
            <ac:inkMk id="52" creationId="{F7A19C27-D39C-4734-D99C-90F4448F7028}"/>
          </ac:inkMkLst>
        </pc:inkChg>
        <pc:inkChg chg="add del mod">
          <ac:chgData name="Aniket Chhabra" userId="598e0514-bef3-4e71-b6aa-f2edd6441cff" providerId="ADAL" clId="{A0F7D543-B727-034C-88B5-8F838AD07213}" dt="2022-09-10T08:21:00.023" v="680"/>
          <ac:inkMkLst>
            <pc:docMk/>
            <pc:sldMk cId="1370836176" sldId="285"/>
            <ac:inkMk id="53" creationId="{252904CE-34AC-7531-2A4A-32351CE62EE4}"/>
          </ac:inkMkLst>
        </pc:inkChg>
        <pc:inkChg chg="add del mod">
          <ac:chgData name="Aniket Chhabra" userId="598e0514-bef3-4e71-b6aa-f2edd6441cff" providerId="ADAL" clId="{A0F7D543-B727-034C-88B5-8F838AD07213}" dt="2022-09-10T08:21:00.019" v="648"/>
          <ac:inkMkLst>
            <pc:docMk/>
            <pc:sldMk cId="1370836176" sldId="285"/>
            <ac:inkMk id="54" creationId="{89A15ACF-4DE2-FEEE-75CD-C8EB6FEA1CDE}"/>
          </ac:inkMkLst>
        </pc:inkChg>
        <pc:inkChg chg="add del mod">
          <ac:chgData name="Aniket Chhabra" userId="598e0514-bef3-4e71-b6aa-f2edd6441cff" providerId="ADAL" clId="{A0F7D543-B727-034C-88B5-8F838AD07213}" dt="2022-09-10T08:21:00.023" v="678"/>
          <ac:inkMkLst>
            <pc:docMk/>
            <pc:sldMk cId="1370836176" sldId="285"/>
            <ac:inkMk id="55" creationId="{443EF155-04DA-FBE5-D01C-B4C49F5C1670}"/>
          </ac:inkMkLst>
        </pc:inkChg>
        <pc:inkChg chg="add del mod">
          <ac:chgData name="Aniket Chhabra" userId="598e0514-bef3-4e71-b6aa-f2edd6441cff" providerId="ADAL" clId="{A0F7D543-B727-034C-88B5-8F838AD07213}" dt="2022-09-10T08:21:00.023" v="682"/>
          <ac:inkMkLst>
            <pc:docMk/>
            <pc:sldMk cId="1370836176" sldId="285"/>
            <ac:inkMk id="56" creationId="{3A536FF2-347B-4FF2-9543-9BBC7A4F0F79}"/>
          </ac:inkMkLst>
        </pc:inkChg>
        <pc:inkChg chg="add del mod">
          <ac:chgData name="Aniket Chhabra" userId="598e0514-bef3-4e71-b6aa-f2edd6441cff" providerId="ADAL" clId="{A0F7D543-B727-034C-88B5-8F838AD07213}" dt="2022-09-10T08:21:00.023" v="675"/>
          <ac:inkMkLst>
            <pc:docMk/>
            <pc:sldMk cId="1370836176" sldId="285"/>
            <ac:inkMk id="57" creationId="{D818301C-5BA5-BAED-B38A-4E89B14602B9}"/>
          </ac:inkMkLst>
        </pc:inkChg>
        <pc:inkChg chg="add del mod">
          <ac:chgData name="Aniket Chhabra" userId="598e0514-bef3-4e71-b6aa-f2edd6441cff" providerId="ADAL" clId="{A0F7D543-B727-034C-88B5-8F838AD07213}" dt="2022-09-10T08:21:00.021" v="663"/>
          <ac:inkMkLst>
            <pc:docMk/>
            <pc:sldMk cId="1370836176" sldId="285"/>
            <ac:inkMk id="58" creationId="{05A7F48A-ACAE-8DFC-D148-1C06BCF335FB}"/>
          </ac:inkMkLst>
        </pc:inkChg>
        <pc:inkChg chg="add del mod">
          <ac:chgData name="Aniket Chhabra" userId="598e0514-bef3-4e71-b6aa-f2edd6441cff" providerId="ADAL" clId="{A0F7D543-B727-034C-88B5-8F838AD07213}" dt="2022-09-10T08:21:00.022" v="674"/>
          <ac:inkMkLst>
            <pc:docMk/>
            <pc:sldMk cId="1370836176" sldId="285"/>
            <ac:inkMk id="59" creationId="{15044B0C-DFCF-5B1C-73DA-5613168EEF62}"/>
          </ac:inkMkLst>
        </pc:inkChg>
        <pc:inkChg chg="add del mod">
          <ac:chgData name="Aniket Chhabra" userId="598e0514-bef3-4e71-b6aa-f2edd6441cff" providerId="ADAL" clId="{A0F7D543-B727-034C-88B5-8F838AD07213}" dt="2022-09-24T05:23:46.405" v="1772"/>
          <ac:inkMkLst>
            <pc:docMk/>
            <pc:sldMk cId="1370836176" sldId="285"/>
            <ac:inkMk id="60" creationId="{82DE1E41-0518-0307-0438-F5DD1E4E6C10}"/>
          </ac:inkMkLst>
        </pc:inkChg>
        <pc:inkChg chg="add del mod">
          <ac:chgData name="Aniket Chhabra" userId="598e0514-bef3-4e71-b6aa-f2edd6441cff" providerId="ADAL" clId="{A0F7D543-B727-034C-88B5-8F838AD07213}" dt="2022-09-10T08:21:00.021" v="665"/>
          <ac:inkMkLst>
            <pc:docMk/>
            <pc:sldMk cId="1370836176" sldId="285"/>
            <ac:inkMk id="61" creationId="{FE705639-1D66-EC70-2878-ED7ED69BB0AD}"/>
          </ac:inkMkLst>
        </pc:inkChg>
        <pc:inkChg chg="add del mod">
          <ac:chgData name="Aniket Chhabra" userId="598e0514-bef3-4e71-b6aa-f2edd6441cff" providerId="ADAL" clId="{A0F7D543-B727-034C-88B5-8F838AD07213}" dt="2022-09-10T08:21:00.021" v="666"/>
          <ac:inkMkLst>
            <pc:docMk/>
            <pc:sldMk cId="1370836176" sldId="285"/>
            <ac:inkMk id="62" creationId="{262D9E63-252D-D758-2008-E8FF9665290F}"/>
          </ac:inkMkLst>
        </pc:inkChg>
        <pc:inkChg chg="add del mod">
          <ac:chgData name="Aniket Chhabra" userId="598e0514-bef3-4e71-b6aa-f2edd6441cff" providerId="ADAL" clId="{A0F7D543-B727-034C-88B5-8F838AD07213}" dt="2022-09-10T08:21:00.021" v="667"/>
          <ac:inkMkLst>
            <pc:docMk/>
            <pc:sldMk cId="1370836176" sldId="285"/>
            <ac:inkMk id="63" creationId="{1287D9AD-B2B8-8882-284C-99F22A7708F1}"/>
          </ac:inkMkLst>
        </pc:inkChg>
        <pc:inkChg chg="add del mod">
          <ac:chgData name="Aniket Chhabra" userId="598e0514-bef3-4e71-b6aa-f2edd6441cff" providerId="ADAL" clId="{A0F7D543-B727-034C-88B5-8F838AD07213}" dt="2022-09-10T08:21:00.021" v="662"/>
          <ac:inkMkLst>
            <pc:docMk/>
            <pc:sldMk cId="1370836176" sldId="285"/>
            <ac:inkMk id="64" creationId="{99B44284-5224-4194-5A9A-CC4963732220}"/>
          </ac:inkMkLst>
        </pc:inkChg>
        <pc:inkChg chg="add del mod">
          <ac:chgData name="Aniket Chhabra" userId="598e0514-bef3-4e71-b6aa-f2edd6441cff" providerId="ADAL" clId="{A0F7D543-B727-034C-88B5-8F838AD07213}" dt="2022-09-10T08:21:00.020" v="656"/>
          <ac:inkMkLst>
            <pc:docMk/>
            <pc:sldMk cId="1370836176" sldId="285"/>
            <ac:inkMk id="65" creationId="{8E4A1546-E418-DF1F-D4EF-975249FBE5A6}"/>
          </ac:inkMkLst>
        </pc:inkChg>
        <pc:inkChg chg="add del mod">
          <ac:chgData name="Aniket Chhabra" userId="598e0514-bef3-4e71-b6aa-f2edd6441cff" providerId="ADAL" clId="{A0F7D543-B727-034C-88B5-8F838AD07213}" dt="2022-09-10T08:21:00.022" v="669"/>
          <ac:inkMkLst>
            <pc:docMk/>
            <pc:sldMk cId="1370836176" sldId="285"/>
            <ac:inkMk id="66" creationId="{BD61A543-EA82-7771-AAE3-8111C676E34C}"/>
          </ac:inkMkLst>
        </pc:inkChg>
        <pc:inkChg chg="add del mod">
          <ac:chgData name="Aniket Chhabra" userId="598e0514-bef3-4e71-b6aa-f2edd6441cff" providerId="ADAL" clId="{A0F7D543-B727-034C-88B5-8F838AD07213}" dt="2022-09-10T08:21:00.024" v="684"/>
          <ac:inkMkLst>
            <pc:docMk/>
            <pc:sldMk cId="1370836176" sldId="285"/>
            <ac:inkMk id="67" creationId="{2F63A024-D002-3CE3-FAAF-2B3EFEAA74CD}"/>
          </ac:inkMkLst>
        </pc:inkChg>
        <pc:inkChg chg="add del mod">
          <ac:chgData name="Aniket Chhabra" userId="598e0514-bef3-4e71-b6aa-f2edd6441cff" providerId="ADAL" clId="{A0F7D543-B727-034C-88B5-8F838AD07213}" dt="2022-09-10T08:21:00.022" v="672"/>
          <ac:inkMkLst>
            <pc:docMk/>
            <pc:sldMk cId="1370836176" sldId="285"/>
            <ac:inkMk id="68" creationId="{CA6A009C-45C4-9A04-0D3F-F13DB0BBCBD3}"/>
          </ac:inkMkLst>
        </pc:inkChg>
        <pc:inkChg chg="add del mod">
          <ac:chgData name="Aniket Chhabra" userId="598e0514-bef3-4e71-b6aa-f2edd6441cff" providerId="ADAL" clId="{A0F7D543-B727-034C-88B5-8F838AD07213}" dt="2022-09-10T08:21:00.020" v="661"/>
          <ac:inkMkLst>
            <pc:docMk/>
            <pc:sldMk cId="1370836176" sldId="285"/>
            <ac:inkMk id="69" creationId="{46526D0B-5B8D-5018-5710-D40FEA9A2E6A}"/>
          </ac:inkMkLst>
        </pc:inkChg>
        <pc:inkChg chg="add del mod">
          <ac:chgData name="Aniket Chhabra" userId="598e0514-bef3-4e71-b6aa-f2edd6441cff" providerId="ADAL" clId="{A0F7D543-B727-034C-88B5-8F838AD07213}" dt="2022-09-10T08:21:00.024" v="685"/>
          <ac:inkMkLst>
            <pc:docMk/>
            <pc:sldMk cId="1370836176" sldId="285"/>
            <ac:inkMk id="70" creationId="{38476E16-0BA2-8624-D708-BEA63871865C}"/>
          </ac:inkMkLst>
        </pc:inkChg>
        <pc:inkChg chg="add del">
          <ac:chgData name="Aniket Chhabra" userId="598e0514-bef3-4e71-b6aa-f2edd6441cff" providerId="ADAL" clId="{A0F7D543-B727-034C-88B5-8F838AD07213}" dt="2022-09-10T08:21:00.019" v="651"/>
          <ac:inkMkLst>
            <pc:docMk/>
            <pc:sldMk cId="1370836176" sldId="285"/>
            <ac:inkMk id="73" creationId="{9C0BD6C0-F255-5BF3-59A5-9FCB13EE9DA1}"/>
          </ac:inkMkLst>
        </pc:inkChg>
        <pc:inkChg chg="add del">
          <ac:chgData name="Aniket Chhabra" userId="598e0514-bef3-4e71-b6aa-f2edd6441cff" providerId="ADAL" clId="{A0F7D543-B727-034C-88B5-8F838AD07213}" dt="2022-09-10T08:20:48.991" v="635"/>
          <ac:inkMkLst>
            <pc:docMk/>
            <pc:sldMk cId="1370836176" sldId="285"/>
            <ac:inkMk id="74" creationId="{40AF0FF9-F24A-75CD-1CBE-20CCC1B1CC84}"/>
          </ac:inkMkLst>
        </pc:inkChg>
        <pc:inkChg chg="add del mod">
          <ac:chgData name="Aniket Chhabra" userId="598e0514-bef3-4e71-b6aa-f2edd6441cff" providerId="ADAL" clId="{A0F7D543-B727-034C-88B5-8F838AD07213}" dt="2022-09-10T08:21:00.020" v="655"/>
          <ac:inkMkLst>
            <pc:docMk/>
            <pc:sldMk cId="1370836176" sldId="285"/>
            <ac:inkMk id="75" creationId="{8B17CD90-728F-3189-5B38-E9E4BD11BF05}"/>
          </ac:inkMkLst>
        </pc:inkChg>
        <pc:inkChg chg="add del mod">
          <ac:chgData name="Aniket Chhabra" userId="598e0514-bef3-4e71-b6aa-f2edd6441cff" providerId="ADAL" clId="{A0F7D543-B727-034C-88B5-8F838AD07213}" dt="2022-09-10T08:21:00.022" v="670"/>
          <ac:inkMkLst>
            <pc:docMk/>
            <pc:sldMk cId="1370836176" sldId="285"/>
            <ac:inkMk id="76" creationId="{8C45EF57-E3FE-73D3-1FA2-4874C974E214}"/>
          </ac:inkMkLst>
        </pc:inkChg>
        <pc:inkChg chg="add del mod">
          <ac:chgData name="Aniket Chhabra" userId="598e0514-bef3-4e71-b6aa-f2edd6441cff" providerId="ADAL" clId="{A0F7D543-B727-034C-88B5-8F838AD07213}" dt="2022-09-10T08:21:00.023" v="676"/>
          <ac:inkMkLst>
            <pc:docMk/>
            <pc:sldMk cId="1370836176" sldId="285"/>
            <ac:inkMk id="77" creationId="{0358EB7C-4EE4-0A3D-0B53-CB37F73C46F9}"/>
          </ac:inkMkLst>
        </pc:inkChg>
        <pc:inkChg chg="add del mod">
          <ac:chgData name="Aniket Chhabra" userId="598e0514-bef3-4e71-b6aa-f2edd6441cff" providerId="ADAL" clId="{A0F7D543-B727-034C-88B5-8F838AD07213}" dt="2022-09-10T08:21:00.023" v="681"/>
          <ac:inkMkLst>
            <pc:docMk/>
            <pc:sldMk cId="1370836176" sldId="285"/>
            <ac:inkMk id="78" creationId="{D241D612-9AB6-F9F3-EC58-4D5C83D4F3CB}"/>
          </ac:inkMkLst>
        </pc:inkChg>
        <pc:inkChg chg="add del mod">
          <ac:chgData name="Aniket Chhabra" userId="598e0514-bef3-4e71-b6aa-f2edd6441cff" providerId="ADAL" clId="{A0F7D543-B727-034C-88B5-8F838AD07213}" dt="2022-09-10T08:21:00.019" v="650"/>
          <ac:inkMkLst>
            <pc:docMk/>
            <pc:sldMk cId="1370836176" sldId="285"/>
            <ac:inkMk id="79" creationId="{CB9BE4E4-811F-EB56-19DE-5118B006792F}"/>
          </ac:inkMkLst>
        </pc:inkChg>
        <pc:inkChg chg="add del mod">
          <ac:chgData name="Aniket Chhabra" userId="598e0514-bef3-4e71-b6aa-f2edd6441cff" providerId="ADAL" clId="{A0F7D543-B727-034C-88B5-8F838AD07213}" dt="2022-09-10T08:21:00.019" v="654"/>
          <ac:inkMkLst>
            <pc:docMk/>
            <pc:sldMk cId="1370836176" sldId="285"/>
            <ac:inkMk id="80" creationId="{475413B7-7DC7-030D-A988-D31A86091D71}"/>
          </ac:inkMkLst>
        </pc:inkChg>
        <pc:inkChg chg="add del mod">
          <ac:chgData name="Aniket Chhabra" userId="598e0514-bef3-4e71-b6aa-f2edd6441cff" providerId="ADAL" clId="{A0F7D543-B727-034C-88B5-8F838AD07213}" dt="2022-09-10T08:21:00.019" v="653"/>
          <ac:inkMkLst>
            <pc:docMk/>
            <pc:sldMk cId="1370836176" sldId="285"/>
            <ac:inkMk id="81" creationId="{38E7142A-6F88-18E2-A5AD-04E09871CAA7}"/>
          </ac:inkMkLst>
        </pc:inkChg>
        <pc:inkChg chg="add del mod">
          <ac:chgData name="Aniket Chhabra" userId="598e0514-bef3-4e71-b6aa-f2edd6441cff" providerId="ADAL" clId="{A0F7D543-B727-034C-88B5-8F838AD07213}" dt="2022-09-10T08:21:00.018" v="646"/>
          <ac:inkMkLst>
            <pc:docMk/>
            <pc:sldMk cId="1370836176" sldId="285"/>
            <ac:inkMk id="82" creationId="{6703941C-D39A-0779-D466-1A44DF7E50FC}"/>
          </ac:inkMkLst>
        </pc:inkChg>
        <pc:inkChg chg="add del mod">
          <ac:chgData name="Aniket Chhabra" userId="598e0514-bef3-4e71-b6aa-f2edd6441cff" providerId="ADAL" clId="{A0F7D543-B727-034C-88B5-8F838AD07213}" dt="2022-09-10T08:21:00.021" v="664"/>
          <ac:inkMkLst>
            <pc:docMk/>
            <pc:sldMk cId="1370836176" sldId="285"/>
            <ac:inkMk id="83" creationId="{9188605F-9CDD-95DE-7F65-77FF913CC0F6}"/>
          </ac:inkMkLst>
        </pc:inkChg>
        <pc:inkChg chg="add del">
          <ac:chgData name="Aniket Chhabra" userId="598e0514-bef3-4e71-b6aa-f2edd6441cff" providerId="ADAL" clId="{A0F7D543-B727-034C-88B5-8F838AD07213}" dt="2022-09-10T08:20:52.670" v="645"/>
          <ac:inkMkLst>
            <pc:docMk/>
            <pc:sldMk cId="1370836176" sldId="285"/>
            <ac:inkMk id="85" creationId="{CF41997C-C006-4A11-EFFA-4BCA1CF85A49}"/>
          </ac:inkMkLst>
        </pc:inkChg>
        <pc:inkChg chg="add del">
          <ac:chgData name="Aniket Chhabra" userId="598e0514-bef3-4e71-b6aa-f2edd6441cff" providerId="ADAL" clId="{A0F7D543-B727-034C-88B5-8F838AD07213}" dt="2022-09-10T08:20:52.670" v="644"/>
          <ac:inkMkLst>
            <pc:docMk/>
            <pc:sldMk cId="1370836176" sldId="285"/>
            <ac:inkMk id="86" creationId="{E396C36E-EAFA-F28D-E20B-B15889357A3E}"/>
          </ac:inkMkLst>
        </pc:inkChg>
        <pc:inkChg chg="add del">
          <ac:chgData name="Aniket Chhabra" userId="598e0514-bef3-4e71-b6aa-f2edd6441cff" providerId="ADAL" clId="{A0F7D543-B727-034C-88B5-8F838AD07213}" dt="2022-09-10T08:20:48.991" v="633"/>
          <ac:inkMkLst>
            <pc:docMk/>
            <pc:sldMk cId="1370836176" sldId="285"/>
            <ac:inkMk id="87" creationId="{B89DB825-4737-9EEB-61B0-A0A1D92B7F54}"/>
          </ac:inkMkLst>
        </pc:inkChg>
        <pc:inkChg chg="add del mod">
          <ac:chgData name="Aniket Chhabra" userId="598e0514-bef3-4e71-b6aa-f2edd6441cff" providerId="ADAL" clId="{A0F7D543-B727-034C-88B5-8F838AD07213}" dt="2022-09-24T05:23:46.405" v="1772"/>
          <ac:inkMkLst>
            <pc:docMk/>
            <pc:sldMk cId="1370836176" sldId="285"/>
            <ac:inkMk id="88" creationId="{5E2A87FE-29DC-1D92-D5E5-2A3B59DD1D8C}"/>
          </ac:inkMkLst>
        </pc:inkChg>
        <pc:inkChg chg="add mod">
          <ac:chgData name="Aniket Chhabra" userId="598e0514-bef3-4e71-b6aa-f2edd6441cff" providerId="ADAL" clId="{A0F7D543-B727-034C-88B5-8F838AD07213}" dt="2022-09-24T05:23:46.405" v="1772"/>
          <ac:inkMkLst>
            <pc:docMk/>
            <pc:sldMk cId="1370836176" sldId="285"/>
            <ac:inkMk id="89" creationId="{D07233B1-9FC7-E035-5998-47070755EB34}"/>
          </ac:inkMkLst>
        </pc:inkChg>
        <pc:inkChg chg="add del mod">
          <ac:chgData name="Aniket Chhabra" userId="598e0514-bef3-4e71-b6aa-f2edd6441cff" providerId="ADAL" clId="{A0F7D543-B727-034C-88B5-8F838AD07213}" dt="2022-09-24T05:23:37.704" v="1736"/>
          <ac:inkMkLst>
            <pc:docMk/>
            <pc:sldMk cId="1370836176" sldId="285"/>
            <ac:inkMk id="91" creationId="{6E4E1D43-CF4C-B268-83E3-8522E1D90B97}"/>
          </ac:inkMkLst>
        </pc:inkChg>
        <pc:inkChg chg="add del mod">
          <ac:chgData name="Aniket Chhabra" userId="598e0514-bef3-4e71-b6aa-f2edd6441cff" providerId="ADAL" clId="{A0F7D543-B727-034C-88B5-8F838AD07213}" dt="2022-09-24T05:23:37.704" v="1736"/>
          <ac:inkMkLst>
            <pc:docMk/>
            <pc:sldMk cId="1370836176" sldId="285"/>
            <ac:inkMk id="92" creationId="{AFBDCA3A-C8F4-8221-6471-91955AC1BF5C}"/>
          </ac:inkMkLst>
        </pc:inkChg>
        <pc:inkChg chg="add del mod">
          <ac:chgData name="Aniket Chhabra" userId="598e0514-bef3-4e71-b6aa-f2edd6441cff" providerId="ADAL" clId="{A0F7D543-B727-034C-88B5-8F838AD07213}" dt="2022-09-24T05:23:37.704" v="1736"/>
          <ac:inkMkLst>
            <pc:docMk/>
            <pc:sldMk cId="1370836176" sldId="285"/>
            <ac:inkMk id="93" creationId="{F2F7F076-CB57-9AC8-96BD-54BF2B4ABC2D}"/>
          </ac:inkMkLst>
        </pc:inkChg>
        <pc:inkChg chg="add del mod">
          <ac:chgData name="Aniket Chhabra" userId="598e0514-bef3-4e71-b6aa-f2edd6441cff" providerId="ADAL" clId="{A0F7D543-B727-034C-88B5-8F838AD07213}" dt="2022-09-24T05:23:37.704" v="1736"/>
          <ac:inkMkLst>
            <pc:docMk/>
            <pc:sldMk cId="1370836176" sldId="285"/>
            <ac:inkMk id="94" creationId="{B514A156-DC61-217F-9055-EB904CBFC057}"/>
          </ac:inkMkLst>
        </pc:inkChg>
        <pc:inkChg chg="add del mod">
          <ac:chgData name="Aniket Chhabra" userId="598e0514-bef3-4e71-b6aa-f2edd6441cff" providerId="ADAL" clId="{A0F7D543-B727-034C-88B5-8F838AD07213}" dt="2022-09-24T05:23:37.704" v="1736"/>
          <ac:inkMkLst>
            <pc:docMk/>
            <pc:sldMk cId="1370836176" sldId="285"/>
            <ac:inkMk id="95" creationId="{F32D6D83-30D2-77BC-08AE-7A6281B6E973}"/>
          </ac:inkMkLst>
        </pc:inkChg>
        <pc:inkChg chg="add del mod">
          <ac:chgData name="Aniket Chhabra" userId="598e0514-bef3-4e71-b6aa-f2edd6441cff" providerId="ADAL" clId="{A0F7D543-B727-034C-88B5-8F838AD07213}" dt="2022-09-24T05:23:37.704" v="1736"/>
          <ac:inkMkLst>
            <pc:docMk/>
            <pc:sldMk cId="1370836176" sldId="285"/>
            <ac:inkMk id="96" creationId="{6A6A3833-AD4C-4383-A4D4-F497135DF5FD}"/>
          </ac:inkMkLst>
        </pc:inkChg>
        <pc:inkChg chg="add del mod">
          <ac:chgData name="Aniket Chhabra" userId="598e0514-bef3-4e71-b6aa-f2edd6441cff" providerId="ADAL" clId="{A0F7D543-B727-034C-88B5-8F838AD07213}" dt="2022-09-24T05:23:37.704" v="1736"/>
          <ac:inkMkLst>
            <pc:docMk/>
            <pc:sldMk cId="1370836176" sldId="285"/>
            <ac:inkMk id="97" creationId="{20F4BFD5-5781-095B-B72A-78F963704CE3}"/>
          </ac:inkMkLst>
        </pc:inkChg>
        <pc:inkChg chg="add del mod">
          <ac:chgData name="Aniket Chhabra" userId="598e0514-bef3-4e71-b6aa-f2edd6441cff" providerId="ADAL" clId="{A0F7D543-B727-034C-88B5-8F838AD07213}" dt="2022-09-24T05:23:37.704" v="1736"/>
          <ac:inkMkLst>
            <pc:docMk/>
            <pc:sldMk cId="1370836176" sldId="285"/>
            <ac:inkMk id="98" creationId="{AD79D38C-5768-01E0-2D04-10E35161DDAF}"/>
          </ac:inkMkLst>
        </pc:inkChg>
        <pc:inkChg chg="add mod">
          <ac:chgData name="Aniket Chhabra" userId="598e0514-bef3-4e71-b6aa-f2edd6441cff" providerId="ADAL" clId="{A0F7D543-B727-034C-88B5-8F838AD07213}" dt="2022-09-10T08:21:23.061" v="709"/>
          <ac:inkMkLst>
            <pc:docMk/>
            <pc:sldMk cId="1370836176" sldId="285"/>
            <ac:inkMk id="100" creationId="{92635B0D-781D-03F9-DC51-A638BFDC6988}"/>
          </ac:inkMkLst>
        </pc:inkChg>
        <pc:inkChg chg="add mod">
          <ac:chgData name="Aniket Chhabra" userId="598e0514-bef3-4e71-b6aa-f2edd6441cff" providerId="ADAL" clId="{A0F7D543-B727-034C-88B5-8F838AD07213}" dt="2022-09-10T08:21:23.061" v="709"/>
          <ac:inkMkLst>
            <pc:docMk/>
            <pc:sldMk cId="1370836176" sldId="285"/>
            <ac:inkMk id="101" creationId="{E87ADDE2-57BB-BB07-970A-62F63F530285}"/>
          </ac:inkMkLst>
        </pc:inkChg>
        <pc:inkChg chg="add">
          <ac:chgData name="Aniket Chhabra" userId="598e0514-bef3-4e71-b6aa-f2edd6441cff" providerId="ADAL" clId="{A0F7D543-B727-034C-88B5-8F838AD07213}" dt="2022-09-10T08:21:22.252" v="707" actId="9405"/>
          <ac:inkMkLst>
            <pc:docMk/>
            <pc:sldMk cId="1370836176" sldId="285"/>
            <ac:inkMk id="102" creationId="{77ABA1EF-3516-E67C-5BCA-F234A113D3AB}"/>
          </ac:inkMkLst>
        </pc:inkChg>
        <pc:inkChg chg="add">
          <ac:chgData name="Aniket Chhabra" userId="598e0514-bef3-4e71-b6aa-f2edd6441cff" providerId="ADAL" clId="{A0F7D543-B727-034C-88B5-8F838AD07213}" dt="2022-09-10T08:21:22.422" v="708" actId="9405"/>
          <ac:inkMkLst>
            <pc:docMk/>
            <pc:sldMk cId="1370836176" sldId="285"/>
            <ac:inkMk id="103" creationId="{14DBFCFD-F048-A5F4-03B9-1CACB6F5E9C4}"/>
          </ac:inkMkLst>
        </pc:inkChg>
        <pc:inkChg chg="add del mod">
          <ac:chgData name="Aniket Chhabra" userId="598e0514-bef3-4e71-b6aa-f2edd6441cff" providerId="ADAL" clId="{A0F7D543-B727-034C-88B5-8F838AD07213}" dt="2022-09-24T05:23:37.704" v="1736"/>
          <ac:inkMkLst>
            <pc:docMk/>
            <pc:sldMk cId="1370836176" sldId="285"/>
            <ac:inkMk id="105" creationId="{567267DF-4DB3-1C77-7C6E-A9621E5EEF1F}"/>
          </ac:inkMkLst>
        </pc:inkChg>
        <pc:inkChg chg="add mod">
          <ac:chgData name="Aniket Chhabra" userId="598e0514-bef3-4e71-b6aa-f2edd6441cff" providerId="ADAL" clId="{A0F7D543-B727-034C-88B5-8F838AD07213}" dt="2022-09-24T05:23:37.704" v="1736"/>
          <ac:inkMkLst>
            <pc:docMk/>
            <pc:sldMk cId="1370836176" sldId="285"/>
            <ac:inkMk id="106" creationId="{B0762B0E-C631-310C-C0C4-B30CF623B71B}"/>
          </ac:inkMkLst>
        </pc:inkChg>
        <pc:inkChg chg="add del mod">
          <ac:chgData name="Aniket Chhabra" userId="598e0514-bef3-4e71-b6aa-f2edd6441cff" providerId="ADAL" clId="{A0F7D543-B727-034C-88B5-8F838AD07213}" dt="2022-09-24T05:23:53.451" v="1787"/>
          <ac:inkMkLst>
            <pc:docMk/>
            <pc:sldMk cId="1370836176" sldId="285"/>
            <ac:inkMk id="108" creationId="{9BB9946E-1CE8-EB0B-7D75-77DEF2B13DDA}"/>
          </ac:inkMkLst>
        </pc:inkChg>
        <pc:inkChg chg="add del mod">
          <ac:chgData name="Aniket Chhabra" userId="598e0514-bef3-4e71-b6aa-f2edd6441cff" providerId="ADAL" clId="{A0F7D543-B727-034C-88B5-8F838AD07213}" dt="2022-09-24T05:23:53.450" v="1781"/>
          <ac:inkMkLst>
            <pc:docMk/>
            <pc:sldMk cId="1370836176" sldId="285"/>
            <ac:inkMk id="109" creationId="{7699108C-1DE9-C949-608B-C436714AD939}"/>
          </ac:inkMkLst>
        </pc:inkChg>
        <pc:inkChg chg="add del mod">
          <ac:chgData name="Aniket Chhabra" userId="598e0514-bef3-4e71-b6aa-f2edd6441cff" providerId="ADAL" clId="{A0F7D543-B727-034C-88B5-8F838AD07213}" dt="2022-09-24T05:23:53.451" v="1789"/>
          <ac:inkMkLst>
            <pc:docMk/>
            <pc:sldMk cId="1370836176" sldId="285"/>
            <ac:inkMk id="110" creationId="{DD4C57AF-4BBF-A206-1331-EB1D4BF55892}"/>
          </ac:inkMkLst>
        </pc:inkChg>
        <pc:inkChg chg="add del mod">
          <ac:chgData name="Aniket Chhabra" userId="598e0514-bef3-4e71-b6aa-f2edd6441cff" providerId="ADAL" clId="{A0F7D543-B727-034C-88B5-8F838AD07213}" dt="2022-09-24T05:23:53.452" v="1792"/>
          <ac:inkMkLst>
            <pc:docMk/>
            <pc:sldMk cId="1370836176" sldId="285"/>
            <ac:inkMk id="111" creationId="{4288B5BC-F75A-533C-231F-017602B867C6}"/>
          </ac:inkMkLst>
        </pc:inkChg>
        <pc:inkChg chg="add del mod">
          <ac:chgData name="Aniket Chhabra" userId="598e0514-bef3-4e71-b6aa-f2edd6441cff" providerId="ADAL" clId="{A0F7D543-B727-034C-88B5-8F838AD07213}" dt="2022-09-24T05:23:53.453" v="1795"/>
          <ac:inkMkLst>
            <pc:docMk/>
            <pc:sldMk cId="1370836176" sldId="285"/>
            <ac:inkMk id="112" creationId="{FBC12F48-6D97-9EB6-6688-76BEEE4AEC1E}"/>
          </ac:inkMkLst>
        </pc:inkChg>
        <pc:inkChg chg="add del mod">
          <ac:chgData name="Aniket Chhabra" userId="598e0514-bef3-4e71-b6aa-f2edd6441cff" providerId="ADAL" clId="{A0F7D543-B727-034C-88B5-8F838AD07213}" dt="2022-09-24T05:23:53.449" v="1779"/>
          <ac:inkMkLst>
            <pc:docMk/>
            <pc:sldMk cId="1370836176" sldId="285"/>
            <ac:inkMk id="113" creationId="{9A02DD61-2BE6-4957-1378-1BC4293C60C2}"/>
          </ac:inkMkLst>
        </pc:inkChg>
        <pc:inkChg chg="add del mod">
          <ac:chgData name="Aniket Chhabra" userId="598e0514-bef3-4e71-b6aa-f2edd6441cff" providerId="ADAL" clId="{A0F7D543-B727-034C-88B5-8F838AD07213}" dt="2022-09-24T05:23:53.455" v="1809"/>
          <ac:inkMkLst>
            <pc:docMk/>
            <pc:sldMk cId="1370836176" sldId="285"/>
            <ac:inkMk id="114" creationId="{661586A3-2F38-29A0-1C07-9BEF2B4DECA3}"/>
          </ac:inkMkLst>
        </pc:inkChg>
        <pc:inkChg chg="add del mod">
          <ac:chgData name="Aniket Chhabra" userId="598e0514-bef3-4e71-b6aa-f2edd6441cff" providerId="ADAL" clId="{A0F7D543-B727-034C-88B5-8F838AD07213}" dt="2022-09-24T05:23:53.453" v="1797"/>
          <ac:inkMkLst>
            <pc:docMk/>
            <pc:sldMk cId="1370836176" sldId="285"/>
            <ac:inkMk id="115" creationId="{3FD67370-95B5-0F57-FD82-105B4846D2AF}"/>
          </ac:inkMkLst>
        </pc:inkChg>
        <pc:inkChg chg="add del mod">
          <ac:chgData name="Aniket Chhabra" userId="598e0514-bef3-4e71-b6aa-f2edd6441cff" providerId="ADAL" clId="{A0F7D543-B727-034C-88B5-8F838AD07213}" dt="2022-09-24T05:23:53.451" v="1786"/>
          <ac:inkMkLst>
            <pc:docMk/>
            <pc:sldMk cId="1370836176" sldId="285"/>
            <ac:inkMk id="116" creationId="{66FCF055-B59E-FB98-D2CF-99B3F9C76DE1}"/>
          </ac:inkMkLst>
        </pc:inkChg>
        <pc:inkChg chg="add del mod">
          <ac:chgData name="Aniket Chhabra" userId="598e0514-bef3-4e71-b6aa-f2edd6441cff" providerId="ADAL" clId="{A0F7D543-B727-034C-88B5-8F838AD07213}" dt="2022-09-24T05:23:53.449" v="1778"/>
          <ac:inkMkLst>
            <pc:docMk/>
            <pc:sldMk cId="1370836176" sldId="285"/>
            <ac:inkMk id="117" creationId="{EB20C2AE-FAAC-3178-E27D-58BEA0021A88}"/>
          </ac:inkMkLst>
        </pc:inkChg>
        <pc:inkChg chg="add del mod">
          <ac:chgData name="Aniket Chhabra" userId="598e0514-bef3-4e71-b6aa-f2edd6441cff" providerId="ADAL" clId="{A0F7D543-B727-034C-88B5-8F838AD07213}" dt="2022-09-24T05:23:53.452" v="1791"/>
          <ac:inkMkLst>
            <pc:docMk/>
            <pc:sldMk cId="1370836176" sldId="285"/>
            <ac:inkMk id="118" creationId="{2E00EAA8-476F-422B-17C2-16977EF45216}"/>
          </ac:inkMkLst>
        </pc:inkChg>
        <pc:inkChg chg="add del mod">
          <ac:chgData name="Aniket Chhabra" userId="598e0514-bef3-4e71-b6aa-f2edd6441cff" providerId="ADAL" clId="{A0F7D543-B727-034C-88B5-8F838AD07213}" dt="2022-09-24T05:23:53.448" v="1775"/>
          <ac:inkMkLst>
            <pc:docMk/>
            <pc:sldMk cId="1370836176" sldId="285"/>
            <ac:inkMk id="120" creationId="{D0431229-F9A3-0EBC-EB7E-A74DD57790D5}"/>
          </ac:inkMkLst>
        </pc:inkChg>
        <pc:inkChg chg="add del mod">
          <ac:chgData name="Aniket Chhabra" userId="598e0514-bef3-4e71-b6aa-f2edd6441cff" providerId="ADAL" clId="{A0F7D543-B727-034C-88B5-8F838AD07213}" dt="2022-09-24T05:23:53.454" v="1800"/>
          <ac:inkMkLst>
            <pc:docMk/>
            <pc:sldMk cId="1370836176" sldId="285"/>
            <ac:inkMk id="121" creationId="{6311AC8E-8AD5-D2A3-D3A2-9B0111AFC320}"/>
          </ac:inkMkLst>
        </pc:inkChg>
        <pc:inkChg chg="add del mod">
          <ac:chgData name="Aniket Chhabra" userId="598e0514-bef3-4e71-b6aa-f2edd6441cff" providerId="ADAL" clId="{A0F7D543-B727-034C-88B5-8F838AD07213}" dt="2022-09-24T05:23:53.455" v="1808"/>
          <ac:inkMkLst>
            <pc:docMk/>
            <pc:sldMk cId="1370836176" sldId="285"/>
            <ac:inkMk id="122" creationId="{774674B1-DD42-FD31-80BA-25E91CDAC417}"/>
          </ac:inkMkLst>
        </pc:inkChg>
        <pc:inkChg chg="add del mod">
          <ac:chgData name="Aniket Chhabra" userId="598e0514-bef3-4e71-b6aa-f2edd6441cff" providerId="ADAL" clId="{A0F7D543-B727-034C-88B5-8F838AD07213}" dt="2022-09-24T05:23:53.452" v="1790"/>
          <ac:inkMkLst>
            <pc:docMk/>
            <pc:sldMk cId="1370836176" sldId="285"/>
            <ac:inkMk id="123" creationId="{272BCE14-10FE-2E76-C8ED-082F36F861DF}"/>
          </ac:inkMkLst>
        </pc:inkChg>
        <pc:inkChg chg="add del mod">
          <ac:chgData name="Aniket Chhabra" userId="598e0514-bef3-4e71-b6aa-f2edd6441cff" providerId="ADAL" clId="{A0F7D543-B727-034C-88B5-8F838AD07213}" dt="2022-09-24T05:23:56.661" v="1811"/>
          <ac:inkMkLst>
            <pc:docMk/>
            <pc:sldMk cId="1370836176" sldId="285"/>
            <ac:inkMk id="126" creationId="{0D0ACD89-FE39-5FD6-19C0-BBE1B3D3A163}"/>
          </ac:inkMkLst>
        </pc:inkChg>
        <pc:inkChg chg="add del mod">
          <ac:chgData name="Aniket Chhabra" userId="598e0514-bef3-4e71-b6aa-f2edd6441cff" providerId="ADAL" clId="{A0F7D543-B727-034C-88B5-8F838AD07213}" dt="2022-09-24T05:23:56.660" v="1810"/>
          <ac:inkMkLst>
            <pc:docMk/>
            <pc:sldMk cId="1370836176" sldId="285"/>
            <ac:inkMk id="127" creationId="{0EFDDC79-C78C-702A-AFFF-25AED05B74A8}"/>
          </ac:inkMkLst>
        </pc:inkChg>
        <pc:inkChg chg="add del mod">
          <ac:chgData name="Aniket Chhabra" userId="598e0514-bef3-4e71-b6aa-f2edd6441cff" providerId="ADAL" clId="{A0F7D543-B727-034C-88B5-8F838AD07213}" dt="2022-09-24T05:23:56.662" v="1814"/>
          <ac:inkMkLst>
            <pc:docMk/>
            <pc:sldMk cId="1370836176" sldId="285"/>
            <ac:inkMk id="128" creationId="{AD4A80B5-8053-7C89-2E40-2E809BE455BD}"/>
          </ac:inkMkLst>
        </pc:inkChg>
        <pc:inkChg chg="add del mod">
          <ac:chgData name="Aniket Chhabra" userId="598e0514-bef3-4e71-b6aa-f2edd6441cff" providerId="ADAL" clId="{A0F7D543-B727-034C-88B5-8F838AD07213}" dt="2022-09-24T05:23:53.448" v="1774"/>
          <ac:inkMkLst>
            <pc:docMk/>
            <pc:sldMk cId="1370836176" sldId="285"/>
            <ac:inkMk id="129" creationId="{93F30F1B-0957-9B4C-E430-1A0F15751B81}"/>
          </ac:inkMkLst>
        </pc:inkChg>
        <pc:inkChg chg="add del mod">
          <ac:chgData name="Aniket Chhabra" userId="598e0514-bef3-4e71-b6aa-f2edd6441cff" providerId="ADAL" clId="{A0F7D543-B727-034C-88B5-8F838AD07213}" dt="2022-09-24T05:23:53.452" v="1794"/>
          <ac:inkMkLst>
            <pc:docMk/>
            <pc:sldMk cId="1370836176" sldId="285"/>
            <ac:inkMk id="130" creationId="{D807F921-6F90-FC52-17BD-7FCA459822AC}"/>
          </ac:inkMkLst>
        </pc:inkChg>
        <pc:inkChg chg="add del mod">
          <ac:chgData name="Aniket Chhabra" userId="598e0514-bef3-4e71-b6aa-f2edd6441cff" providerId="ADAL" clId="{A0F7D543-B727-034C-88B5-8F838AD07213}" dt="2022-09-24T05:23:53.455" v="1806"/>
          <ac:inkMkLst>
            <pc:docMk/>
            <pc:sldMk cId="1370836176" sldId="285"/>
            <ac:inkMk id="131" creationId="{9250724E-D697-8B9B-DB1C-E5694B0F6E4A}"/>
          </ac:inkMkLst>
        </pc:inkChg>
        <pc:inkChg chg="add mod">
          <ac:chgData name="Aniket Chhabra" userId="598e0514-bef3-4e71-b6aa-f2edd6441cff" providerId="ADAL" clId="{A0F7D543-B727-034C-88B5-8F838AD07213}" dt="2022-09-24T05:23:33.347" v="1729"/>
          <ac:inkMkLst>
            <pc:docMk/>
            <pc:sldMk cId="1370836176" sldId="285"/>
            <ac:inkMk id="133" creationId="{9C14C667-F8AB-3A78-6D76-99D38B005ED8}"/>
          </ac:inkMkLst>
        </pc:inkChg>
        <pc:inkChg chg="add del mod">
          <ac:chgData name="Aniket Chhabra" userId="598e0514-bef3-4e71-b6aa-f2edd6441cff" providerId="ADAL" clId="{A0F7D543-B727-034C-88B5-8F838AD07213}" dt="2022-09-24T05:23:33.347" v="1729"/>
          <ac:inkMkLst>
            <pc:docMk/>
            <pc:sldMk cId="1370836176" sldId="285"/>
            <ac:inkMk id="134" creationId="{9A53AEEA-2CD4-DBAE-3A97-8D3461C13DE7}"/>
          </ac:inkMkLst>
        </pc:inkChg>
        <pc:inkChg chg="add mod">
          <ac:chgData name="Aniket Chhabra" userId="598e0514-bef3-4e71-b6aa-f2edd6441cff" providerId="ADAL" clId="{A0F7D543-B727-034C-88B5-8F838AD07213}" dt="2022-09-24T05:23:33.347" v="1729"/>
          <ac:inkMkLst>
            <pc:docMk/>
            <pc:sldMk cId="1370836176" sldId="285"/>
            <ac:inkMk id="135" creationId="{B44DFF2E-8FDC-AE23-53B4-169EE21D64CD}"/>
          </ac:inkMkLst>
        </pc:inkChg>
        <pc:inkChg chg="add mod">
          <ac:chgData name="Aniket Chhabra" userId="598e0514-bef3-4e71-b6aa-f2edd6441cff" providerId="ADAL" clId="{A0F7D543-B727-034C-88B5-8F838AD07213}" dt="2022-09-24T05:23:33.347" v="1729"/>
          <ac:inkMkLst>
            <pc:docMk/>
            <pc:sldMk cId="1370836176" sldId="285"/>
            <ac:inkMk id="136" creationId="{3CCE31FF-3885-04DE-D58F-BA2F3C400D9B}"/>
          </ac:inkMkLst>
        </pc:inkChg>
        <pc:inkChg chg="add mod">
          <ac:chgData name="Aniket Chhabra" userId="598e0514-bef3-4e71-b6aa-f2edd6441cff" providerId="ADAL" clId="{A0F7D543-B727-034C-88B5-8F838AD07213}" dt="2022-09-24T05:23:33.347" v="1729"/>
          <ac:inkMkLst>
            <pc:docMk/>
            <pc:sldMk cId="1370836176" sldId="285"/>
            <ac:inkMk id="137" creationId="{1711122F-018E-3BFD-9A9F-3ADCCE272FAE}"/>
          </ac:inkMkLst>
        </pc:inkChg>
        <pc:inkChg chg="add mod">
          <ac:chgData name="Aniket Chhabra" userId="598e0514-bef3-4e71-b6aa-f2edd6441cff" providerId="ADAL" clId="{A0F7D543-B727-034C-88B5-8F838AD07213}" dt="2022-09-24T05:23:33.347" v="1729"/>
          <ac:inkMkLst>
            <pc:docMk/>
            <pc:sldMk cId="1370836176" sldId="285"/>
            <ac:inkMk id="139" creationId="{F7D5CABB-4DA6-1DD8-1369-7384610B0F52}"/>
          </ac:inkMkLst>
        </pc:inkChg>
        <pc:inkChg chg="add mod">
          <ac:chgData name="Aniket Chhabra" userId="598e0514-bef3-4e71-b6aa-f2edd6441cff" providerId="ADAL" clId="{A0F7D543-B727-034C-88B5-8F838AD07213}" dt="2022-09-24T05:23:33.347" v="1729"/>
          <ac:inkMkLst>
            <pc:docMk/>
            <pc:sldMk cId="1370836176" sldId="285"/>
            <ac:inkMk id="140" creationId="{DF253A46-1C5A-4FF1-96E3-371E3AD3F4C5}"/>
          </ac:inkMkLst>
        </pc:inkChg>
        <pc:inkChg chg="add mod">
          <ac:chgData name="Aniket Chhabra" userId="598e0514-bef3-4e71-b6aa-f2edd6441cff" providerId="ADAL" clId="{A0F7D543-B727-034C-88B5-8F838AD07213}" dt="2022-09-24T05:23:33.347" v="1729"/>
          <ac:inkMkLst>
            <pc:docMk/>
            <pc:sldMk cId="1370836176" sldId="285"/>
            <ac:inkMk id="141" creationId="{FC9A379F-E81F-F278-7412-2621A47194E3}"/>
          </ac:inkMkLst>
        </pc:inkChg>
        <pc:inkChg chg="add mod">
          <ac:chgData name="Aniket Chhabra" userId="598e0514-bef3-4e71-b6aa-f2edd6441cff" providerId="ADAL" clId="{A0F7D543-B727-034C-88B5-8F838AD07213}" dt="2022-09-24T05:23:33.347" v="1729"/>
          <ac:inkMkLst>
            <pc:docMk/>
            <pc:sldMk cId="1370836176" sldId="285"/>
            <ac:inkMk id="142" creationId="{EE504BAA-BF71-3EF2-89B8-963FF6FF59B9}"/>
          </ac:inkMkLst>
        </pc:inkChg>
        <pc:inkChg chg="add del mod">
          <ac:chgData name="Aniket Chhabra" userId="598e0514-bef3-4e71-b6aa-f2edd6441cff" providerId="ADAL" clId="{A0F7D543-B727-034C-88B5-8F838AD07213}" dt="2022-09-24T05:23:53.450" v="1783"/>
          <ac:inkMkLst>
            <pc:docMk/>
            <pc:sldMk cId="1370836176" sldId="285"/>
            <ac:inkMk id="144" creationId="{C301580A-07EA-8E18-EA10-8A156C54065A}"/>
          </ac:inkMkLst>
        </pc:inkChg>
        <pc:inkChg chg="add del mod">
          <ac:chgData name="Aniket Chhabra" userId="598e0514-bef3-4e71-b6aa-f2edd6441cff" providerId="ADAL" clId="{A0F7D543-B727-034C-88B5-8F838AD07213}" dt="2022-09-24T05:23:53.454" v="1802"/>
          <ac:inkMkLst>
            <pc:docMk/>
            <pc:sldMk cId="1370836176" sldId="285"/>
            <ac:inkMk id="145" creationId="{EF1970D4-2AD7-617F-07FF-795F8DBDF023}"/>
          </ac:inkMkLst>
        </pc:inkChg>
        <pc:inkChg chg="add del mod">
          <ac:chgData name="Aniket Chhabra" userId="598e0514-bef3-4e71-b6aa-f2edd6441cff" providerId="ADAL" clId="{A0F7D543-B727-034C-88B5-8F838AD07213}" dt="2022-09-24T05:23:53.448" v="1776"/>
          <ac:inkMkLst>
            <pc:docMk/>
            <pc:sldMk cId="1370836176" sldId="285"/>
            <ac:inkMk id="146" creationId="{8B9F88DD-6DA1-794A-D115-4732BE314AE0}"/>
          </ac:inkMkLst>
        </pc:inkChg>
        <pc:inkChg chg="add del mod">
          <ac:chgData name="Aniket Chhabra" userId="598e0514-bef3-4e71-b6aa-f2edd6441cff" providerId="ADAL" clId="{A0F7D543-B727-034C-88B5-8F838AD07213}" dt="2022-09-24T05:23:53.449" v="1780"/>
          <ac:inkMkLst>
            <pc:docMk/>
            <pc:sldMk cId="1370836176" sldId="285"/>
            <ac:inkMk id="147" creationId="{068C2CBF-34AA-2EEA-D1C9-34C896B7C279}"/>
          </ac:inkMkLst>
        </pc:inkChg>
        <pc:inkChg chg="add del mod">
          <ac:chgData name="Aniket Chhabra" userId="598e0514-bef3-4e71-b6aa-f2edd6441cff" providerId="ADAL" clId="{A0F7D543-B727-034C-88B5-8F838AD07213}" dt="2022-09-24T05:23:53.453" v="1796"/>
          <ac:inkMkLst>
            <pc:docMk/>
            <pc:sldMk cId="1370836176" sldId="285"/>
            <ac:inkMk id="148" creationId="{5BAF7F5D-8456-ACEA-E1D2-EDCC73A90F11}"/>
          </ac:inkMkLst>
        </pc:inkChg>
        <pc:inkChg chg="add del mod">
          <ac:chgData name="Aniket Chhabra" userId="598e0514-bef3-4e71-b6aa-f2edd6441cff" providerId="ADAL" clId="{A0F7D543-B727-034C-88B5-8F838AD07213}" dt="2022-09-24T05:23:46.405" v="1772"/>
          <ac:inkMkLst>
            <pc:docMk/>
            <pc:sldMk cId="1370836176" sldId="285"/>
            <ac:inkMk id="150" creationId="{B2FF289A-0597-665F-1E54-B1C084A3F9A7}"/>
          </ac:inkMkLst>
        </pc:inkChg>
        <pc:inkChg chg="add del mod">
          <ac:chgData name="Aniket Chhabra" userId="598e0514-bef3-4e71-b6aa-f2edd6441cff" providerId="ADAL" clId="{A0F7D543-B727-034C-88B5-8F838AD07213}" dt="2022-09-24T05:23:46.405" v="1772"/>
          <ac:inkMkLst>
            <pc:docMk/>
            <pc:sldMk cId="1370836176" sldId="285"/>
            <ac:inkMk id="151" creationId="{484A79F3-7863-2600-6467-7966BBF3580C}"/>
          </ac:inkMkLst>
        </pc:inkChg>
        <pc:inkChg chg="add del mod">
          <ac:chgData name="Aniket Chhabra" userId="598e0514-bef3-4e71-b6aa-f2edd6441cff" providerId="ADAL" clId="{A0F7D543-B727-034C-88B5-8F838AD07213}" dt="2022-09-24T05:23:46.405" v="1772"/>
          <ac:inkMkLst>
            <pc:docMk/>
            <pc:sldMk cId="1370836176" sldId="285"/>
            <ac:inkMk id="152" creationId="{8006C652-A47F-606B-541E-A1AF37F62A92}"/>
          </ac:inkMkLst>
        </pc:inkChg>
        <pc:inkChg chg="add del mod">
          <ac:chgData name="Aniket Chhabra" userId="598e0514-bef3-4e71-b6aa-f2edd6441cff" providerId="ADAL" clId="{A0F7D543-B727-034C-88B5-8F838AD07213}" dt="2022-09-24T05:23:46.405" v="1772"/>
          <ac:inkMkLst>
            <pc:docMk/>
            <pc:sldMk cId="1370836176" sldId="285"/>
            <ac:inkMk id="153" creationId="{A0F2A65A-1B52-1372-031F-2AC0C020CCF4}"/>
          </ac:inkMkLst>
        </pc:inkChg>
        <pc:inkChg chg="add del mod">
          <ac:chgData name="Aniket Chhabra" userId="598e0514-bef3-4e71-b6aa-f2edd6441cff" providerId="ADAL" clId="{A0F7D543-B727-034C-88B5-8F838AD07213}" dt="2022-09-24T05:23:46.405" v="1772"/>
          <ac:inkMkLst>
            <pc:docMk/>
            <pc:sldMk cId="1370836176" sldId="285"/>
            <ac:inkMk id="154" creationId="{6E08D226-F87B-4F03-E66D-05FEE81A8575}"/>
          </ac:inkMkLst>
        </pc:inkChg>
        <pc:inkChg chg="add del mod">
          <ac:chgData name="Aniket Chhabra" userId="598e0514-bef3-4e71-b6aa-f2edd6441cff" providerId="ADAL" clId="{A0F7D543-B727-034C-88B5-8F838AD07213}" dt="2022-09-24T05:23:46.405" v="1772"/>
          <ac:inkMkLst>
            <pc:docMk/>
            <pc:sldMk cId="1370836176" sldId="285"/>
            <ac:inkMk id="155" creationId="{6D59F109-4554-FE35-E3EC-BE447CED6750}"/>
          </ac:inkMkLst>
        </pc:inkChg>
        <pc:inkChg chg="add del mod">
          <ac:chgData name="Aniket Chhabra" userId="598e0514-bef3-4e71-b6aa-f2edd6441cff" providerId="ADAL" clId="{A0F7D543-B727-034C-88B5-8F838AD07213}" dt="2022-09-24T05:23:46.405" v="1772"/>
          <ac:inkMkLst>
            <pc:docMk/>
            <pc:sldMk cId="1370836176" sldId="285"/>
            <ac:inkMk id="156" creationId="{D8679E46-8A6A-ECA7-DEBE-D2513A6C91BF}"/>
          </ac:inkMkLst>
        </pc:inkChg>
        <pc:inkChg chg="add del mod">
          <ac:chgData name="Aniket Chhabra" userId="598e0514-bef3-4e71-b6aa-f2edd6441cff" providerId="ADAL" clId="{A0F7D543-B727-034C-88B5-8F838AD07213}" dt="2022-09-24T05:23:46.405" v="1772"/>
          <ac:inkMkLst>
            <pc:docMk/>
            <pc:sldMk cId="1370836176" sldId="285"/>
            <ac:inkMk id="157" creationId="{6E59A6C2-F0EB-F737-C365-E35EB7626230}"/>
          </ac:inkMkLst>
        </pc:inkChg>
        <pc:inkChg chg="add del mod">
          <ac:chgData name="Aniket Chhabra" userId="598e0514-bef3-4e71-b6aa-f2edd6441cff" providerId="ADAL" clId="{A0F7D543-B727-034C-88B5-8F838AD07213}" dt="2022-09-24T05:23:46.405" v="1772"/>
          <ac:inkMkLst>
            <pc:docMk/>
            <pc:sldMk cId="1370836176" sldId="285"/>
            <ac:inkMk id="158" creationId="{37A95BDC-01C1-0A1D-28F4-6F363DD5EEEE}"/>
          </ac:inkMkLst>
        </pc:inkChg>
        <pc:inkChg chg="add del mod">
          <ac:chgData name="Aniket Chhabra" userId="598e0514-bef3-4e71-b6aa-f2edd6441cff" providerId="ADAL" clId="{A0F7D543-B727-034C-88B5-8F838AD07213}" dt="2022-09-24T05:23:33.347" v="1729"/>
          <ac:inkMkLst>
            <pc:docMk/>
            <pc:sldMk cId="1370836176" sldId="285"/>
            <ac:inkMk id="160" creationId="{4D26A70D-AD5C-E761-608E-C427C83E6FA0}"/>
          </ac:inkMkLst>
        </pc:inkChg>
        <pc:inkChg chg="add del mod">
          <ac:chgData name="Aniket Chhabra" userId="598e0514-bef3-4e71-b6aa-f2edd6441cff" providerId="ADAL" clId="{A0F7D543-B727-034C-88B5-8F838AD07213}" dt="2022-09-24T05:23:33.347" v="1729"/>
          <ac:inkMkLst>
            <pc:docMk/>
            <pc:sldMk cId="1370836176" sldId="285"/>
            <ac:inkMk id="161" creationId="{5F4DA5BC-1E63-0E9F-7691-AC460002AD5C}"/>
          </ac:inkMkLst>
        </pc:inkChg>
        <pc:inkChg chg="add mod">
          <ac:chgData name="Aniket Chhabra" userId="598e0514-bef3-4e71-b6aa-f2edd6441cff" providerId="ADAL" clId="{A0F7D543-B727-034C-88B5-8F838AD07213}" dt="2022-09-24T05:23:33.347" v="1729"/>
          <ac:inkMkLst>
            <pc:docMk/>
            <pc:sldMk cId="1370836176" sldId="285"/>
            <ac:inkMk id="162" creationId="{57364A15-3B89-6415-BC51-06FE835FD317}"/>
          </ac:inkMkLst>
        </pc:inkChg>
        <pc:inkChg chg="add del mod">
          <ac:chgData name="Aniket Chhabra" userId="598e0514-bef3-4e71-b6aa-f2edd6441cff" providerId="ADAL" clId="{A0F7D543-B727-034C-88B5-8F838AD07213}" dt="2022-09-24T05:23:33.347" v="1729"/>
          <ac:inkMkLst>
            <pc:docMk/>
            <pc:sldMk cId="1370836176" sldId="285"/>
            <ac:inkMk id="163" creationId="{D0A148A5-9F94-4658-1BFB-CAF0B6129761}"/>
          </ac:inkMkLst>
        </pc:inkChg>
        <pc:inkChg chg="add del mod">
          <ac:chgData name="Aniket Chhabra" userId="598e0514-bef3-4e71-b6aa-f2edd6441cff" providerId="ADAL" clId="{A0F7D543-B727-034C-88B5-8F838AD07213}" dt="2022-09-24T05:23:33.347" v="1729"/>
          <ac:inkMkLst>
            <pc:docMk/>
            <pc:sldMk cId="1370836176" sldId="285"/>
            <ac:inkMk id="164" creationId="{B30F2B99-39FF-B12B-AEE8-2A868C5FBB6A}"/>
          </ac:inkMkLst>
        </pc:inkChg>
        <pc:inkChg chg="add del mod">
          <ac:chgData name="Aniket Chhabra" userId="598e0514-bef3-4e71-b6aa-f2edd6441cff" providerId="ADAL" clId="{A0F7D543-B727-034C-88B5-8F838AD07213}" dt="2022-09-24T05:23:33.347" v="1729"/>
          <ac:inkMkLst>
            <pc:docMk/>
            <pc:sldMk cId="1370836176" sldId="285"/>
            <ac:inkMk id="165" creationId="{620241BF-1ED9-CE1A-AA4C-72ACB1827396}"/>
          </ac:inkMkLst>
        </pc:inkChg>
        <pc:inkChg chg="add del mod">
          <ac:chgData name="Aniket Chhabra" userId="598e0514-bef3-4e71-b6aa-f2edd6441cff" providerId="ADAL" clId="{A0F7D543-B727-034C-88B5-8F838AD07213}" dt="2022-09-24T05:23:33.347" v="1729"/>
          <ac:inkMkLst>
            <pc:docMk/>
            <pc:sldMk cId="1370836176" sldId="285"/>
            <ac:inkMk id="166" creationId="{AE26B4C8-2C2A-B083-7BF2-96830C4D65D4}"/>
          </ac:inkMkLst>
        </pc:inkChg>
        <pc:inkChg chg="add mod">
          <ac:chgData name="Aniket Chhabra" userId="598e0514-bef3-4e71-b6aa-f2edd6441cff" providerId="ADAL" clId="{A0F7D543-B727-034C-88B5-8F838AD07213}" dt="2022-09-24T05:23:33.347" v="1729"/>
          <ac:inkMkLst>
            <pc:docMk/>
            <pc:sldMk cId="1370836176" sldId="285"/>
            <ac:inkMk id="167" creationId="{911FF59E-E6D5-B5BE-00DF-89AFDA24B1BF}"/>
          </ac:inkMkLst>
        </pc:inkChg>
        <pc:inkChg chg="add del mod">
          <ac:chgData name="Aniket Chhabra" userId="598e0514-bef3-4e71-b6aa-f2edd6441cff" providerId="ADAL" clId="{A0F7D543-B727-034C-88B5-8F838AD07213}" dt="2022-09-24T05:23:33.347" v="1729"/>
          <ac:inkMkLst>
            <pc:docMk/>
            <pc:sldMk cId="1370836176" sldId="285"/>
            <ac:inkMk id="168" creationId="{68DDFFCE-BA59-280C-65DC-1973A77AE07F}"/>
          </ac:inkMkLst>
        </pc:inkChg>
        <pc:inkChg chg="add mod">
          <ac:chgData name="Aniket Chhabra" userId="598e0514-bef3-4e71-b6aa-f2edd6441cff" providerId="ADAL" clId="{A0F7D543-B727-034C-88B5-8F838AD07213}" dt="2022-09-24T05:23:33.347" v="1729"/>
          <ac:inkMkLst>
            <pc:docMk/>
            <pc:sldMk cId="1370836176" sldId="285"/>
            <ac:inkMk id="169" creationId="{1B4135B3-FEB6-6964-D9A1-85DFF5CBE46B}"/>
          </ac:inkMkLst>
        </pc:inkChg>
        <pc:inkChg chg="add del mod">
          <ac:chgData name="Aniket Chhabra" userId="598e0514-bef3-4e71-b6aa-f2edd6441cff" providerId="ADAL" clId="{A0F7D543-B727-034C-88B5-8F838AD07213}" dt="2022-09-24T05:23:33.347" v="1729"/>
          <ac:inkMkLst>
            <pc:docMk/>
            <pc:sldMk cId="1370836176" sldId="285"/>
            <ac:inkMk id="170" creationId="{C3C8D34F-3D57-E69E-F3FF-6B3370BFD8DA}"/>
          </ac:inkMkLst>
        </pc:inkChg>
        <pc:inkChg chg="add del mod">
          <ac:chgData name="Aniket Chhabra" userId="598e0514-bef3-4e71-b6aa-f2edd6441cff" providerId="ADAL" clId="{A0F7D543-B727-034C-88B5-8F838AD07213}" dt="2022-09-24T05:23:33.347" v="1729"/>
          <ac:inkMkLst>
            <pc:docMk/>
            <pc:sldMk cId="1370836176" sldId="285"/>
            <ac:inkMk id="171" creationId="{484A26E9-6B0D-CDDB-75AF-2F32989ED01A}"/>
          </ac:inkMkLst>
        </pc:inkChg>
        <pc:inkChg chg="add del mod">
          <ac:chgData name="Aniket Chhabra" userId="598e0514-bef3-4e71-b6aa-f2edd6441cff" providerId="ADAL" clId="{A0F7D543-B727-034C-88B5-8F838AD07213}" dt="2022-09-24T05:23:33.347" v="1729"/>
          <ac:inkMkLst>
            <pc:docMk/>
            <pc:sldMk cId="1370836176" sldId="285"/>
            <ac:inkMk id="172" creationId="{BBF28AAA-EED0-2E6D-BBA1-52A2C842EBFA}"/>
          </ac:inkMkLst>
        </pc:inkChg>
        <pc:inkChg chg="add del mod">
          <ac:chgData name="Aniket Chhabra" userId="598e0514-bef3-4e71-b6aa-f2edd6441cff" providerId="ADAL" clId="{A0F7D543-B727-034C-88B5-8F838AD07213}" dt="2022-09-24T05:23:33.347" v="1729"/>
          <ac:inkMkLst>
            <pc:docMk/>
            <pc:sldMk cId="1370836176" sldId="285"/>
            <ac:inkMk id="173" creationId="{142C0708-800A-B907-D64D-5BC2408E7CB0}"/>
          </ac:inkMkLst>
        </pc:inkChg>
        <pc:inkChg chg="add del mod">
          <ac:chgData name="Aniket Chhabra" userId="598e0514-bef3-4e71-b6aa-f2edd6441cff" providerId="ADAL" clId="{A0F7D543-B727-034C-88B5-8F838AD07213}" dt="2022-09-24T05:23:33.347" v="1729"/>
          <ac:inkMkLst>
            <pc:docMk/>
            <pc:sldMk cId="1370836176" sldId="285"/>
            <ac:inkMk id="174" creationId="{3510D6F3-CE2F-1D00-F4DA-08F797843483}"/>
          </ac:inkMkLst>
        </pc:inkChg>
        <pc:inkChg chg="add del mod">
          <ac:chgData name="Aniket Chhabra" userId="598e0514-bef3-4e71-b6aa-f2edd6441cff" providerId="ADAL" clId="{A0F7D543-B727-034C-88B5-8F838AD07213}" dt="2022-09-24T05:23:33.347" v="1729"/>
          <ac:inkMkLst>
            <pc:docMk/>
            <pc:sldMk cId="1370836176" sldId="285"/>
            <ac:inkMk id="175" creationId="{3F922EF7-4E69-23A9-C02C-A278ED12D379}"/>
          </ac:inkMkLst>
        </pc:inkChg>
        <pc:inkChg chg="add mod">
          <ac:chgData name="Aniket Chhabra" userId="598e0514-bef3-4e71-b6aa-f2edd6441cff" providerId="ADAL" clId="{A0F7D543-B727-034C-88B5-8F838AD07213}" dt="2022-09-24T05:23:33.347" v="1729"/>
          <ac:inkMkLst>
            <pc:docMk/>
            <pc:sldMk cId="1370836176" sldId="285"/>
            <ac:inkMk id="176" creationId="{03D9A719-9A8A-42EC-37B6-C195F05B471F}"/>
          </ac:inkMkLst>
        </pc:inkChg>
        <pc:inkChg chg="add del mod">
          <ac:chgData name="Aniket Chhabra" userId="598e0514-bef3-4e71-b6aa-f2edd6441cff" providerId="ADAL" clId="{A0F7D543-B727-034C-88B5-8F838AD07213}" dt="2022-09-24T05:23:33.347" v="1729"/>
          <ac:inkMkLst>
            <pc:docMk/>
            <pc:sldMk cId="1370836176" sldId="285"/>
            <ac:inkMk id="177" creationId="{901087C4-ACED-0F97-6165-B767842CA90E}"/>
          </ac:inkMkLst>
        </pc:inkChg>
        <pc:inkChg chg="add del mod">
          <ac:chgData name="Aniket Chhabra" userId="598e0514-bef3-4e71-b6aa-f2edd6441cff" providerId="ADAL" clId="{A0F7D543-B727-034C-88B5-8F838AD07213}" dt="2022-09-24T05:23:33.347" v="1729"/>
          <ac:inkMkLst>
            <pc:docMk/>
            <pc:sldMk cId="1370836176" sldId="285"/>
            <ac:inkMk id="178" creationId="{0E4261B3-978D-B71F-01B5-6470BD6D8BEA}"/>
          </ac:inkMkLst>
        </pc:inkChg>
        <pc:inkChg chg="add del mod">
          <ac:chgData name="Aniket Chhabra" userId="598e0514-bef3-4e71-b6aa-f2edd6441cff" providerId="ADAL" clId="{A0F7D543-B727-034C-88B5-8F838AD07213}" dt="2022-09-24T05:23:33.347" v="1729"/>
          <ac:inkMkLst>
            <pc:docMk/>
            <pc:sldMk cId="1370836176" sldId="285"/>
            <ac:inkMk id="179" creationId="{17FF06A8-8CE3-AC61-873E-1019408A6DAC}"/>
          </ac:inkMkLst>
        </pc:inkChg>
        <pc:inkChg chg="add del mod">
          <ac:chgData name="Aniket Chhabra" userId="598e0514-bef3-4e71-b6aa-f2edd6441cff" providerId="ADAL" clId="{A0F7D543-B727-034C-88B5-8F838AD07213}" dt="2022-09-24T05:23:33.347" v="1729"/>
          <ac:inkMkLst>
            <pc:docMk/>
            <pc:sldMk cId="1370836176" sldId="285"/>
            <ac:inkMk id="181" creationId="{C0B0F43E-D6F1-38E2-3FC2-674393B2694C}"/>
          </ac:inkMkLst>
        </pc:inkChg>
        <pc:inkChg chg="add mod">
          <ac:chgData name="Aniket Chhabra" userId="598e0514-bef3-4e71-b6aa-f2edd6441cff" providerId="ADAL" clId="{A0F7D543-B727-034C-88B5-8F838AD07213}" dt="2022-09-24T05:23:33.347" v="1729"/>
          <ac:inkMkLst>
            <pc:docMk/>
            <pc:sldMk cId="1370836176" sldId="285"/>
            <ac:inkMk id="182" creationId="{3F4A5A5D-5D40-4D1B-E2AE-ACEE47644CD3}"/>
          </ac:inkMkLst>
        </pc:inkChg>
        <pc:inkChg chg="add mod">
          <ac:chgData name="Aniket Chhabra" userId="598e0514-bef3-4e71-b6aa-f2edd6441cff" providerId="ADAL" clId="{A0F7D543-B727-034C-88B5-8F838AD07213}" dt="2022-09-24T05:23:33.347" v="1729"/>
          <ac:inkMkLst>
            <pc:docMk/>
            <pc:sldMk cId="1370836176" sldId="285"/>
            <ac:inkMk id="183" creationId="{3423D417-7470-375C-A0A7-8608D7D15406}"/>
          </ac:inkMkLst>
        </pc:inkChg>
        <pc:inkChg chg="add del mod">
          <ac:chgData name="Aniket Chhabra" userId="598e0514-bef3-4e71-b6aa-f2edd6441cff" providerId="ADAL" clId="{A0F7D543-B727-034C-88B5-8F838AD07213}" dt="2022-09-24T05:23:33.347" v="1729"/>
          <ac:inkMkLst>
            <pc:docMk/>
            <pc:sldMk cId="1370836176" sldId="285"/>
            <ac:inkMk id="184" creationId="{D11CC9C3-BE26-A9C2-9FF6-99391E6CE7BD}"/>
          </ac:inkMkLst>
        </pc:inkChg>
        <pc:inkChg chg="add del mod">
          <ac:chgData name="Aniket Chhabra" userId="598e0514-bef3-4e71-b6aa-f2edd6441cff" providerId="ADAL" clId="{A0F7D543-B727-034C-88B5-8F838AD07213}" dt="2022-09-24T05:23:33.347" v="1729"/>
          <ac:inkMkLst>
            <pc:docMk/>
            <pc:sldMk cId="1370836176" sldId="285"/>
            <ac:inkMk id="185" creationId="{F37B6BA4-1B16-8127-FC18-25135B7C1005}"/>
          </ac:inkMkLst>
        </pc:inkChg>
        <pc:inkChg chg="add del mod">
          <ac:chgData name="Aniket Chhabra" userId="598e0514-bef3-4e71-b6aa-f2edd6441cff" providerId="ADAL" clId="{A0F7D543-B727-034C-88B5-8F838AD07213}" dt="2022-09-24T05:23:33.347" v="1729"/>
          <ac:inkMkLst>
            <pc:docMk/>
            <pc:sldMk cId="1370836176" sldId="285"/>
            <ac:inkMk id="186" creationId="{5D4CA344-73D0-24A6-460A-660F0B8C1FEC}"/>
          </ac:inkMkLst>
        </pc:inkChg>
        <pc:inkChg chg="add del mod">
          <ac:chgData name="Aniket Chhabra" userId="598e0514-bef3-4e71-b6aa-f2edd6441cff" providerId="ADAL" clId="{A0F7D543-B727-034C-88B5-8F838AD07213}" dt="2022-09-24T05:23:33.347" v="1729"/>
          <ac:inkMkLst>
            <pc:docMk/>
            <pc:sldMk cId="1370836176" sldId="285"/>
            <ac:inkMk id="187" creationId="{0EC6FD4E-4E54-40CD-734F-AA3DC043A98E}"/>
          </ac:inkMkLst>
        </pc:inkChg>
        <pc:inkChg chg="add del mod">
          <ac:chgData name="Aniket Chhabra" userId="598e0514-bef3-4e71-b6aa-f2edd6441cff" providerId="ADAL" clId="{A0F7D543-B727-034C-88B5-8F838AD07213}" dt="2022-09-24T05:23:33.347" v="1729"/>
          <ac:inkMkLst>
            <pc:docMk/>
            <pc:sldMk cId="1370836176" sldId="285"/>
            <ac:inkMk id="188" creationId="{4F89A88B-55F1-5397-99DA-833D0D6D34D2}"/>
          </ac:inkMkLst>
        </pc:inkChg>
        <pc:inkChg chg="add del mod">
          <ac:chgData name="Aniket Chhabra" userId="598e0514-bef3-4e71-b6aa-f2edd6441cff" providerId="ADAL" clId="{A0F7D543-B727-034C-88B5-8F838AD07213}" dt="2022-09-24T05:23:33.347" v="1729"/>
          <ac:inkMkLst>
            <pc:docMk/>
            <pc:sldMk cId="1370836176" sldId="285"/>
            <ac:inkMk id="189" creationId="{BC2CC7DB-92DC-F04D-06D2-8A7548C610EB}"/>
          </ac:inkMkLst>
        </pc:inkChg>
        <pc:inkChg chg="add del mod">
          <ac:chgData name="Aniket Chhabra" userId="598e0514-bef3-4e71-b6aa-f2edd6441cff" providerId="ADAL" clId="{A0F7D543-B727-034C-88B5-8F838AD07213}" dt="2022-09-24T05:23:33.347" v="1729"/>
          <ac:inkMkLst>
            <pc:docMk/>
            <pc:sldMk cId="1370836176" sldId="285"/>
            <ac:inkMk id="191" creationId="{E34E69F0-2AFE-95B3-5C65-333BA9A9C863}"/>
          </ac:inkMkLst>
        </pc:inkChg>
        <pc:inkChg chg="add del mod">
          <ac:chgData name="Aniket Chhabra" userId="598e0514-bef3-4e71-b6aa-f2edd6441cff" providerId="ADAL" clId="{A0F7D543-B727-034C-88B5-8F838AD07213}" dt="2022-09-24T05:23:33.347" v="1729"/>
          <ac:inkMkLst>
            <pc:docMk/>
            <pc:sldMk cId="1370836176" sldId="285"/>
            <ac:inkMk id="192" creationId="{517BDF09-B6D7-C7E4-7ED3-8DDA92F060EC}"/>
          </ac:inkMkLst>
        </pc:inkChg>
        <pc:inkChg chg="add del mod">
          <ac:chgData name="Aniket Chhabra" userId="598e0514-bef3-4e71-b6aa-f2edd6441cff" providerId="ADAL" clId="{A0F7D543-B727-034C-88B5-8F838AD07213}" dt="2022-09-24T05:23:53.453" v="1798"/>
          <ac:inkMkLst>
            <pc:docMk/>
            <pc:sldMk cId="1370836176" sldId="285"/>
            <ac:inkMk id="194" creationId="{E410F07A-394F-7FE4-1146-3C6E40C24390}"/>
          </ac:inkMkLst>
        </pc:inkChg>
        <pc:inkChg chg="add del mod">
          <ac:chgData name="Aniket Chhabra" userId="598e0514-bef3-4e71-b6aa-f2edd6441cff" providerId="ADAL" clId="{A0F7D543-B727-034C-88B5-8F838AD07213}" dt="2022-09-24T05:23:53.451" v="1788"/>
          <ac:inkMkLst>
            <pc:docMk/>
            <pc:sldMk cId="1370836176" sldId="285"/>
            <ac:inkMk id="195" creationId="{28AB3A71-4D76-267A-8825-FF88EE1AEB99}"/>
          </ac:inkMkLst>
        </pc:inkChg>
        <pc:inkChg chg="add del mod">
          <ac:chgData name="Aniket Chhabra" userId="598e0514-bef3-4e71-b6aa-f2edd6441cff" providerId="ADAL" clId="{A0F7D543-B727-034C-88B5-8F838AD07213}" dt="2022-09-24T05:23:53.453" v="1799"/>
          <ac:inkMkLst>
            <pc:docMk/>
            <pc:sldMk cId="1370836176" sldId="285"/>
            <ac:inkMk id="196" creationId="{36D1FAA2-F5CF-14FC-589F-F41B47128933}"/>
          </ac:inkMkLst>
        </pc:inkChg>
        <pc:inkChg chg="add del mod">
          <ac:chgData name="Aniket Chhabra" userId="598e0514-bef3-4e71-b6aa-f2edd6441cff" providerId="ADAL" clId="{A0F7D543-B727-034C-88B5-8F838AD07213}" dt="2022-09-24T05:23:53.450" v="1785"/>
          <ac:inkMkLst>
            <pc:docMk/>
            <pc:sldMk cId="1370836176" sldId="285"/>
            <ac:inkMk id="197" creationId="{55321559-044C-3CF0-C9FB-7CA3A3D94D5D}"/>
          </ac:inkMkLst>
        </pc:inkChg>
        <pc:inkChg chg="add del mod">
          <ac:chgData name="Aniket Chhabra" userId="598e0514-bef3-4e71-b6aa-f2edd6441cff" providerId="ADAL" clId="{A0F7D543-B727-034C-88B5-8F838AD07213}" dt="2022-09-24T05:23:53.449" v="1777"/>
          <ac:inkMkLst>
            <pc:docMk/>
            <pc:sldMk cId="1370836176" sldId="285"/>
            <ac:inkMk id="198" creationId="{55BA3EAC-97DB-519B-95A6-E69CE8C7E56F}"/>
          </ac:inkMkLst>
        </pc:inkChg>
        <pc:inkChg chg="add del mod">
          <ac:chgData name="Aniket Chhabra" userId="598e0514-bef3-4e71-b6aa-f2edd6441cff" providerId="ADAL" clId="{A0F7D543-B727-034C-88B5-8F838AD07213}" dt="2022-09-24T05:23:53.450" v="1784"/>
          <ac:inkMkLst>
            <pc:docMk/>
            <pc:sldMk cId="1370836176" sldId="285"/>
            <ac:inkMk id="199" creationId="{8D0B4679-FF30-8631-5A32-9141B7845DB0}"/>
          </ac:inkMkLst>
        </pc:inkChg>
        <pc:inkChg chg="add del mod">
          <ac:chgData name="Aniket Chhabra" userId="598e0514-bef3-4e71-b6aa-f2edd6441cff" providerId="ADAL" clId="{A0F7D543-B727-034C-88B5-8F838AD07213}" dt="2022-09-24T05:23:56.662" v="1814"/>
          <ac:inkMkLst>
            <pc:docMk/>
            <pc:sldMk cId="1370836176" sldId="285"/>
            <ac:inkMk id="202" creationId="{106B4262-166A-8653-CD6A-81CC54F2DE46}"/>
          </ac:inkMkLst>
        </pc:inkChg>
        <pc:inkChg chg="add del mod">
          <ac:chgData name="Aniket Chhabra" userId="598e0514-bef3-4e71-b6aa-f2edd6441cff" providerId="ADAL" clId="{A0F7D543-B727-034C-88B5-8F838AD07213}" dt="2022-09-10T08:30:15.581" v="855"/>
          <ac:inkMkLst>
            <pc:docMk/>
            <pc:sldMk cId="1370836176" sldId="285"/>
            <ac:inkMk id="203" creationId="{BAF25608-EEA9-CF3F-5075-09AE9844000A}"/>
          </ac:inkMkLst>
        </pc:inkChg>
        <pc:inkChg chg="add del mod">
          <ac:chgData name="Aniket Chhabra" userId="598e0514-bef3-4e71-b6aa-f2edd6441cff" providerId="ADAL" clId="{A0F7D543-B727-034C-88B5-8F838AD07213}" dt="2022-09-24T05:23:53.450" v="1782"/>
          <ac:inkMkLst>
            <pc:docMk/>
            <pc:sldMk cId="1370836176" sldId="285"/>
            <ac:inkMk id="204" creationId="{13DD0A48-AB34-3CCC-D817-E37AE5562E18}"/>
          </ac:inkMkLst>
        </pc:inkChg>
        <pc:inkChg chg="add del mod">
          <ac:chgData name="Aniket Chhabra" userId="598e0514-bef3-4e71-b6aa-f2edd6441cff" providerId="ADAL" clId="{A0F7D543-B727-034C-88B5-8F838AD07213}" dt="2022-09-24T05:23:53.454" v="1804"/>
          <ac:inkMkLst>
            <pc:docMk/>
            <pc:sldMk cId="1370836176" sldId="285"/>
            <ac:inkMk id="205" creationId="{00904FCB-3508-2755-FE99-6A6FF9185286}"/>
          </ac:inkMkLst>
        </pc:inkChg>
        <pc:inkChg chg="add del mod">
          <ac:chgData name="Aniket Chhabra" userId="598e0514-bef3-4e71-b6aa-f2edd6441cff" providerId="ADAL" clId="{A0F7D543-B727-034C-88B5-8F838AD07213}" dt="2022-09-24T05:23:53.455" v="1805"/>
          <ac:inkMkLst>
            <pc:docMk/>
            <pc:sldMk cId="1370836176" sldId="285"/>
            <ac:inkMk id="206" creationId="{7BC4CA3F-7979-72F0-2A08-17B715AD4E3C}"/>
          </ac:inkMkLst>
        </pc:inkChg>
        <pc:inkChg chg="add del mod">
          <ac:chgData name="Aniket Chhabra" userId="598e0514-bef3-4e71-b6aa-f2edd6441cff" providerId="ADAL" clId="{A0F7D543-B727-034C-88B5-8F838AD07213}" dt="2022-09-24T05:23:53.455" v="1807"/>
          <ac:inkMkLst>
            <pc:docMk/>
            <pc:sldMk cId="1370836176" sldId="285"/>
            <ac:inkMk id="209" creationId="{769470BA-7840-297F-C570-00F52148CEE2}"/>
          </ac:inkMkLst>
        </pc:inkChg>
        <pc:inkChg chg="add del mod">
          <ac:chgData name="Aniket Chhabra" userId="598e0514-bef3-4e71-b6aa-f2edd6441cff" providerId="ADAL" clId="{A0F7D543-B727-034C-88B5-8F838AD07213}" dt="2022-09-24T05:23:53.454" v="1801"/>
          <ac:inkMkLst>
            <pc:docMk/>
            <pc:sldMk cId="1370836176" sldId="285"/>
            <ac:inkMk id="210" creationId="{586FB0A3-C331-C67C-6DBD-933AEA80C89E}"/>
          </ac:inkMkLst>
        </pc:inkChg>
        <pc:inkChg chg="add del mod">
          <ac:chgData name="Aniket Chhabra" userId="598e0514-bef3-4e71-b6aa-f2edd6441cff" providerId="ADAL" clId="{A0F7D543-B727-034C-88B5-8F838AD07213}" dt="2022-09-24T05:23:53.447" v="1773"/>
          <ac:inkMkLst>
            <pc:docMk/>
            <pc:sldMk cId="1370836176" sldId="285"/>
            <ac:inkMk id="212" creationId="{13A7E00C-483A-2B4C-B0F8-57E8993AECAD}"/>
          </ac:inkMkLst>
        </pc:inkChg>
        <pc:inkChg chg="add del mod">
          <ac:chgData name="Aniket Chhabra" userId="598e0514-bef3-4e71-b6aa-f2edd6441cff" providerId="ADAL" clId="{A0F7D543-B727-034C-88B5-8F838AD07213}" dt="2022-09-24T05:23:53.454" v="1803"/>
          <ac:inkMkLst>
            <pc:docMk/>
            <pc:sldMk cId="1370836176" sldId="285"/>
            <ac:inkMk id="213" creationId="{13E16549-0ADE-C9B3-9581-53BEEE3CA6FE}"/>
          </ac:inkMkLst>
        </pc:inkChg>
        <pc:inkChg chg="add del mod">
          <ac:chgData name="Aniket Chhabra" userId="598e0514-bef3-4e71-b6aa-f2edd6441cff" providerId="ADAL" clId="{A0F7D543-B727-034C-88B5-8F838AD07213}" dt="2022-09-24T05:23:56.661" v="1813"/>
          <ac:inkMkLst>
            <pc:docMk/>
            <pc:sldMk cId="1370836176" sldId="285"/>
            <ac:inkMk id="215" creationId="{FB6720B5-BDD8-5DF8-9FDC-8AA13A724C33}"/>
          </ac:inkMkLst>
        </pc:inkChg>
        <pc:inkChg chg="add del mod">
          <ac:chgData name="Aniket Chhabra" userId="598e0514-bef3-4e71-b6aa-f2edd6441cff" providerId="ADAL" clId="{A0F7D543-B727-034C-88B5-8F838AD07213}" dt="2022-09-24T05:23:33.347" v="1729"/>
          <ac:inkMkLst>
            <pc:docMk/>
            <pc:sldMk cId="1370836176" sldId="285"/>
            <ac:inkMk id="216" creationId="{9E4BBA11-95FE-6F18-518A-D68701948CFA}"/>
          </ac:inkMkLst>
        </pc:inkChg>
        <pc:inkChg chg="add del mod">
          <ac:chgData name="Aniket Chhabra" userId="598e0514-bef3-4e71-b6aa-f2edd6441cff" providerId="ADAL" clId="{A0F7D543-B727-034C-88B5-8F838AD07213}" dt="2022-09-24T05:23:33.347" v="1729"/>
          <ac:inkMkLst>
            <pc:docMk/>
            <pc:sldMk cId="1370836176" sldId="285"/>
            <ac:inkMk id="217" creationId="{0F6AF676-562B-17AF-07F3-ACEA1ED1D470}"/>
          </ac:inkMkLst>
        </pc:inkChg>
        <pc:inkChg chg="add del mod">
          <ac:chgData name="Aniket Chhabra" userId="598e0514-bef3-4e71-b6aa-f2edd6441cff" providerId="ADAL" clId="{A0F7D543-B727-034C-88B5-8F838AD07213}" dt="2022-09-24T05:23:33.347" v="1729"/>
          <ac:inkMkLst>
            <pc:docMk/>
            <pc:sldMk cId="1370836176" sldId="285"/>
            <ac:inkMk id="218" creationId="{6A0CDD56-2E31-BF0A-FAD3-1F4ECDB048F5}"/>
          </ac:inkMkLst>
        </pc:inkChg>
        <pc:inkChg chg="add del mod">
          <ac:chgData name="Aniket Chhabra" userId="598e0514-bef3-4e71-b6aa-f2edd6441cff" providerId="ADAL" clId="{A0F7D543-B727-034C-88B5-8F838AD07213}" dt="2022-09-24T05:23:33.347" v="1729"/>
          <ac:inkMkLst>
            <pc:docMk/>
            <pc:sldMk cId="1370836176" sldId="285"/>
            <ac:inkMk id="219" creationId="{87F9EED2-EAFB-0A3F-A242-54690352C259}"/>
          </ac:inkMkLst>
        </pc:inkChg>
        <pc:inkChg chg="add del mod">
          <ac:chgData name="Aniket Chhabra" userId="598e0514-bef3-4e71-b6aa-f2edd6441cff" providerId="ADAL" clId="{A0F7D543-B727-034C-88B5-8F838AD07213}" dt="2022-09-24T05:23:33.347" v="1729"/>
          <ac:inkMkLst>
            <pc:docMk/>
            <pc:sldMk cId="1370836176" sldId="285"/>
            <ac:inkMk id="220" creationId="{BD49D410-D2A0-D208-0B86-6DD924EA45D0}"/>
          </ac:inkMkLst>
        </pc:inkChg>
        <pc:inkChg chg="add del mod">
          <ac:chgData name="Aniket Chhabra" userId="598e0514-bef3-4e71-b6aa-f2edd6441cff" providerId="ADAL" clId="{A0F7D543-B727-034C-88B5-8F838AD07213}" dt="2022-09-24T05:23:33.347" v="1729"/>
          <ac:inkMkLst>
            <pc:docMk/>
            <pc:sldMk cId="1370836176" sldId="285"/>
            <ac:inkMk id="221" creationId="{B845296C-77F3-8099-C1BD-3F028BEAEC4D}"/>
          </ac:inkMkLst>
        </pc:inkChg>
        <pc:inkChg chg="add del mod">
          <ac:chgData name="Aniket Chhabra" userId="598e0514-bef3-4e71-b6aa-f2edd6441cff" providerId="ADAL" clId="{A0F7D543-B727-034C-88B5-8F838AD07213}" dt="2022-09-24T05:23:33.347" v="1729"/>
          <ac:inkMkLst>
            <pc:docMk/>
            <pc:sldMk cId="1370836176" sldId="285"/>
            <ac:inkMk id="222" creationId="{F2EAE68D-5C3E-56B3-B1B2-74F76712B10E}"/>
          </ac:inkMkLst>
        </pc:inkChg>
        <pc:inkChg chg="add mod">
          <ac:chgData name="Aniket Chhabra" userId="598e0514-bef3-4e71-b6aa-f2edd6441cff" providerId="ADAL" clId="{A0F7D543-B727-034C-88B5-8F838AD07213}" dt="2022-09-24T05:23:33.347" v="1729"/>
          <ac:inkMkLst>
            <pc:docMk/>
            <pc:sldMk cId="1370836176" sldId="285"/>
            <ac:inkMk id="223" creationId="{18DCAE5B-E591-D851-05A1-FD675CBDB3DD}"/>
          </ac:inkMkLst>
        </pc:inkChg>
        <pc:inkChg chg="add del mod">
          <ac:chgData name="Aniket Chhabra" userId="598e0514-bef3-4e71-b6aa-f2edd6441cff" providerId="ADAL" clId="{A0F7D543-B727-034C-88B5-8F838AD07213}" dt="2022-09-24T05:23:33.347" v="1729"/>
          <ac:inkMkLst>
            <pc:docMk/>
            <pc:sldMk cId="1370836176" sldId="285"/>
            <ac:inkMk id="224" creationId="{5B3F639F-2D43-C5E0-5C14-099A5ED32095}"/>
          </ac:inkMkLst>
        </pc:inkChg>
        <pc:inkChg chg="add del mod">
          <ac:chgData name="Aniket Chhabra" userId="598e0514-bef3-4e71-b6aa-f2edd6441cff" providerId="ADAL" clId="{A0F7D543-B727-034C-88B5-8F838AD07213}" dt="2022-09-24T05:23:33.347" v="1729"/>
          <ac:inkMkLst>
            <pc:docMk/>
            <pc:sldMk cId="1370836176" sldId="285"/>
            <ac:inkMk id="225" creationId="{BEA42A61-256A-D764-33F8-DE9F5B95BEC9}"/>
          </ac:inkMkLst>
        </pc:inkChg>
        <pc:inkChg chg="add del mod">
          <ac:chgData name="Aniket Chhabra" userId="598e0514-bef3-4e71-b6aa-f2edd6441cff" providerId="ADAL" clId="{A0F7D543-B727-034C-88B5-8F838AD07213}" dt="2022-09-24T05:23:33.347" v="1729"/>
          <ac:inkMkLst>
            <pc:docMk/>
            <pc:sldMk cId="1370836176" sldId="285"/>
            <ac:inkMk id="226" creationId="{DC467506-7B6B-5221-2803-25EAC54B798F}"/>
          </ac:inkMkLst>
        </pc:inkChg>
        <pc:inkChg chg="add del mod">
          <ac:chgData name="Aniket Chhabra" userId="598e0514-bef3-4e71-b6aa-f2edd6441cff" providerId="ADAL" clId="{A0F7D543-B727-034C-88B5-8F838AD07213}" dt="2022-09-24T05:23:33.347" v="1729"/>
          <ac:inkMkLst>
            <pc:docMk/>
            <pc:sldMk cId="1370836176" sldId="285"/>
            <ac:inkMk id="227" creationId="{0E4F7443-96F1-0D82-852F-1B68DAE370AB}"/>
          </ac:inkMkLst>
        </pc:inkChg>
        <pc:inkChg chg="add del mod">
          <ac:chgData name="Aniket Chhabra" userId="598e0514-bef3-4e71-b6aa-f2edd6441cff" providerId="ADAL" clId="{A0F7D543-B727-034C-88B5-8F838AD07213}" dt="2022-09-24T05:23:53.452" v="1793"/>
          <ac:inkMkLst>
            <pc:docMk/>
            <pc:sldMk cId="1370836176" sldId="285"/>
            <ac:inkMk id="229" creationId="{172C7358-1615-EFAE-EC9C-3C24FEEA9CC2}"/>
          </ac:inkMkLst>
        </pc:inkChg>
        <pc:inkChg chg="add del mod">
          <ac:chgData name="Aniket Chhabra" userId="598e0514-bef3-4e71-b6aa-f2edd6441cff" providerId="ADAL" clId="{A0F7D543-B727-034C-88B5-8F838AD07213}" dt="2022-09-24T05:23:33.347" v="1729"/>
          <ac:inkMkLst>
            <pc:docMk/>
            <pc:sldMk cId="1370836176" sldId="285"/>
            <ac:inkMk id="231" creationId="{1BE284E5-01D8-D311-5739-083C647415A5}"/>
          </ac:inkMkLst>
        </pc:inkChg>
        <pc:inkChg chg="add del mod">
          <ac:chgData name="Aniket Chhabra" userId="598e0514-bef3-4e71-b6aa-f2edd6441cff" providerId="ADAL" clId="{A0F7D543-B727-034C-88B5-8F838AD07213}" dt="2022-09-24T05:23:33.347" v="1729"/>
          <ac:inkMkLst>
            <pc:docMk/>
            <pc:sldMk cId="1370836176" sldId="285"/>
            <ac:inkMk id="232" creationId="{4856E190-8268-3BBD-4EF9-4120E8A00D6E}"/>
          </ac:inkMkLst>
        </pc:inkChg>
        <pc:inkChg chg="add mod">
          <ac:chgData name="Aniket Chhabra" userId="598e0514-bef3-4e71-b6aa-f2edd6441cff" providerId="ADAL" clId="{A0F7D543-B727-034C-88B5-8F838AD07213}" dt="2022-09-24T05:23:33.347" v="1729"/>
          <ac:inkMkLst>
            <pc:docMk/>
            <pc:sldMk cId="1370836176" sldId="285"/>
            <ac:inkMk id="233" creationId="{7D7C7A11-B506-7B62-188F-6B1FD18BA06B}"/>
          </ac:inkMkLst>
        </pc:inkChg>
        <pc:inkChg chg="add mod">
          <ac:chgData name="Aniket Chhabra" userId="598e0514-bef3-4e71-b6aa-f2edd6441cff" providerId="ADAL" clId="{A0F7D543-B727-034C-88B5-8F838AD07213}" dt="2022-09-24T05:23:33.347" v="1729"/>
          <ac:inkMkLst>
            <pc:docMk/>
            <pc:sldMk cId="1370836176" sldId="285"/>
            <ac:inkMk id="234" creationId="{6B0EEAD5-6A0F-BDE6-8197-9863158F186F}"/>
          </ac:inkMkLst>
        </pc:inkChg>
        <pc:inkChg chg="add mod">
          <ac:chgData name="Aniket Chhabra" userId="598e0514-bef3-4e71-b6aa-f2edd6441cff" providerId="ADAL" clId="{A0F7D543-B727-034C-88B5-8F838AD07213}" dt="2022-09-24T05:23:33.347" v="1729"/>
          <ac:inkMkLst>
            <pc:docMk/>
            <pc:sldMk cId="1370836176" sldId="285"/>
            <ac:inkMk id="235" creationId="{88A9D461-829D-8849-06FD-668FD1852BF3}"/>
          </ac:inkMkLst>
        </pc:inkChg>
        <pc:inkChg chg="add del mod">
          <ac:chgData name="Aniket Chhabra" userId="598e0514-bef3-4e71-b6aa-f2edd6441cff" providerId="ADAL" clId="{A0F7D543-B727-034C-88B5-8F838AD07213}" dt="2022-09-24T05:23:33.347" v="1729"/>
          <ac:inkMkLst>
            <pc:docMk/>
            <pc:sldMk cId="1370836176" sldId="285"/>
            <ac:inkMk id="236" creationId="{247CED3A-DB2E-612F-DBE0-896DD5C778A9}"/>
          </ac:inkMkLst>
        </pc:inkChg>
        <pc:inkChg chg="add del mod">
          <ac:chgData name="Aniket Chhabra" userId="598e0514-bef3-4e71-b6aa-f2edd6441cff" providerId="ADAL" clId="{A0F7D543-B727-034C-88B5-8F838AD07213}" dt="2022-09-24T05:23:33.347" v="1729"/>
          <ac:inkMkLst>
            <pc:docMk/>
            <pc:sldMk cId="1370836176" sldId="285"/>
            <ac:inkMk id="237" creationId="{0D5C93AA-E4C4-3F7E-D1FF-D59D7B52C640}"/>
          </ac:inkMkLst>
        </pc:inkChg>
        <pc:inkChg chg="add del mod">
          <ac:chgData name="Aniket Chhabra" userId="598e0514-bef3-4e71-b6aa-f2edd6441cff" providerId="ADAL" clId="{A0F7D543-B727-034C-88B5-8F838AD07213}" dt="2022-09-24T05:23:33.347" v="1729"/>
          <ac:inkMkLst>
            <pc:docMk/>
            <pc:sldMk cId="1370836176" sldId="285"/>
            <ac:inkMk id="238" creationId="{89197F3B-1E38-EC19-5039-077B4E82E43F}"/>
          </ac:inkMkLst>
        </pc:inkChg>
        <pc:inkChg chg="add del mod">
          <ac:chgData name="Aniket Chhabra" userId="598e0514-bef3-4e71-b6aa-f2edd6441cff" providerId="ADAL" clId="{A0F7D543-B727-034C-88B5-8F838AD07213}" dt="2022-09-24T05:23:33.347" v="1729"/>
          <ac:inkMkLst>
            <pc:docMk/>
            <pc:sldMk cId="1370836176" sldId="285"/>
            <ac:inkMk id="239" creationId="{17E81863-8CB9-86E5-2598-2E4DD9FC4FE2}"/>
          </ac:inkMkLst>
        </pc:inkChg>
        <pc:inkChg chg="add del mod">
          <ac:chgData name="Aniket Chhabra" userId="598e0514-bef3-4e71-b6aa-f2edd6441cff" providerId="ADAL" clId="{A0F7D543-B727-034C-88B5-8F838AD07213}" dt="2022-09-24T05:23:33.347" v="1729"/>
          <ac:inkMkLst>
            <pc:docMk/>
            <pc:sldMk cId="1370836176" sldId="285"/>
            <ac:inkMk id="240" creationId="{B4F61839-C090-AF03-B3C2-F3213F3CB07C}"/>
          </ac:inkMkLst>
        </pc:inkChg>
        <pc:inkChg chg="add del mod">
          <ac:chgData name="Aniket Chhabra" userId="598e0514-bef3-4e71-b6aa-f2edd6441cff" providerId="ADAL" clId="{A0F7D543-B727-034C-88B5-8F838AD07213}" dt="2022-09-24T05:23:33.347" v="1729"/>
          <ac:inkMkLst>
            <pc:docMk/>
            <pc:sldMk cId="1370836176" sldId="285"/>
            <ac:inkMk id="241" creationId="{E8BCFC64-840F-39E6-48EC-8C52208AB04A}"/>
          </ac:inkMkLst>
        </pc:inkChg>
        <pc:inkChg chg="add del mod">
          <ac:chgData name="Aniket Chhabra" userId="598e0514-bef3-4e71-b6aa-f2edd6441cff" providerId="ADAL" clId="{A0F7D543-B727-034C-88B5-8F838AD07213}" dt="2022-09-24T05:23:33.347" v="1729"/>
          <ac:inkMkLst>
            <pc:docMk/>
            <pc:sldMk cId="1370836176" sldId="285"/>
            <ac:inkMk id="242" creationId="{64AA6394-68F0-0901-E613-E3A4D96113EB}"/>
          </ac:inkMkLst>
        </pc:inkChg>
        <pc:inkChg chg="add del mod">
          <ac:chgData name="Aniket Chhabra" userId="598e0514-bef3-4e71-b6aa-f2edd6441cff" providerId="ADAL" clId="{A0F7D543-B727-034C-88B5-8F838AD07213}" dt="2022-09-24T05:23:33.347" v="1729"/>
          <ac:inkMkLst>
            <pc:docMk/>
            <pc:sldMk cId="1370836176" sldId="285"/>
            <ac:inkMk id="243" creationId="{D9CE420D-A230-1785-7636-5F7A597079D4}"/>
          </ac:inkMkLst>
        </pc:inkChg>
        <pc:inkChg chg="add del mod">
          <ac:chgData name="Aniket Chhabra" userId="598e0514-bef3-4e71-b6aa-f2edd6441cff" providerId="ADAL" clId="{A0F7D543-B727-034C-88B5-8F838AD07213}" dt="2022-09-24T05:23:33.347" v="1729"/>
          <ac:inkMkLst>
            <pc:docMk/>
            <pc:sldMk cId="1370836176" sldId="285"/>
            <ac:inkMk id="244" creationId="{EF260706-6980-2D0D-2986-5D7003E7E734}"/>
          </ac:inkMkLst>
        </pc:inkChg>
        <pc:inkChg chg="add mod">
          <ac:chgData name="Aniket Chhabra" userId="598e0514-bef3-4e71-b6aa-f2edd6441cff" providerId="ADAL" clId="{A0F7D543-B727-034C-88B5-8F838AD07213}" dt="2022-09-24T05:23:33.347" v="1729"/>
          <ac:inkMkLst>
            <pc:docMk/>
            <pc:sldMk cId="1370836176" sldId="285"/>
            <ac:inkMk id="245" creationId="{DE5BB0DC-FEFA-452F-F68F-3E38FE2B6A1E}"/>
          </ac:inkMkLst>
        </pc:inkChg>
        <pc:inkChg chg="add mod">
          <ac:chgData name="Aniket Chhabra" userId="598e0514-bef3-4e71-b6aa-f2edd6441cff" providerId="ADAL" clId="{A0F7D543-B727-034C-88B5-8F838AD07213}" dt="2022-09-24T05:23:33.347" v="1729"/>
          <ac:inkMkLst>
            <pc:docMk/>
            <pc:sldMk cId="1370836176" sldId="285"/>
            <ac:inkMk id="246" creationId="{6716C93F-F3EB-E39E-80B6-0AB4F4E460B7}"/>
          </ac:inkMkLst>
        </pc:inkChg>
        <pc:inkChg chg="add mod">
          <ac:chgData name="Aniket Chhabra" userId="598e0514-bef3-4e71-b6aa-f2edd6441cff" providerId="ADAL" clId="{A0F7D543-B727-034C-88B5-8F838AD07213}" dt="2022-09-24T05:23:33.347" v="1729"/>
          <ac:inkMkLst>
            <pc:docMk/>
            <pc:sldMk cId="1370836176" sldId="285"/>
            <ac:inkMk id="247" creationId="{B895BB61-D722-F56D-2843-12B09F797B4C}"/>
          </ac:inkMkLst>
        </pc:inkChg>
        <pc:inkChg chg="add mod">
          <ac:chgData name="Aniket Chhabra" userId="598e0514-bef3-4e71-b6aa-f2edd6441cff" providerId="ADAL" clId="{A0F7D543-B727-034C-88B5-8F838AD07213}" dt="2022-09-24T05:23:33.347" v="1729"/>
          <ac:inkMkLst>
            <pc:docMk/>
            <pc:sldMk cId="1370836176" sldId="285"/>
            <ac:inkMk id="248" creationId="{D3A10976-1DFC-D54E-FB46-BA6EAD827706}"/>
          </ac:inkMkLst>
        </pc:inkChg>
        <pc:inkChg chg="add mod">
          <ac:chgData name="Aniket Chhabra" userId="598e0514-bef3-4e71-b6aa-f2edd6441cff" providerId="ADAL" clId="{A0F7D543-B727-034C-88B5-8F838AD07213}" dt="2022-09-24T05:23:33.347" v="1729"/>
          <ac:inkMkLst>
            <pc:docMk/>
            <pc:sldMk cId="1370836176" sldId="285"/>
            <ac:inkMk id="249" creationId="{BDB4D12A-1997-5566-773B-C36197BCC1D0}"/>
          </ac:inkMkLst>
        </pc:inkChg>
        <pc:inkChg chg="add del mod">
          <ac:chgData name="Aniket Chhabra" userId="598e0514-bef3-4e71-b6aa-f2edd6441cff" providerId="ADAL" clId="{A0F7D543-B727-034C-88B5-8F838AD07213}" dt="2022-09-24T05:23:33.347" v="1729"/>
          <ac:inkMkLst>
            <pc:docMk/>
            <pc:sldMk cId="1370836176" sldId="285"/>
            <ac:inkMk id="250" creationId="{DDF7DC4B-C8C5-D844-FF7B-0D45F7DF5E60}"/>
          </ac:inkMkLst>
        </pc:inkChg>
        <pc:inkChg chg="add del mod">
          <ac:chgData name="Aniket Chhabra" userId="598e0514-bef3-4e71-b6aa-f2edd6441cff" providerId="ADAL" clId="{A0F7D543-B727-034C-88B5-8F838AD07213}" dt="2022-09-24T05:23:33.347" v="1729"/>
          <ac:inkMkLst>
            <pc:docMk/>
            <pc:sldMk cId="1370836176" sldId="285"/>
            <ac:inkMk id="251" creationId="{F9B33589-B9A1-0D75-DE9F-E8EECCD71B64}"/>
          </ac:inkMkLst>
        </pc:inkChg>
        <pc:inkChg chg="add del mod">
          <ac:chgData name="Aniket Chhabra" userId="598e0514-bef3-4e71-b6aa-f2edd6441cff" providerId="ADAL" clId="{A0F7D543-B727-034C-88B5-8F838AD07213}" dt="2022-09-24T05:23:33.347" v="1729"/>
          <ac:inkMkLst>
            <pc:docMk/>
            <pc:sldMk cId="1370836176" sldId="285"/>
            <ac:inkMk id="252" creationId="{EDD6F8F1-D305-EEDB-9BFF-F4E6A056636D}"/>
          </ac:inkMkLst>
        </pc:inkChg>
        <pc:inkChg chg="add del mod">
          <ac:chgData name="Aniket Chhabra" userId="598e0514-bef3-4e71-b6aa-f2edd6441cff" providerId="ADAL" clId="{A0F7D543-B727-034C-88B5-8F838AD07213}" dt="2022-09-24T05:23:33.347" v="1729"/>
          <ac:inkMkLst>
            <pc:docMk/>
            <pc:sldMk cId="1370836176" sldId="285"/>
            <ac:inkMk id="253" creationId="{EF60FE2A-08FE-CC6E-7DC2-808FCD677D20}"/>
          </ac:inkMkLst>
        </pc:inkChg>
        <pc:inkChg chg="add del mod">
          <ac:chgData name="Aniket Chhabra" userId="598e0514-bef3-4e71-b6aa-f2edd6441cff" providerId="ADAL" clId="{A0F7D543-B727-034C-88B5-8F838AD07213}" dt="2022-09-24T05:23:33.347" v="1729"/>
          <ac:inkMkLst>
            <pc:docMk/>
            <pc:sldMk cId="1370836176" sldId="285"/>
            <ac:inkMk id="254" creationId="{FE825016-BB1E-A537-B601-E93050B53DD4}"/>
          </ac:inkMkLst>
        </pc:inkChg>
        <pc:inkChg chg="add del mod">
          <ac:chgData name="Aniket Chhabra" userId="598e0514-bef3-4e71-b6aa-f2edd6441cff" providerId="ADAL" clId="{A0F7D543-B727-034C-88B5-8F838AD07213}" dt="2022-09-24T05:23:33.347" v="1729"/>
          <ac:inkMkLst>
            <pc:docMk/>
            <pc:sldMk cId="1370836176" sldId="285"/>
            <ac:inkMk id="255" creationId="{AEAF94D4-FE82-8BD9-B0C6-09B3503F6105}"/>
          </ac:inkMkLst>
        </pc:inkChg>
        <pc:inkChg chg="add mod">
          <ac:chgData name="Aniket Chhabra" userId="598e0514-bef3-4e71-b6aa-f2edd6441cff" providerId="ADAL" clId="{A0F7D543-B727-034C-88B5-8F838AD07213}" dt="2022-09-24T05:23:33.347" v="1729"/>
          <ac:inkMkLst>
            <pc:docMk/>
            <pc:sldMk cId="1370836176" sldId="285"/>
            <ac:inkMk id="256" creationId="{66E5D91B-B85E-8D90-06B2-3DA2571A79B3}"/>
          </ac:inkMkLst>
        </pc:inkChg>
        <pc:inkChg chg="add del mod">
          <ac:chgData name="Aniket Chhabra" userId="598e0514-bef3-4e71-b6aa-f2edd6441cff" providerId="ADAL" clId="{A0F7D543-B727-034C-88B5-8F838AD07213}" dt="2022-09-24T05:23:33.347" v="1729"/>
          <ac:inkMkLst>
            <pc:docMk/>
            <pc:sldMk cId="1370836176" sldId="285"/>
            <ac:inkMk id="257" creationId="{CD3C3B3F-9955-8A83-7F70-3CF334B74DBE}"/>
          </ac:inkMkLst>
        </pc:inkChg>
        <pc:inkChg chg="add del mod">
          <ac:chgData name="Aniket Chhabra" userId="598e0514-bef3-4e71-b6aa-f2edd6441cff" providerId="ADAL" clId="{A0F7D543-B727-034C-88B5-8F838AD07213}" dt="2022-09-24T05:23:33.347" v="1729"/>
          <ac:inkMkLst>
            <pc:docMk/>
            <pc:sldMk cId="1370836176" sldId="285"/>
            <ac:inkMk id="258" creationId="{51570F19-5520-B76F-3DBA-AA73433015CD}"/>
          </ac:inkMkLst>
        </pc:inkChg>
        <pc:inkChg chg="add del mod">
          <ac:chgData name="Aniket Chhabra" userId="598e0514-bef3-4e71-b6aa-f2edd6441cff" providerId="ADAL" clId="{A0F7D543-B727-034C-88B5-8F838AD07213}" dt="2022-09-24T05:23:33.347" v="1729"/>
          <ac:inkMkLst>
            <pc:docMk/>
            <pc:sldMk cId="1370836176" sldId="285"/>
            <ac:inkMk id="259" creationId="{395EA13B-E62D-9008-5812-60F851D87C86}"/>
          </ac:inkMkLst>
        </pc:inkChg>
      </pc:sldChg>
      <pc:sldChg chg="addSp delSp modSp mod">
        <pc:chgData name="Aniket Chhabra" userId="598e0514-bef3-4e71-b6aa-f2edd6441cff" providerId="ADAL" clId="{A0F7D543-B727-034C-88B5-8F838AD07213}" dt="2022-09-10T08:36:41.358" v="973" actId="9405"/>
        <pc:sldMkLst>
          <pc:docMk/>
          <pc:sldMk cId="2691590533" sldId="286"/>
        </pc:sldMkLst>
        <pc:grpChg chg="del mod">
          <ac:chgData name="Aniket Chhabra" userId="598e0514-bef3-4e71-b6aa-f2edd6441cff" providerId="ADAL" clId="{A0F7D543-B727-034C-88B5-8F838AD07213}" dt="2022-09-10T08:34:45.948" v="915"/>
          <ac:grpSpMkLst>
            <pc:docMk/>
            <pc:sldMk cId="2691590533" sldId="286"/>
            <ac:grpSpMk id="11" creationId="{9068AFD9-A99F-93CD-7DCA-3478ED365AD2}"/>
          </ac:grpSpMkLst>
        </pc:grpChg>
        <pc:grpChg chg="del mod">
          <ac:chgData name="Aniket Chhabra" userId="598e0514-bef3-4e71-b6aa-f2edd6441cff" providerId="ADAL" clId="{A0F7D543-B727-034C-88B5-8F838AD07213}" dt="2022-09-10T08:34:40.579" v="910"/>
          <ac:grpSpMkLst>
            <pc:docMk/>
            <pc:sldMk cId="2691590533" sldId="286"/>
            <ac:grpSpMk id="27" creationId="{FB0E7C9E-5303-397A-AB56-9D7B385911EE}"/>
          </ac:grpSpMkLst>
        </pc:grpChg>
        <pc:grpChg chg="del mod">
          <ac:chgData name="Aniket Chhabra" userId="598e0514-bef3-4e71-b6aa-f2edd6441cff" providerId="ADAL" clId="{A0F7D543-B727-034C-88B5-8F838AD07213}" dt="2022-09-10T08:34:45.948" v="915"/>
          <ac:grpSpMkLst>
            <pc:docMk/>
            <pc:sldMk cId="2691590533" sldId="286"/>
            <ac:grpSpMk id="29" creationId="{C6BA377A-2615-19E9-1AA4-86FE85A077B9}"/>
          </ac:grpSpMkLst>
        </pc:grpChg>
        <pc:grpChg chg="del mod">
          <ac:chgData name="Aniket Chhabra" userId="598e0514-bef3-4e71-b6aa-f2edd6441cff" providerId="ADAL" clId="{A0F7D543-B727-034C-88B5-8F838AD07213}" dt="2022-09-10T08:34:47.843" v="917"/>
          <ac:grpSpMkLst>
            <pc:docMk/>
            <pc:sldMk cId="2691590533" sldId="286"/>
            <ac:grpSpMk id="34" creationId="{B9B57AE4-9AEE-B2DE-5B75-C83710D9F180}"/>
          </ac:grpSpMkLst>
        </pc:grpChg>
        <pc:grpChg chg="del mod">
          <ac:chgData name="Aniket Chhabra" userId="598e0514-bef3-4e71-b6aa-f2edd6441cff" providerId="ADAL" clId="{A0F7D543-B727-034C-88B5-8F838AD07213}" dt="2022-09-10T08:34:53.624" v="921"/>
          <ac:grpSpMkLst>
            <pc:docMk/>
            <pc:sldMk cId="2691590533" sldId="286"/>
            <ac:grpSpMk id="36" creationId="{C99D233C-2583-CB50-197B-91DB60649A60}"/>
          </ac:grpSpMkLst>
        </pc:grpChg>
        <pc:grpChg chg="del mod">
          <ac:chgData name="Aniket Chhabra" userId="598e0514-bef3-4e71-b6aa-f2edd6441cff" providerId="ADAL" clId="{A0F7D543-B727-034C-88B5-8F838AD07213}" dt="2022-09-10T08:35:09.719" v="952"/>
          <ac:grpSpMkLst>
            <pc:docMk/>
            <pc:sldMk cId="2691590533" sldId="286"/>
            <ac:grpSpMk id="39" creationId="{792DC0BC-00D7-C0F2-9E4C-7AFF1C1C8D00}"/>
          </ac:grpSpMkLst>
        </pc:grpChg>
        <pc:grpChg chg="del mod">
          <ac:chgData name="Aniket Chhabra" userId="598e0514-bef3-4e71-b6aa-f2edd6441cff" providerId="ADAL" clId="{A0F7D543-B727-034C-88B5-8F838AD07213}" dt="2022-09-10T08:35:09.714" v="936"/>
          <ac:grpSpMkLst>
            <pc:docMk/>
            <pc:sldMk cId="2691590533" sldId="286"/>
            <ac:grpSpMk id="42" creationId="{66B9A462-7409-480D-DA2C-2D4CB49B2AB3}"/>
          </ac:grpSpMkLst>
        </pc:grpChg>
        <pc:grpChg chg="del mod">
          <ac:chgData name="Aniket Chhabra" userId="598e0514-bef3-4e71-b6aa-f2edd6441cff" providerId="ADAL" clId="{A0F7D543-B727-034C-88B5-8F838AD07213}" dt="2022-09-10T08:35:09.718" v="950"/>
          <ac:grpSpMkLst>
            <pc:docMk/>
            <pc:sldMk cId="2691590533" sldId="286"/>
            <ac:grpSpMk id="44" creationId="{92A75CBF-2FF4-8E1C-232F-AA268B5255E3}"/>
          </ac:grpSpMkLst>
        </pc:grpChg>
        <pc:grpChg chg="del mod">
          <ac:chgData name="Aniket Chhabra" userId="598e0514-bef3-4e71-b6aa-f2edd6441cff" providerId="ADAL" clId="{A0F7D543-B727-034C-88B5-8F838AD07213}" dt="2022-09-10T08:35:23.973" v="960"/>
          <ac:grpSpMkLst>
            <pc:docMk/>
            <pc:sldMk cId="2691590533" sldId="286"/>
            <ac:grpSpMk id="49" creationId="{675687AF-D1E0-4E2B-9A22-E91446F7E369}"/>
          </ac:grpSpMkLst>
        </pc:grpChg>
        <pc:grpChg chg="del mod">
          <ac:chgData name="Aniket Chhabra" userId="598e0514-bef3-4e71-b6aa-f2edd6441cff" providerId="ADAL" clId="{A0F7D543-B727-034C-88B5-8F838AD07213}" dt="2022-09-10T08:36:34.175" v="970"/>
          <ac:grpSpMkLst>
            <pc:docMk/>
            <pc:sldMk cId="2691590533" sldId="286"/>
            <ac:grpSpMk id="52" creationId="{87C170B9-E580-87E8-E385-E67889F8C289}"/>
          </ac:grpSpMkLst>
        </pc:grpChg>
        <pc:inkChg chg="add del">
          <ac:chgData name="Aniket Chhabra" userId="598e0514-bef3-4e71-b6aa-f2edd6441cff" providerId="ADAL" clId="{A0F7D543-B727-034C-88B5-8F838AD07213}" dt="2022-09-10T08:26:35.460" v="835" actId="9405"/>
          <ac:inkMkLst>
            <pc:docMk/>
            <pc:sldMk cId="2691590533" sldId="286"/>
            <ac:inkMk id="3" creationId="{5D1891C5-E526-B6C3-88B8-D553582A54E1}"/>
          </ac:inkMkLst>
        </pc:inkChg>
        <pc:inkChg chg="add del">
          <ac:chgData name="Aniket Chhabra" userId="598e0514-bef3-4e71-b6aa-f2edd6441cff" providerId="ADAL" clId="{A0F7D543-B727-034C-88B5-8F838AD07213}" dt="2022-09-10T08:34:25.056" v="889"/>
          <ac:inkMkLst>
            <pc:docMk/>
            <pc:sldMk cId="2691590533" sldId="286"/>
            <ac:inkMk id="4" creationId="{B1A0E8F2-DD4A-2339-4E68-5F1B3E025F9F}"/>
          </ac:inkMkLst>
        </pc:inkChg>
        <pc:inkChg chg="add del mod">
          <ac:chgData name="Aniket Chhabra" userId="598e0514-bef3-4e71-b6aa-f2edd6441cff" providerId="ADAL" clId="{A0F7D543-B727-034C-88B5-8F838AD07213}" dt="2022-09-10T08:35:09.713" v="931"/>
          <ac:inkMkLst>
            <pc:docMk/>
            <pc:sldMk cId="2691590533" sldId="286"/>
            <ac:inkMk id="5" creationId="{DCCC6001-D7B3-F5CD-5478-9F8C298F3866}"/>
          </ac:inkMkLst>
        </pc:inkChg>
        <pc:inkChg chg="add del mod">
          <ac:chgData name="Aniket Chhabra" userId="598e0514-bef3-4e71-b6aa-f2edd6441cff" providerId="ADAL" clId="{A0F7D543-B727-034C-88B5-8F838AD07213}" dt="2022-09-10T08:35:09.719" v="952"/>
          <ac:inkMkLst>
            <pc:docMk/>
            <pc:sldMk cId="2691590533" sldId="286"/>
            <ac:inkMk id="7" creationId="{687778BD-C43C-5CCE-2233-AFFB4B1809AC}"/>
          </ac:inkMkLst>
        </pc:inkChg>
        <pc:inkChg chg="add mod">
          <ac:chgData name="Aniket Chhabra" userId="598e0514-bef3-4e71-b6aa-f2edd6441cff" providerId="ADAL" clId="{A0F7D543-B727-034C-88B5-8F838AD07213}" dt="2022-09-10T08:35:09.719" v="952"/>
          <ac:inkMkLst>
            <pc:docMk/>
            <pc:sldMk cId="2691590533" sldId="286"/>
            <ac:inkMk id="8" creationId="{ED5807A6-02EF-F98F-AF0F-D95748C2D336}"/>
          </ac:inkMkLst>
        </pc:inkChg>
        <pc:inkChg chg="add del mod">
          <ac:chgData name="Aniket Chhabra" userId="598e0514-bef3-4e71-b6aa-f2edd6441cff" providerId="ADAL" clId="{A0F7D543-B727-034C-88B5-8F838AD07213}" dt="2022-09-10T08:35:09.715" v="937"/>
          <ac:inkMkLst>
            <pc:docMk/>
            <pc:sldMk cId="2691590533" sldId="286"/>
            <ac:inkMk id="9" creationId="{0C3C9020-CAE3-9D2C-5F5C-9E48617AB35C}"/>
          </ac:inkMkLst>
        </pc:inkChg>
        <pc:inkChg chg="add del mod">
          <ac:chgData name="Aniket Chhabra" userId="598e0514-bef3-4e71-b6aa-f2edd6441cff" providerId="ADAL" clId="{A0F7D543-B727-034C-88B5-8F838AD07213}" dt="2022-09-10T08:35:09.717" v="946"/>
          <ac:inkMkLst>
            <pc:docMk/>
            <pc:sldMk cId="2691590533" sldId="286"/>
            <ac:inkMk id="10" creationId="{A5029347-8AFF-6F86-5936-C0F1F593F928}"/>
          </ac:inkMkLst>
        </pc:inkChg>
        <pc:inkChg chg="add del mod">
          <ac:chgData name="Aniket Chhabra" userId="598e0514-bef3-4e71-b6aa-f2edd6441cff" providerId="ADAL" clId="{A0F7D543-B727-034C-88B5-8F838AD07213}" dt="2022-09-10T08:35:09.718" v="948"/>
          <ac:inkMkLst>
            <pc:docMk/>
            <pc:sldMk cId="2691590533" sldId="286"/>
            <ac:inkMk id="12" creationId="{889067BB-6950-226E-F58C-DDB8EDAF8039}"/>
          </ac:inkMkLst>
        </pc:inkChg>
        <pc:inkChg chg="add del mod">
          <ac:chgData name="Aniket Chhabra" userId="598e0514-bef3-4e71-b6aa-f2edd6441cff" providerId="ADAL" clId="{A0F7D543-B727-034C-88B5-8F838AD07213}" dt="2022-09-10T08:35:09.717" v="947"/>
          <ac:inkMkLst>
            <pc:docMk/>
            <pc:sldMk cId="2691590533" sldId="286"/>
            <ac:inkMk id="13" creationId="{6164464C-A692-FC65-80DC-5700A7BF8CF2}"/>
          </ac:inkMkLst>
        </pc:inkChg>
        <pc:inkChg chg="add del mod">
          <ac:chgData name="Aniket Chhabra" userId="598e0514-bef3-4e71-b6aa-f2edd6441cff" providerId="ADAL" clId="{A0F7D543-B727-034C-88B5-8F838AD07213}" dt="2022-09-10T08:35:09.711" v="927"/>
          <ac:inkMkLst>
            <pc:docMk/>
            <pc:sldMk cId="2691590533" sldId="286"/>
            <ac:inkMk id="14" creationId="{80E372BB-4948-853A-E46E-FC2AAED42038}"/>
          </ac:inkMkLst>
        </pc:inkChg>
        <pc:inkChg chg="add del mod">
          <ac:chgData name="Aniket Chhabra" userId="598e0514-bef3-4e71-b6aa-f2edd6441cff" providerId="ADAL" clId="{A0F7D543-B727-034C-88B5-8F838AD07213}" dt="2022-09-10T08:35:09.717" v="944"/>
          <ac:inkMkLst>
            <pc:docMk/>
            <pc:sldMk cId="2691590533" sldId="286"/>
            <ac:inkMk id="16" creationId="{AEEACF1C-6396-105E-2811-4FF8D422CB76}"/>
          </ac:inkMkLst>
        </pc:inkChg>
        <pc:inkChg chg="add del mod">
          <ac:chgData name="Aniket Chhabra" userId="598e0514-bef3-4e71-b6aa-f2edd6441cff" providerId="ADAL" clId="{A0F7D543-B727-034C-88B5-8F838AD07213}" dt="2022-09-10T08:35:09.716" v="940"/>
          <ac:inkMkLst>
            <pc:docMk/>
            <pc:sldMk cId="2691590533" sldId="286"/>
            <ac:inkMk id="17" creationId="{DEF95B9A-ADE3-E5D1-12C0-FCAD47AA9587}"/>
          </ac:inkMkLst>
        </pc:inkChg>
        <pc:inkChg chg="add del mod">
          <ac:chgData name="Aniket Chhabra" userId="598e0514-bef3-4e71-b6aa-f2edd6441cff" providerId="ADAL" clId="{A0F7D543-B727-034C-88B5-8F838AD07213}" dt="2022-09-10T08:35:09.712" v="929"/>
          <ac:inkMkLst>
            <pc:docMk/>
            <pc:sldMk cId="2691590533" sldId="286"/>
            <ac:inkMk id="18" creationId="{E5998FDD-631D-F7A9-957F-D7BA97F07AE9}"/>
          </ac:inkMkLst>
        </pc:inkChg>
        <pc:inkChg chg="add del mod">
          <ac:chgData name="Aniket Chhabra" userId="598e0514-bef3-4e71-b6aa-f2edd6441cff" providerId="ADAL" clId="{A0F7D543-B727-034C-88B5-8F838AD07213}" dt="2022-09-10T08:35:09.714" v="933"/>
          <ac:inkMkLst>
            <pc:docMk/>
            <pc:sldMk cId="2691590533" sldId="286"/>
            <ac:inkMk id="19" creationId="{324BA928-E6D4-D881-4749-49D0D6A8621A}"/>
          </ac:inkMkLst>
        </pc:inkChg>
        <pc:inkChg chg="add del mod">
          <ac:chgData name="Aniket Chhabra" userId="598e0514-bef3-4e71-b6aa-f2edd6441cff" providerId="ADAL" clId="{A0F7D543-B727-034C-88B5-8F838AD07213}" dt="2022-09-10T08:35:09.716" v="941"/>
          <ac:inkMkLst>
            <pc:docMk/>
            <pc:sldMk cId="2691590533" sldId="286"/>
            <ac:inkMk id="20" creationId="{6C5864F8-C214-7B5A-334B-B63229F3B487}"/>
          </ac:inkMkLst>
        </pc:inkChg>
        <pc:inkChg chg="add del mod">
          <ac:chgData name="Aniket Chhabra" userId="598e0514-bef3-4e71-b6aa-f2edd6441cff" providerId="ADAL" clId="{A0F7D543-B727-034C-88B5-8F838AD07213}" dt="2022-09-10T08:35:09.715" v="939"/>
          <ac:inkMkLst>
            <pc:docMk/>
            <pc:sldMk cId="2691590533" sldId="286"/>
            <ac:inkMk id="22" creationId="{3B56DB3E-ED6D-A01B-16D2-BE35A5273AA6}"/>
          </ac:inkMkLst>
        </pc:inkChg>
        <pc:inkChg chg="add del mod">
          <ac:chgData name="Aniket Chhabra" userId="598e0514-bef3-4e71-b6aa-f2edd6441cff" providerId="ADAL" clId="{A0F7D543-B727-034C-88B5-8F838AD07213}" dt="2022-09-10T08:35:09.718" v="950"/>
          <ac:inkMkLst>
            <pc:docMk/>
            <pc:sldMk cId="2691590533" sldId="286"/>
            <ac:inkMk id="24" creationId="{1766C62C-A056-F0D4-7CA8-20D585B5DB17}"/>
          </ac:inkMkLst>
        </pc:inkChg>
        <pc:inkChg chg="add del mod">
          <ac:chgData name="Aniket Chhabra" userId="598e0514-bef3-4e71-b6aa-f2edd6441cff" providerId="ADAL" clId="{A0F7D543-B727-034C-88B5-8F838AD07213}" dt="2022-09-10T08:35:09.713" v="932"/>
          <ac:inkMkLst>
            <pc:docMk/>
            <pc:sldMk cId="2691590533" sldId="286"/>
            <ac:inkMk id="25" creationId="{6CF0A14B-F6F5-0503-6DC6-6D7D5F3D0FA8}"/>
          </ac:inkMkLst>
        </pc:inkChg>
        <pc:inkChg chg="add del mod">
          <ac:chgData name="Aniket Chhabra" userId="598e0514-bef3-4e71-b6aa-f2edd6441cff" providerId="ADAL" clId="{A0F7D543-B727-034C-88B5-8F838AD07213}" dt="2022-09-10T08:35:09.714" v="935"/>
          <ac:inkMkLst>
            <pc:docMk/>
            <pc:sldMk cId="2691590533" sldId="286"/>
            <ac:inkMk id="26" creationId="{1722E79B-D1CE-4073-5D11-CA0A696D84A2}"/>
          </ac:inkMkLst>
        </pc:inkChg>
        <pc:inkChg chg="add del mod">
          <ac:chgData name="Aniket Chhabra" userId="598e0514-bef3-4e71-b6aa-f2edd6441cff" providerId="ADAL" clId="{A0F7D543-B727-034C-88B5-8F838AD07213}" dt="2022-09-10T08:35:09.715" v="938"/>
          <ac:inkMkLst>
            <pc:docMk/>
            <pc:sldMk cId="2691590533" sldId="286"/>
            <ac:inkMk id="28" creationId="{54616718-07FE-6DBD-697A-66CC3C6D3570}"/>
          </ac:inkMkLst>
        </pc:inkChg>
        <pc:inkChg chg="add del mod">
          <ac:chgData name="Aniket Chhabra" userId="598e0514-bef3-4e71-b6aa-f2edd6441cff" providerId="ADAL" clId="{A0F7D543-B727-034C-88B5-8F838AD07213}" dt="2022-09-10T08:35:09.714" v="934"/>
          <ac:inkMkLst>
            <pc:docMk/>
            <pc:sldMk cId="2691590533" sldId="286"/>
            <ac:inkMk id="30" creationId="{BFC44874-9B45-2AD6-5816-ADE53D5A112F}"/>
          </ac:inkMkLst>
        </pc:inkChg>
        <pc:inkChg chg="add del mod">
          <ac:chgData name="Aniket Chhabra" userId="598e0514-bef3-4e71-b6aa-f2edd6441cff" providerId="ADAL" clId="{A0F7D543-B727-034C-88B5-8F838AD07213}" dt="2022-09-10T08:35:09.717" v="945"/>
          <ac:inkMkLst>
            <pc:docMk/>
            <pc:sldMk cId="2691590533" sldId="286"/>
            <ac:inkMk id="31" creationId="{F594315C-0CC8-CC1D-1DA9-0A8FBD748EAE}"/>
          </ac:inkMkLst>
        </pc:inkChg>
        <pc:inkChg chg="add del mod">
          <ac:chgData name="Aniket Chhabra" userId="598e0514-bef3-4e71-b6aa-f2edd6441cff" providerId="ADAL" clId="{A0F7D543-B727-034C-88B5-8F838AD07213}" dt="2022-09-10T08:35:09.713" v="930"/>
          <ac:inkMkLst>
            <pc:docMk/>
            <pc:sldMk cId="2691590533" sldId="286"/>
            <ac:inkMk id="32" creationId="{721CDE99-45EB-B445-A016-151968AFDEB7}"/>
          </ac:inkMkLst>
        </pc:inkChg>
        <pc:inkChg chg="add del mod">
          <ac:chgData name="Aniket Chhabra" userId="598e0514-bef3-4e71-b6aa-f2edd6441cff" providerId="ADAL" clId="{A0F7D543-B727-034C-88B5-8F838AD07213}" dt="2022-09-10T08:35:09.716" v="943"/>
          <ac:inkMkLst>
            <pc:docMk/>
            <pc:sldMk cId="2691590533" sldId="286"/>
            <ac:inkMk id="33" creationId="{3096A9AF-F5AA-5151-BCB4-DB8F50E3FDF2}"/>
          </ac:inkMkLst>
        </pc:inkChg>
        <pc:inkChg chg="add del mod">
          <ac:chgData name="Aniket Chhabra" userId="598e0514-bef3-4e71-b6aa-f2edd6441cff" providerId="ADAL" clId="{A0F7D543-B727-034C-88B5-8F838AD07213}" dt="2022-09-10T08:35:09.712" v="928"/>
          <ac:inkMkLst>
            <pc:docMk/>
            <pc:sldMk cId="2691590533" sldId="286"/>
            <ac:inkMk id="35" creationId="{C56AA1F5-7CBF-D9C1-4273-368A35691382}"/>
          </ac:inkMkLst>
        </pc:inkChg>
        <pc:inkChg chg="add del">
          <ac:chgData name="Aniket Chhabra" userId="598e0514-bef3-4e71-b6aa-f2edd6441cff" providerId="ADAL" clId="{A0F7D543-B727-034C-88B5-8F838AD07213}" dt="2022-09-10T08:34:50.929" v="919" actId="9405"/>
          <ac:inkMkLst>
            <pc:docMk/>
            <pc:sldMk cId="2691590533" sldId="286"/>
            <ac:inkMk id="37" creationId="{8EC9A347-D881-4333-76B7-A4D3BA72A1D3}"/>
          </ac:inkMkLst>
        </pc:inkChg>
        <pc:inkChg chg="add del mod">
          <ac:chgData name="Aniket Chhabra" userId="598e0514-bef3-4e71-b6aa-f2edd6441cff" providerId="ADAL" clId="{A0F7D543-B727-034C-88B5-8F838AD07213}" dt="2022-09-10T08:35:09.718" v="949"/>
          <ac:inkMkLst>
            <pc:docMk/>
            <pc:sldMk cId="2691590533" sldId="286"/>
            <ac:inkMk id="38" creationId="{69A2777E-E45E-69BD-1354-0BA67FFB309B}"/>
          </ac:inkMkLst>
        </pc:inkChg>
        <pc:inkChg chg="add del mod">
          <ac:chgData name="Aniket Chhabra" userId="598e0514-bef3-4e71-b6aa-f2edd6441cff" providerId="ADAL" clId="{A0F7D543-B727-034C-88B5-8F838AD07213}" dt="2022-09-10T08:35:09.716" v="942"/>
          <ac:inkMkLst>
            <pc:docMk/>
            <pc:sldMk cId="2691590533" sldId="286"/>
            <ac:inkMk id="40" creationId="{34D98568-D0CB-27F7-8D41-D173302EAD46}"/>
          </ac:inkMkLst>
        </pc:inkChg>
        <pc:inkChg chg="add del mod">
          <ac:chgData name="Aniket Chhabra" userId="598e0514-bef3-4e71-b6aa-f2edd6441cff" providerId="ADAL" clId="{A0F7D543-B727-034C-88B5-8F838AD07213}" dt="2022-09-10T08:35:09.714" v="936"/>
          <ac:inkMkLst>
            <pc:docMk/>
            <pc:sldMk cId="2691590533" sldId="286"/>
            <ac:inkMk id="41" creationId="{19C8DBEF-E392-3409-95CB-AFCD11DAA501}"/>
          </ac:inkMkLst>
        </pc:inkChg>
        <pc:inkChg chg="add del mod">
          <ac:chgData name="Aniket Chhabra" userId="598e0514-bef3-4e71-b6aa-f2edd6441cff" providerId="ADAL" clId="{A0F7D543-B727-034C-88B5-8F838AD07213}" dt="2022-09-10T08:35:09.719" v="951"/>
          <ac:inkMkLst>
            <pc:docMk/>
            <pc:sldMk cId="2691590533" sldId="286"/>
            <ac:inkMk id="43" creationId="{5AF73282-89E2-B8EA-58B0-924A0C454878}"/>
          </ac:inkMkLst>
        </pc:inkChg>
        <pc:inkChg chg="add del">
          <ac:chgData name="Aniket Chhabra" userId="598e0514-bef3-4e71-b6aa-f2edd6441cff" providerId="ADAL" clId="{A0F7D543-B727-034C-88B5-8F838AD07213}" dt="2022-09-10T08:36:34.176" v="971"/>
          <ac:inkMkLst>
            <pc:docMk/>
            <pc:sldMk cId="2691590533" sldId="286"/>
            <ac:inkMk id="45" creationId="{83F03977-9034-E87C-33DF-C340BC8B34EE}"/>
          </ac:inkMkLst>
        </pc:inkChg>
        <pc:inkChg chg="add del mod">
          <ac:chgData name="Aniket Chhabra" userId="598e0514-bef3-4e71-b6aa-f2edd6441cff" providerId="ADAL" clId="{A0F7D543-B727-034C-88B5-8F838AD07213}" dt="2022-09-10T08:36:34.173" v="967"/>
          <ac:inkMkLst>
            <pc:docMk/>
            <pc:sldMk cId="2691590533" sldId="286"/>
            <ac:inkMk id="46" creationId="{36FC0160-D167-FCE0-E60A-B965303A6A0E}"/>
          </ac:inkMkLst>
        </pc:inkChg>
        <pc:inkChg chg="add del mod">
          <ac:chgData name="Aniket Chhabra" userId="598e0514-bef3-4e71-b6aa-f2edd6441cff" providerId="ADAL" clId="{A0F7D543-B727-034C-88B5-8F838AD07213}" dt="2022-09-10T08:36:34.175" v="969"/>
          <ac:inkMkLst>
            <pc:docMk/>
            <pc:sldMk cId="2691590533" sldId="286"/>
            <ac:inkMk id="47" creationId="{7E620535-8C75-3377-4D50-448E31A14F54}"/>
          </ac:inkMkLst>
        </pc:inkChg>
        <pc:inkChg chg="add del mod">
          <ac:chgData name="Aniket Chhabra" userId="598e0514-bef3-4e71-b6aa-f2edd6441cff" providerId="ADAL" clId="{A0F7D543-B727-034C-88B5-8F838AD07213}" dt="2022-09-10T08:36:34.174" v="968"/>
          <ac:inkMkLst>
            <pc:docMk/>
            <pc:sldMk cId="2691590533" sldId="286"/>
            <ac:inkMk id="48" creationId="{059C9440-10A1-A8ED-6C34-ED6456198AA8}"/>
          </ac:inkMkLst>
        </pc:inkChg>
        <pc:inkChg chg="add del mod">
          <ac:chgData name="Aniket Chhabra" userId="598e0514-bef3-4e71-b6aa-f2edd6441cff" providerId="ADAL" clId="{A0F7D543-B727-034C-88B5-8F838AD07213}" dt="2022-09-10T08:36:34.175" v="970"/>
          <ac:inkMkLst>
            <pc:docMk/>
            <pc:sldMk cId="2691590533" sldId="286"/>
            <ac:inkMk id="50" creationId="{974977E5-6883-96DD-F361-C14C8E015D66}"/>
          </ac:inkMkLst>
        </pc:inkChg>
        <pc:inkChg chg="add del mod">
          <ac:chgData name="Aniket Chhabra" userId="598e0514-bef3-4e71-b6aa-f2edd6441cff" providerId="ADAL" clId="{A0F7D543-B727-034C-88B5-8F838AD07213}" dt="2022-09-10T08:36:35.050" v="972"/>
          <ac:inkMkLst>
            <pc:docMk/>
            <pc:sldMk cId="2691590533" sldId="286"/>
            <ac:inkMk id="51" creationId="{3278261F-DC4A-E2B8-7982-62382FDA4C8C}"/>
          </ac:inkMkLst>
        </pc:inkChg>
        <pc:inkChg chg="add">
          <ac:chgData name="Aniket Chhabra" userId="598e0514-bef3-4e71-b6aa-f2edd6441cff" providerId="ADAL" clId="{A0F7D543-B727-034C-88B5-8F838AD07213}" dt="2022-09-10T08:35:25.900" v="961" actId="9405"/>
          <ac:inkMkLst>
            <pc:docMk/>
            <pc:sldMk cId="2691590533" sldId="286"/>
            <ac:inkMk id="53" creationId="{403AADBF-16AA-46E7-B7B5-C8AF65A24CB6}"/>
          </ac:inkMkLst>
        </pc:inkChg>
        <pc:inkChg chg="add">
          <ac:chgData name="Aniket Chhabra" userId="598e0514-bef3-4e71-b6aa-f2edd6441cff" providerId="ADAL" clId="{A0F7D543-B727-034C-88B5-8F838AD07213}" dt="2022-09-10T08:35:51.079" v="962" actId="9405"/>
          <ac:inkMkLst>
            <pc:docMk/>
            <pc:sldMk cId="2691590533" sldId="286"/>
            <ac:inkMk id="54" creationId="{475DB171-9D47-94CC-7908-AE7E5A94A847}"/>
          </ac:inkMkLst>
        </pc:inkChg>
        <pc:inkChg chg="add">
          <ac:chgData name="Aniket Chhabra" userId="598e0514-bef3-4e71-b6aa-f2edd6441cff" providerId="ADAL" clId="{A0F7D543-B727-034C-88B5-8F838AD07213}" dt="2022-09-10T08:36:01.547" v="963" actId="9405"/>
          <ac:inkMkLst>
            <pc:docMk/>
            <pc:sldMk cId="2691590533" sldId="286"/>
            <ac:inkMk id="55" creationId="{F2C819A5-1B86-760A-9860-7A1C41FE0D7E}"/>
          </ac:inkMkLst>
        </pc:inkChg>
        <pc:inkChg chg="add">
          <ac:chgData name="Aniket Chhabra" userId="598e0514-bef3-4e71-b6aa-f2edd6441cff" providerId="ADAL" clId="{A0F7D543-B727-034C-88B5-8F838AD07213}" dt="2022-09-10T08:36:02.108" v="964" actId="9405"/>
          <ac:inkMkLst>
            <pc:docMk/>
            <pc:sldMk cId="2691590533" sldId="286"/>
            <ac:inkMk id="56" creationId="{EA393989-081C-9212-B6E4-F57195243043}"/>
          </ac:inkMkLst>
        </pc:inkChg>
        <pc:inkChg chg="add">
          <ac:chgData name="Aniket Chhabra" userId="598e0514-bef3-4e71-b6aa-f2edd6441cff" providerId="ADAL" clId="{A0F7D543-B727-034C-88B5-8F838AD07213}" dt="2022-09-10T08:36:03.531" v="965" actId="9405"/>
          <ac:inkMkLst>
            <pc:docMk/>
            <pc:sldMk cId="2691590533" sldId="286"/>
            <ac:inkMk id="57" creationId="{E2F913A2-009B-1D0E-76D6-5F4D47C99BAF}"/>
          </ac:inkMkLst>
        </pc:inkChg>
        <pc:inkChg chg="add">
          <ac:chgData name="Aniket Chhabra" userId="598e0514-bef3-4e71-b6aa-f2edd6441cff" providerId="ADAL" clId="{A0F7D543-B727-034C-88B5-8F838AD07213}" dt="2022-09-10T08:36:08.284" v="966" actId="9405"/>
          <ac:inkMkLst>
            <pc:docMk/>
            <pc:sldMk cId="2691590533" sldId="286"/>
            <ac:inkMk id="58" creationId="{2D34019C-B798-5C12-4860-D84E3BF7AEDA}"/>
          </ac:inkMkLst>
        </pc:inkChg>
        <pc:inkChg chg="add">
          <ac:chgData name="Aniket Chhabra" userId="598e0514-bef3-4e71-b6aa-f2edd6441cff" providerId="ADAL" clId="{A0F7D543-B727-034C-88B5-8F838AD07213}" dt="2022-09-10T08:36:41.358" v="973" actId="9405"/>
          <ac:inkMkLst>
            <pc:docMk/>
            <pc:sldMk cId="2691590533" sldId="286"/>
            <ac:inkMk id="59" creationId="{17353E40-CC5F-3460-515E-75FA27A18387}"/>
          </ac:inkMkLst>
        </pc:inkChg>
      </pc:sldChg>
      <pc:sldChg chg="addSp delSp modSp mod">
        <pc:chgData name="Aniket Chhabra" userId="598e0514-bef3-4e71-b6aa-f2edd6441cff" providerId="ADAL" clId="{A0F7D543-B727-034C-88B5-8F838AD07213}" dt="2022-09-24T05:24:08.781" v="1821"/>
        <pc:sldMkLst>
          <pc:docMk/>
          <pc:sldMk cId="3090271849" sldId="287"/>
        </pc:sldMkLst>
        <pc:grpChg chg="del mod">
          <ac:chgData name="Aniket Chhabra" userId="598e0514-bef3-4e71-b6aa-f2edd6441cff" providerId="ADAL" clId="{A0F7D543-B727-034C-88B5-8F838AD07213}" dt="2022-09-10T08:38:05.001" v="981"/>
          <ac:grpSpMkLst>
            <pc:docMk/>
            <pc:sldMk cId="3090271849" sldId="287"/>
            <ac:grpSpMk id="10" creationId="{4B1C4050-C6F2-F8E9-AFED-1F4BED262A79}"/>
          </ac:grpSpMkLst>
        </pc:grpChg>
        <pc:grpChg chg="del mod">
          <ac:chgData name="Aniket Chhabra" userId="598e0514-bef3-4e71-b6aa-f2edd6441cff" providerId="ADAL" clId="{A0F7D543-B727-034C-88B5-8F838AD07213}" dt="2022-09-10T08:38:14.670" v="1068"/>
          <ac:grpSpMkLst>
            <pc:docMk/>
            <pc:sldMk cId="3090271849" sldId="287"/>
            <ac:grpSpMk id="28" creationId="{1C92E1E7-646C-86AE-A2C2-5563CD0A9614}"/>
          </ac:grpSpMkLst>
        </pc:grpChg>
        <pc:grpChg chg="del mod">
          <ac:chgData name="Aniket Chhabra" userId="598e0514-bef3-4e71-b6aa-f2edd6441cff" providerId="ADAL" clId="{A0F7D543-B727-034C-88B5-8F838AD07213}" dt="2022-09-10T08:38:14.672" v="1073"/>
          <ac:grpSpMkLst>
            <pc:docMk/>
            <pc:sldMk cId="3090271849" sldId="287"/>
            <ac:grpSpMk id="29" creationId="{6FB0C567-B384-ABCD-5CCC-14E784367306}"/>
          </ac:grpSpMkLst>
        </pc:grpChg>
        <pc:grpChg chg="del mod">
          <ac:chgData name="Aniket Chhabra" userId="598e0514-bef3-4e71-b6aa-f2edd6441cff" providerId="ADAL" clId="{A0F7D543-B727-034C-88B5-8F838AD07213}" dt="2022-09-10T08:38:05.004" v="1004"/>
          <ac:grpSpMkLst>
            <pc:docMk/>
            <pc:sldMk cId="3090271849" sldId="287"/>
            <ac:grpSpMk id="33" creationId="{885D83C0-71E1-96B4-5BF6-18015DF8C11C}"/>
          </ac:grpSpMkLst>
        </pc:grpChg>
        <pc:grpChg chg="del mod">
          <ac:chgData name="Aniket Chhabra" userId="598e0514-bef3-4e71-b6aa-f2edd6441cff" providerId="ADAL" clId="{A0F7D543-B727-034C-88B5-8F838AD07213}" dt="2022-09-10T08:38:05.005" v="1008"/>
          <ac:grpSpMkLst>
            <pc:docMk/>
            <pc:sldMk cId="3090271849" sldId="287"/>
            <ac:grpSpMk id="37" creationId="{7D6D9119-6F02-A950-BD82-1FDBD5D7E77F}"/>
          </ac:grpSpMkLst>
        </pc:grpChg>
        <pc:grpChg chg="del mod">
          <ac:chgData name="Aniket Chhabra" userId="598e0514-bef3-4e71-b6aa-f2edd6441cff" providerId="ADAL" clId="{A0F7D543-B727-034C-88B5-8F838AD07213}" dt="2022-08-21T06:44:30.881" v="172"/>
          <ac:grpSpMkLst>
            <pc:docMk/>
            <pc:sldMk cId="3090271849" sldId="287"/>
            <ac:grpSpMk id="40" creationId="{8A51F378-C734-6E57-80E0-245C5BF475E2}"/>
          </ac:grpSpMkLst>
        </pc:grpChg>
        <pc:grpChg chg="del mod">
          <ac:chgData name="Aniket Chhabra" userId="598e0514-bef3-4e71-b6aa-f2edd6441cff" providerId="ADAL" clId="{A0F7D543-B727-034C-88B5-8F838AD07213}" dt="2022-09-10T08:38:05.003" v="996"/>
          <ac:grpSpMkLst>
            <pc:docMk/>
            <pc:sldMk cId="3090271849" sldId="287"/>
            <ac:grpSpMk id="44" creationId="{914D03DD-57CA-484A-8B32-97C3DC0E0E63}"/>
          </ac:grpSpMkLst>
        </pc:grpChg>
        <pc:grpChg chg="del mod">
          <ac:chgData name="Aniket Chhabra" userId="598e0514-bef3-4e71-b6aa-f2edd6441cff" providerId="ADAL" clId="{A0F7D543-B727-034C-88B5-8F838AD07213}" dt="2022-09-10T08:38:08.652" v="1035"/>
          <ac:grpSpMkLst>
            <pc:docMk/>
            <pc:sldMk cId="3090271849" sldId="287"/>
            <ac:grpSpMk id="49" creationId="{4ADD959C-34C0-02F3-4829-99EFD1B5BA5A}"/>
          </ac:grpSpMkLst>
        </pc:grpChg>
        <pc:grpChg chg="del mod">
          <ac:chgData name="Aniket Chhabra" userId="598e0514-bef3-4e71-b6aa-f2edd6441cff" providerId="ADAL" clId="{A0F7D543-B727-034C-88B5-8F838AD07213}" dt="2022-08-21T06:43:27.645" v="125"/>
          <ac:grpSpMkLst>
            <pc:docMk/>
            <pc:sldMk cId="3090271849" sldId="287"/>
            <ac:grpSpMk id="52" creationId="{3384FF69-2DAD-97A0-1894-892B382331DA}"/>
          </ac:grpSpMkLst>
        </pc:grpChg>
        <pc:grpChg chg="del mod">
          <ac:chgData name="Aniket Chhabra" userId="598e0514-bef3-4e71-b6aa-f2edd6441cff" providerId="ADAL" clId="{A0F7D543-B727-034C-88B5-8F838AD07213}" dt="2022-09-10T08:38:05.004" v="1003"/>
          <ac:grpSpMkLst>
            <pc:docMk/>
            <pc:sldMk cId="3090271849" sldId="287"/>
            <ac:grpSpMk id="56" creationId="{DAAA7763-3BD0-0C35-9188-C456EEAEEDCE}"/>
          </ac:grpSpMkLst>
        </pc:grpChg>
        <pc:grpChg chg="del mod">
          <ac:chgData name="Aniket Chhabra" userId="598e0514-bef3-4e71-b6aa-f2edd6441cff" providerId="ADAL" clId="{A0F7D543-B727-034C-88B5-8F838AD07213}" dt="2022-08-21T06:43:35.082" v="135"/>
          <ac:grpSpMkLst>
            <pc:docMk/>
            <pc:sldMk cId="3090271849" sldId="287"/>
            <ac:grpSpMk id="66" creationId="{2757DD85-E4A2-C91D-DB4C-56F3D37176AE}"/>
          </ac:grpSpMkLst>
        </pc:grpChg>
        <pc:grpChg chg="del mod">
          <ac:chgData name="Aniket Chhabra" userId="598e0514-bef3-4e71-b6aa-f2edd6441cff" providerId="ADAL" clId="{A0F7D543-B727-034C-88B5-8F838AD07213}" dt="2022-09-10T08:38:05.006" v="1016"/>
          <ac:grpSpMkLst>
            <pc:docMk/>
            <pc:sldMk cId="3090271849" sldId="287"/>
            <ac:grpSpMk id="67" creationId="{F7CDDB96-D771-C712-981D-3D2A719CAFB9}"/>
          </ac:grpSpMkLst>
        </pc:grpChg>
        <pc:grpChg chg="del mod">
          <ac:chgData name="Aniket Chhabra" userId="598e0514-bef3-4e71-b6aa-f2edd6441cff" providerId="ADAL" clId="{A0F7D543-B727-034C-88B5-8F838AD07213}" dt="2022-09-10T08:38:08.654" v="1042"/>
          <ac:grpSpMkLst>
            <pc:docMk/>
            <pc:sldMk cId="3090271849" sldId="287"/>
            <ac:grpSpMk id="75" creationId="{94E330E8-9432-094C-7BAB-3AA31B6C41F1}"/>
          </ac:grpSpMkLst>
        </pc:grpChg>
        <pc:grpChg chg="del mod">
          <ac:chgData name="Aniket Chhabra" userId="598e0514-bef3-4e71-b6aa-f2edd6441cff" providerId="ADAL" clId="{A0F7D543-B727-034C-88B5-8F838AD07213}" dt="2022-09-10T08:38:08.654" v="1040"/>
          <ac:grpSpMkLst>
            <pc:docMk/>
            <pc:sldMk cId="3090271849" sldId="287"/>
            <ac:grpSpMk id="76" creationId="{76BAD8CE-6EB6-E81C-5850-81DE2E79029E}"/>
          </ac:grpSpMkLst>
        </pc:grpChg>
        <pc:grpChg chg="del mod">
          <ac:chgData name="Aniket Chhabra" userId="598e0514-bef3-4e71-b6aa-f2edd6441cff" providerId="ADAL" clId="{A0F7D543-B727-034C-88B5-8F838AD07213}" dt="2022-09-10T08:38:10.743" v="1053"/>
          <ac:grpSpMkLst>
            <pc:docMk/>
            <pc:sldMk cId="3090271849" sldId="287"/>
            <ac:grpSpMk id="101" creationId="{473819C4-8F0C-8B37-4436-1AC5E8DCE9ED}"/>
          </ac:grpSpMkLst>
        </pc:grpChg>
        <pc:grpChg chg="del mod">
          <ac:chgData name="Aniket Chhabra" userId="598e0514-bef3-4e71-b6aa-f2edd6441cff" providerId="ADAL" clId="{A0F7D543-B727-034C-88B5-8F838AD07213}" dt="2022-09-10T08:38:05.006" v="1017"/>
          <ac:grpSpMkLst>
            <pc:docMk/>
            <pc:sldMk cId="3090271849" sldId="287"/>
            <ac:grpSpMk id="102" creationId="{2A9359A2-A59F-AF59-80B5-875425F7E612}"/>
          </ac:grpSpMkLst>
        </pc:grpChg>
        <pc:grpChg chg="del mod">
          <ac:chgData name="Aniket Chhabra" userId="598e0514-bef3-4e71-b6aa-f2edd6441cff" providerId="ADAL" clId="{A0F7D543-B727-034C-88B5-8F838AD07213}" dt="2022-09-10T08:38:05.007" v="1022"/>
          <ac:grpSpMkLst>
            <pc:docMk/>
            <pc:sldMk cId="3090271849" sldId="287"/>
            <ac:grpSpMk id="106" creationId="{308F6AF8-E750-41C3-4AAD-1A09F2D010FD}"/>
          </ac:grpSpMkLst>
        </pc:grpChg>
        <pc:grpChg chg="del mod">
          <ac:chgData name="Aniket Chhabra" userId="598e0514-bef3-4e71-b6aa-f2edd6441cff" providerId="ADAL" clId="{A0F7D543-B727-034C-88B5-8F838AD07213}" dt="2022-09-10T08:38:10.743" v="1054"/>
          <ac:grpSpMkLst>
            <pc:docMk/>
            <pc:sldMk cId="3090271849" sldId="287"/>
            <ac:grpSpMk id="114" creationId="{7F1A189B-A8E8-E250-DC8C-E96A3632CD98}"/>
          </ac:grpSpMkLst>
        </pc:grpChg>
        <pc:grpChg chg="del mod">
          <ac:chgData name="Aniket Chhabra" userId="598e0514-bef3-4e71-b6aa-f2edd6441cff" providerId="ADAL" clId="{A0F7D543-B727-034C-88B5-8F838AD07213}" dt="2022-09-10T08:38:10.742" v="1048"/>
          <ac:grpSpMkLst>
            <pc:docMk/>
            <pc:sldMk cId="3090271849" sldId="287"/>
            <ac:grpSpMk id="121" creationId="{EC4E5408-2848-B55D-FCC6-9B20424E37FD}"/>
          </ac:grpSpMkLst>
        </pc:grpChg>
        <pc:grpChg chg="del mod">
          <ac:chgData name="Aniket Chhabra" userId="598e0514-bef3-4e71-b6aa-f2edd6441cff" providerId="ADAL" clId="{A0F7D543-B727-034C-88B5-8F838AD07213}" dt="2022-09-10T08:38:10.742" v="1047"/>
          <ac:grpSpMkLst>
            <pc:docMk/>
            <pc:sldMk cId="3090271849" sldId="287"/>
            <ac:grpSpMk id="122" creationId="{A1D00401-AE84-BFAA-1A8A-FF9C22E9E681}"/>
          </ac:grpSpMkLst>
        </pc:grpChg>
        <pc:grpChg chg="del mod">
          <ac:chgData name="Aniket Chhabra" userId="598e0514-bef3-4e71-b6aa-f2edd6441cff" providerId="ADAL" clId="{A0F7D543-B727-034C-88B5-8F838AD07213}" dt="2022-09-10T08:38:12.604" v="1060"/>
          <ac:grpSpMkLst>
            <pc:docMk/>
            <pc:sldMk cId="3090271849" sldId="287"/>
            <ac:grpSpMk id="127" creationId="{EFA2388B-F6E1-1851-6417-CF010EDA8080}"/>
          </ac:grpSpMkLst>
        </pc:grpChg>
        <pc:grpChg chg="del mod">
          <ac:chgData name="Aniket Chhabra" userId="598e0514-bef3-4e71-b6aa-f2edd6441cff" providerId="ADAL" clId="{A0F7D543-B727-034C-88B5-8F838AD07213}" dt="2022-09-10T08:38:12.603" v="1057"/>
          <ac:grpSpMkLst>
            <pc:docMk/>
            <pc:sldMk cId="3090271849" sldId="287"/>
            <ac:grpSpMk id="128" creationId="{EAFA930E-D12D-0EC2-0AF0-ACDE1B5C8E0B}"/>
          </ac:grpSpMkLst>
        </pc:grpChg>
        <pc:grpChg chg="del mod">
          <ac:chgData name="Aniket Chhabra" userId="598e0514-bef3-4e71-b6aa-f2edd6441cff" providerId="ADAL" clId="{A0F7D543-B727-034C-88B5-8F838AD07213}" dt="2022-09-10T08:38:05.005" v="1007"/>
          <ac:grpSpMkLst>
            <pc:docMk/>
            <pc:sldMk cId="3090271849" sldId="287"/>
            <ac:grpSpMk id="130" creationId="{0A32E9A7-E2D4-C61D-DFAA-604F25AE0343}"/>
          </ac:grpSpMkLst>
        </pc:grpChg>
        <pc:grpChg chg="del mod">
          <ac:chgData name="Aniket Chhabra" userId="598e0514-bef3-4e71-b6aa-f2edd6441cff" providerId="ADAL" clId="{A0F7D543-B727-034C-88B5-8F838AD07213}" dt="2022-09-10T08:38:05.003" v="999"/>
          <ac:grpSpMkLst>
            <pc:docMk/>
            <pc:sldMk cId="3090271849" sldId="287"/>
            <ac:grpSpMk id="135" creationId="{94AF6C13-D6D4-497C-2581-B6414FC25D87}"/>
          </ac:grpSpMkLst>
        </pc:grpChg>
        <pc:grpChg chg="mod">
          <ac:chgData name="Aniket Chhabra" userId="598e0514-bef3-4e71-b6aa-f2edd6441cff" providerId="ADAL" clId="{A0F7D543-B727-034C-88B5-8F838AD07213}" dt="2022-09-10T08:38:34.710" v="1080"/>
          <ac:grpSpMkLst>
            <pc:docMk/>
            <pc:sldMk cId="3090271849" sldId="287"/>
            <ac:grpSpMk id="136" creationId="{3679BA3E-D337-0675-1989-2A0ED0A205CB}"/>
          </ac:grpSpMkLst>
        </pc:grpChg>
        <pc:grpChg chg="del mod">
          <ac:chgData name="Aniket Chhabra" userId="598e0514-bef3-4e71-b6aa-f2edd6441cff" providerId="ADAL" clId="{A0F7D543-B727-034C-88B5-8F838AD07213}" dt="2022-09-10T08:39:15.238" v="1090"/>
          <ac:grpSpMkLst>
            <pc:docMk/>
            <pc:sldMk cId="3090271849" sldId="287"/>
            <ac:grpSpMk id="141" creationId="{CD14BDD5-DF5D-7415-BCC7-232C811B4F33}"/>
          </ac:grpSpMkLst>
        </pc:grpChg>
        <pc:grpChg chg="mod">
          <ac:chgData name="Aniket Chhabra" userId="598e0514-bef3-4e71-b6aa-f2edd6441cff" providerId="ADAL" clId="{A0F7D543-B727-034C-88B5-8F838AD07213}" dt="2022-09-10T08:39:28.209" v="1106"/>
          <ac:grpSpMkLst>
            <pc:docMk/>
            <pc:sldMk cId="3090271849" sldId="287"/>
            <ac:grpSpMk id="156" creationId="{27E5CB0D-24E7-9687-9D50-E5D7BB1E37BA}"/>
          </ac:grpSpMkLst>
        </pc:grpChg>
        <pc:grpChg chg="del mod">
          <ac:chgData name="Aniket Chhabra" userId="598e0514-bef3-4e71-b6aa-f2edd6441cff" providerId="ADAL" clId="{A0F7D543-B727-034C-88B5-8F838AD07213}" dt="2022-09-24T05:24:08.781" v="1821"/>
          <ac:grpSpMkLst>
            <pc:docMk/>
            <pc:sldMk cId="3090271849" sldId="287"/>
            <ac:grpSpMk id="164" creationId="{4E33F4EE-C366-7C2F-D315-DA41F6ADB85E}"/>
          </ac:grpSpMkLst>
        </pc:grpChg>
        <pc:grpChg chg="del mod">
          <ac:chgData name="Aniket Chhabra" userId="598e0514-bef3-4e71-b6aa-f2edd6441cff" providerId="ADAL" clId="{A0F7D543-B727-034C-88B5-8F838AD07213}" dt="2022-09-10T08:40:30.581" v="1126"/>
          <ac:grpSpMkLst>
            <pc:docMk/>
            <pc:sldMk cId="3090271849" sldId="287"/>
            <ac:grpSpMk id="173" creationId="{F9DBAD64-CF17-90AE-987D-7D25D2F1EF52}"/>
          </ac:grpSpMkLst>
        </pc:grpChg>
        <pc:grpChg chg="del mod">
          <ac:chgData name="Aniket Chhabra" userId="598e0514-bef3-4e71-b6aa-f2edd6441cff" providerId="ADAL" clId="{A0F7D543-B727-034C-88B5-8F838AD07213}" dt="2022-09-10T08:40:34.607" v="1136"/>
          <ac:grpSpMkLst>
            <pc:docMk/>
            <pc:sldMk cId="3090271849" sldId="287"/>
            <ac:grpSpMk id="175" creationId="{09FA2054-7818-4646-9A67-E5DAD401252B}"/>
          </ac:grpSpMkLst>
        </pc:grpChg>
        <pc:grpChg chg="del mod">
          <ac:chgData name="Aniket Chhabra" userId="598e0514-bef3-4e71-b6aa-f2edd6441cff" providerId="ADAL" clId="{A0F7D543-B727-034C-88B5-8F838AD07213}" dt="2022-09-10T08:40:34.607" v="1136"/>
          <ac:grpSpMkLst>
            <pc:docMk/>
            <pc:sldMk cId="3090271849" sldId="287"/>
            <ac:grpSpMk id="185" creationId="{C9D5C4D5-4E8F-557A-4392-761DF2966E27}"/>
          </ac:grpSpMkLst>
        </pc:grpChg>
        <pc:grpChg chg="mod">
          <ac:chgData name="Aniket Chhabra" userId="598e0514-bef3-4e71-b6aa-f2edd6441cff" providerId="ADAL" clId="{A0F7D543-B727-034C-88B5-8F838AD07213}" dt="2022-09-10T08:40:34.607" v="1136"/>
          <ac:grpSpMkLst>
            <pc:docMk/>
            <pc:sldMk cId="3090271849" sldId="287"/>
            <ac:grpSpMk id="186" creationId="{2A5AAC7D-6D4B-212F-800A-DF7CDCFFB353}"/>
          </ac:grpSpMkLst>
        </pc:grpChg>
        <pc:grpChg chg="del mod">
          <ac:chgData name="Aniket Chhabra" userId="598e0514-bef3-4e71-b6aa-f2edd6441cff" providerId="ADAL" clId="{A0F7D543-B727-034C-88B5-8F838AD07213}" dt="2022-09-10T08:40:46.354" v="1154"/>
          <ac:grpSpMkLst>
            <pc:docMk/>
            <pc:sldMk cId="3090271849" sldId="287"/>
            <ac:grpSpMk id="196" creationId="{053EE4AF-FAD9-E892-B6ED-9B6BDB1606EF}"/>
          </ac:grpSpMkLst>
        </pc:grpChg>
        <pc:grpChg chg="del mod">
          <ac:chgData name="Aniket Chhabra" userId="598e0514-bef3-4e71-b6aa-f2edd6441cff" providerId="ADAL" clId="{A0F7D543-B727-034C-88B5-8F838AD07213}" dt="2022-09-10T08:40:56.345" v="1159"/>
          <ac:grpSpMkLst>
            <pc:docMk/>
            <pc:sldMk cId="3090271849" sldId="287"/>
            <ac:grpSpMk id="204" creationId="{F95E238C-B784-8305-3C56-34B29EF42392}"/>
          </ac:grpSpMkLst>
        </pc:grpChg>
        <pc:grpChg chg="del mod">
          <ac:chgData name="Aniket Chhabra" userId="598e0514-bef3-4e71-b6aa-f2edd6441cff" providerId="ADAL" clId="{A0F7D543-B727-034C-88B5-8F838AD07213}" dt="2022-09-10T08:41:05.935" v="1178"/>
          <ac:grpSpMkLst>
            <pc:docMk/>
            <pc:sldMk cId="3090271849" sldId="287"/>
            <ac:grpSpMk id="209" creationId="{3DC64560-195A-AEE0-857F-6EE3ACBBDE12}"/>
          </ac:grpSpMkLst>
        </pc:grpChg>
        <pc:grpChg chg="del mod">
          <ac:chgData name="Aniket Chhabra" userId="598e0514-bef3-4e71-b6aa-f2edd6441cff" providerId="ADAL" clId="{A0F7D543-B727-034C-88B5-8F838AD07213}" dt="2022-09-10T08:41:42.525" v="1232"/>
          <ac:grpSpMkLst>
            <pc:docMk/>
            <pc:sldMk cId="3090271849" sldId="287"/>
            <ac:grpSpMk id="226" creationId="{6007B7AC-5102-0C3C-E83F-C94CAA5536C7}"/>
          </ac:grpSpMkLst>
        </pc:grpChg>
        <pc:grpChg chg="del mod">
          <ac:chgData name="Aniket Chhabra" userId="598e0514-bef3-4e71-b6aa-f2edd6441cff" providerId="ADAL" clId="{A0F7D543-B727-034C-88B5-8F838AD07213}" dt="2022-09-10T08:41:42.524" v="1223"/>
          <ac:grpSpMkLst>
            <pc:docMk/>
            <pc:sldMk cId="3090271849" sldId="287"/>
            <ac:grpSpMk id="235" creationId="{F183CA53-9F35-52F9-D8C6-10627BF22A5C}"/>
          </ac:grpSpMkLst>
        </pc:grpChg>
        <pc:grpChg chg="del mod">
          <ac:chgData name="Aniket Chhabra" userId="598e0514-bef3-4e71-b6aa-f2edd6441cff" providerId="ADAL" clId="{A0F7D543-B727-034C-88B5-8F838AD07213}" dt="2022-09-10T08:41:42.523" v="1219"/>
          <ac:grpSpMkLst>
            <pc:docMk/>
            <pc:sldMk cId="3090271849" sldId="287"/>
            <ac:grpSpMk id="238" creationId="{95B7550B-E977-683E-F3F7-2130F96E1168}"/>
          </ac:grpSpMkLst>
        </pc:grpChg>
        <pc:grpChg chg="mod">
          <ac:chgData name="Aniket Chhabra" userId="598e0514-bef3-4e71-b6aa-f2edd6441cff" providerId="ADAL" clId="{A0F7D543-B727-034C-88B5-8F838AD07213}" dt="2022-09-10T08:41:50.825" v="1238"/>
          <ac:grpSpMkLst>
            <pc:docMk/>
            <pc:sldMk cId="3090271849" sldId="287"/>
            <ac:grpSpMk id="242" creationId="{F5C9D0B1-EEA2-DE60-F856-1B9771AD85D0}"/>
          </ac:grpSpMkLst>
        </pc:grpChg>
        <pc:grpChg chg="mod">
          <ac:chgData name="Aniket Chhabra" userId="598e0514-bef3-4e71-b6aa-f2edd6441cff" providerId="ADAL" clId="{A0F7D543-B727-034C-88B5-8F838AD07213}" dt="2022-09-10T08:41:57.826" v="1246"/>
          <ac:grpSpMkLst>
            <pc:docMk/>
            <pc:sldMk cId="3090271849" sldId="287"/>
            <ac:grpSpMk id="250" creationId="{7A5B6145-0C84-15BD-AEE8-56687D46578E}"/>
          </ac:grpSpMkLst>
        </pc:grpChg>
        <pc:grpChg chg="mod">
          <ac:chgData name="Aniket Chhabra" userId="598e0514-bef3-4e71-b6aa-f2edd6441cff" providerId="ADAL" clId="{A0F7D543-B727-034C-88B5-8F838AD07213}" dt="2022-09-10T08:41:59.346" v="1250"/>
          <ac:grpSpMkLst>
            <pc:docMk/>
            <pc:sldMk cId="3090271849" sldId="287"/>
            <ac:grpSpMk id="254" creationId="{294675D1-42EA-DCAC-116F-8DC1C5B05F68}"/>
          </ac:grpSpMkLst>
        </pc:grpChg>
        <pc:inkChg chg="del">
          <ac:chgData name="Aniket Chhabra" userId="598e0514-bef3-4e71-b6aa-f2edd6441cff" providerId="ADAL" clId="{A0F7D543-B727-034C-88B5-8F838AD07213}" dt="2022-09-24T05:24:08.781" v="1818"/>
          <ac:inkMkLst>
            <pc:docMk/>
            <pc:sldMk cId="3090271849" sldId="287"/>
            <ac:inkMk id="5" creationId="{39C4B4CB-475D-4577-8D4C-1E631B792AB1}"/>
          </ac:inkMkLst>
        </pc:inkChg>
        <pc:inkChg chg="add del mod">
          <ac:chgData name="Aniket Chhabra" userId="598e0514-bef3-4e71-b6aa-f2edd6441cff" providerId="ADAL" clId="{A0F7D543-B727-034C-88B5-8F838AD07213}" dt="2022-09-10T08:38:05.003" v="1000"/>
          <ac:inkMkLst>
            <pc:docMk/>
            <pc:sldMk cId="3090271849" sldId="287"/>
            <ac:inkMk id="7" creationId="{98BC75D6-9566-8C2C-8CB6-D28D1EE72B19}"/>
          </ac:inkMkLst>
        </pc:inkChg>
        <pc:inkChg chg="add del mod">
          <ac:chgData name="Aniket Chhabra" userId="598e0514-bef3-4e71-b6aa-f2edd6441cff" providerId="ADAL" clId="{A0F7D543-B727-034C-88B5-8F838AD07213}" dt="2022-09-10T08:38:05.001" v="981"/>
          <ac:inkMkLst>
            <pc:docMk/>
            <pc:sldMk cId="3090271849" sldId="287"/>
            <ac:inkMk id="8" creationId="{0CEC3B70-29CE-2741-7ABB-F8725153AEBE}"/>
          </ac:inkMkLst>
        </pc:inkChg>
        <pc:inkChg chg="del">
          <ac:chgData name="Aniket Chhabra" userId="598e0514-bef3-4e71-b6aa-f2edd6441cff" providerId="ADAL" clId="{A0F7D543-B727-034C-88B5-8F838AD07213}" dt="2022-09-10T08:38:05.004" v="1005"/>
          <ac:inkMkLst>
            <pc:docMk/>
            <pc:sldMk cId="3090271849" sldId="287"/>
            <ac:inkMk id="9" creationId="{BFCE0D6D-0FE0-492F-B186-0A467E584764}"/>
          </ac:inkMkLst>
        </pc:inkChg>
        <pc:inkChg chg="add del">
          <ac:chgData name="Aniket Chhabra" userId="598e0514-bef3-4e71-b6aa-f2edd6441cff" providerId="ADAL" clId="{A0F7D543-B727-034C-88B5-8F838AD07213}" dt="2022-09-10T08:38:05.001" v="987"/>
          <ac:inkMkLst>
            <pc:docMk/>
            <pc:sldMk cId="3090271849" sldId="287"/>
            <ac:inkMk id="11" creationId="{23C807DB-7E72-6FAE-47B6-69E5EC8121C5}"/>
          </ac:inkMkLst>
        </pc:inkChg>
        <pc:inkChg chg="add del mod">
          <ac:chgData name="Aniket Chhabra" userId="598e0514-bef3-4e71-b6aa-f2edd6441cff" providerId="ADAL" clId="{A0F7D543-B727-034C-88B5-8F838AD07213}" dt="2022-09-10T08:38:14.670" v="1066"/>
          <ac:inkMkLst>
            <pc:docMk/>
            <pc:sldMk cId="3090271849" sldId="287"/>
            <ac:inkMk id="12" creationId="{8BD7C70F-EF6F-3357-57A9-2F5EFF6E2D34}"/>
          </ac:inkMkLst>
        </pc:inkChg>
        <pc:inkChg chg="add del mod">
          <ac:chgData name="Aniket Chhabra" userId="598e0514-bef3-4e71-b6aa-f2edd6441cff" providerId="ADAL" clId="{A0F7D543-B727-034C-88B5-8F838AD07213}" dt="2022-09-10T08:38:14.671" v="1072"/>
          <ac:inkMkLst>
            <pc:docMk/>
            <pc:sldMk cId="3090271849" sldId="287"/>
            <ac:inkMk id="13" creationId="{8B504830-1D8E-0201-017F-113312B7CE1D}"/>
          </ac:inkMkLst>
        </pc:inkChg>
        <pc:inkChg chg="add del mod">
          <ac:chgData name="Aniket Chhabra" userId="598e0514-bef3-4e71-b6aa-f2edd6441cff" providerId="ADAL" clId="{A0F7D543-B727-034C-88B5-8F838AD07213}" dt="2022-09-10T08:38:14.671" v="1070"/>
          <ac:inkMkLst>
            <pc:docMk/>
            <pc:sldMk cId="3090271849" sldId="287"/>
            <ac:inkMk id="14" creationId="{387AF26C-5176-095E-7895-27829FA498BE}"/>
          </ac:inkMkLst>
        </pc:inkChg>
        <pc:inkChg chg="add del mod">
          <ac:chgData name="Aniket Chhabra" userId="598e0514-bef3-4e71-b6aa-f2edd6441cff" providerId="ADAL" clId="{A0F7D543-B727-034C-88B5-8F838AD07213}" dt="2022-09-10T08:38:14.672" v="1074"/>
          <ac:inkMkLst>
            <pc:docMk/>
            <pc:sldMk cId="3090271849" sldId="287"/>
            <ac:inkMk id="16" creationId="{81C19713-5189-F7C3-9863-9213BEB05048}"/>
          </ac:inkMkLst>
        </pc:inkChg>
        <pc:inkChg chg="add del mod">
          <ac:chgData name="Aniket Chhabra" userId="598e0514-bef3-4e71-b6aa-f2edd6441cff" providerId="ADAL" clId="{A0F7D543-B727-034C-88B5-8F838AD07213}" dt="2022-09-10T08:38:14.671" v="1069"/>
          <ac:inkMkLst>
            <pc:docMk/>
            <pc:sldMk cId="3090271849" sldId="287"/>
            <ac:inkMk id="17" creationId="{18C96BDD-C108-3195-7808-F9D4AA4931E7}"/>
          </ac:inkMkLst>
        </pc:inkChg>
        <pc:inkChg chg="add del mod">
          <ac:chgData name="Aniket Chhabra" userId="598e0514-bef3-4e71-b6aa-f2edd6441cff" providerId="ADAL" clId="{A0F7D543-B727-034C-88B5-8F838AD07213}" dt="2022-09-10T08:38:14.672" v="1073"/>
          <ac:inkMkLst>
            <pc:docMk/>
            <pc:sldMk cId="3090271849" sldId="287"/>
            <ac:inkMk id="20" creationId="{AFDB26D2-26CB-11B2-FF5A-3C609172EF00}"/>
          </ac:inkMkLst>
        </pc:inkChg>
        <pc:inkChg chg="add del mod">
          <ac:chgData name="Aniket Chhabra" userId="598e0514-bef3-4e71-b6aa-f2edd6441cff" providerId="ADAL" clId="{A0F7D543-B727-034C-88B5-8F838AD07213}" dt="2022-09-10T08:38:14.670" v="1065"/>
          <ac:inkMkLst>
            <pc:docMk/>
            <pc:sldMk cId="3090271849" sldId="287"/>
            <ac:inkMk id="21" creationId="{6792181A-39AB-D313-5253-B71D9F90CEAF}"/>
          </ac:inkMkLst>
        </pc:inkChg>
        <pc:inkChg chg="add del mod">
          <ac:chgData name="Aniket Chhabra" userId="598e0514-bef3-4e71-b6aa-f2edd6441cff" providerId="ADAL" clId="{A0F7D543-B727-034C-88B5-8F838AD07213}" dt="2022-09-10T08:38:14.669" v="1064"/>
          <ac:inkMkLst>
            <pc:docMk/>
            <pc:sldMk cId="3090271849" sldId="287"/>
            <ac:inkMk id="22" creationId="{FA69376D-E8B8-7676-E870-25BA98B3AB95}"/>
          </ac:inkMkLst>
        </pc:inkChg>
        <pc:inkChg chg="add del mod">
          <ac:chgData name="Aniket Chhabra" userId="598e0514-bef3-4e71-b6aa-f2edd6441cff" providerId="ADAL" clId="{A0F7D543-B727-034C-88B5-8F838AD07213}" dt="2022-09-10T08:38:14.670" v="1067"/>
          <ac:inkMkLst>
            <pc:docMk/>
            <pc:sldMk cId="3090271849" sldId="287"/>
            <ac:inkMk id="23" creationId="{F79300A8-7341-9E24-4622-0550EC8973B6}"/>
          </ac:inkMkLst>
        </pc:inkChg>
        <pc:inkChg chg="add del mod">
          <ac:chgData name="Aniket Chhabra" userId="598e0514-bef3-4e71-b6aa-f2edd6441cff" providerId="ADAL" clId="{A0F7D543-B727-034C-88B5-8F838AD07213}" dt="2022-09-10T08:38:14.668" v="1062"/>
          <ac:inkMkLst>
            <pc:docMk/>
            <pc:sldMk cId="3090271849" sldId="287"/>
            <ac:inkMk id="24" creationId="{16ED9932-05E6-43F9-25DB-6CAA6F69E4C1}"/>
          </ac:inkMkLst>
        </pc:inkChg>
        <pc:inkChg chg="add del mod">
          <ac:chgData name="Aniket Chhabra" userId="598e0514-bef3-4e71-b6aa-f2edd6441cff" providerId="ADAL" clId="{A0F7D543-B727-034C-88B5-8F838AD07213}" dt="2022-09-10T08:38:14.670" v="1068"/>
          <ac:inkMkLst>
            <pc:docMk/>
            <pc:sldMk cId="3090271849" sldId="287"/>
            <ac:inkMk id="25" creationId="{0FB813E0-6033-3F74-FAB7-0FCF52625FB0}"/>
          </ac:inkMkLst>
        </pc:inkChg>
        <pc:inkChg chg="add del mod">
          <ac:chgData name="Aniket Chhabra" userId="598e0514-bef3-4e71-b6aa-f2edd6441cff" providerId="ADAL" clId="{A0F7D543-B727-034C-88B5-8F838AD07213}" dt="2022-09-10T08:38:14.671" v="1071"/>
          <ac:inkMkLst>
            <pc:docMk/>
            <pc:sldMk cId="3090271849" sldId="287"/>
            <ac:inkMk id="26" creationId="{B9309DAF-40B3-A82B-FCB1-E7C4D8F5EA05}"/>
          </ac:inkMkLst>
        </pc:inkChg>
        <pc:inkChg chg="add del mod">
          <ac:chgData name="Aniket Chhabra" userId="598e0514-bef3-4e71-b6aa-f2edd6441cff" providerId="ADAL" clId="{A0F7D543-B727-034C-88B5-8F838AD07213}" dt="2022-09-10T08:38:14.669" v="1063"/>
          <ac:inkMkLst>
            <pc:docMk/>
            <pc:sldMk cId="3090271849" sldId="287"/>
            <ac:inkMk id="27" creationId="{B0ED76EB-6374-631D-9044-6C25B560B9AD}"/>
          </ac:inkMkLst>
        </pc:inkChg>
        <pc:inkChg chg="add del mod">
          <ac:chgData name="Aniket Chhabra" userId="598e0514-bef3-4e71-b6aa-f2edd6441cff" providerId="ADAL" clId="{A0F7D543-B727-034C-88B5-8F838AD07213}" dt="2022-09-10T08:38:08.655" v="1043"/>
          <ac:inkMkLst>
            <pc:docMk/>
            <pc:sldMk cId="3090271849" sldId="287"/>
            <ac:inkMk id="30" creationId="{0CD08CEC-024B-6480-F94F-1D2BA6B46309}"/>
          </ac:inkMkLst>
        </pc:inkChg>
        <pc:inkChg chg="add del mod">
          <ac:chgData name="Aniket Chhabra" userId="598e0514-bef3-4e71-b6aa-f2edd6441cff" providerId="ADAL" clId="{A0F7D543-B727-034C-88B5-8F838AD07213}" dt="2022-09-10T08:38:05.004" v="1004"/>
          <ac:inkMkLst>
            <pc:docMk/>
            <pc:sldMk cId="3090271849" sldId="287"/>
            <ac:inkMk id="31" creationId="{49F44110-29D2-A06B-860D-BDBE8E9923CF}"/>
          </ac:inkMkLst>
        </pc:inkChg>
        <pc:inkChg chg="add del mod">
          <ac:chgData name="Aniket Chhabra" userId="598e0514-bef3-4e71-b6aa-f2edd6441cff" providerId="ADAL" clId="{A0F7D543-B727-034C-88B5-8F838AD07213}" dt="2022-09-10T08:38:05.003" v="994"/>
          <ac:inkMkLst>
            <pc:docMk/>
            <pc:sldMk cId="3090271849" sldId="287"/>
            <ac:inkMk id="32" creationId="{C9C801DE-A8C4-01D2-3C79-25A56CBF4CBF}"/>
          </ac:inkMkLst>
        </pc:inkChg>
        <pc:inkChg chg="add del mod">
          <ac:chgData name="Aniket Chhabra" userId="598e0514-bef3-4e71-b6aa-f2edd6441cff" providerId="ADAL" clId="{A0F7D543-B727-034C-88B5-8F838AD07213}" dt="2022-09-10T08:38:05.005" v="1008"/>
          <ac:inkMkLst>
            <pc:docMk/>
            <pc:sldMk cId="3090271849" sldId="287"/>
            <ac:inkMk id="34" creationId="{2D06EC4E-5E4D-BE70-BA44-07DB630CDC19}"/>
          </ac:inkMkLst>
        </pc:inkChg>
        <pc:inkChg chg="add del mod">
          <ac:chgData name="Aniket Chhabra" userId="598e0514-bef3-4e71-b6aa-f2edd6441cff" providerId="ADAL" clId="{A0F7D543-B727-034C-88B5-8F838AD07213}" dt="2022-09-10T08:38:05.005" v="1006"/>
          <ac:inkMkLst>
            <pc:docMk/>
            <pc:sldMk cId="3090271849" sldId="287"/>
            <ac:inkMk id="35" creationId="{F33849AA-69A8-1218-9FC8-F24220348696}"/>
          </ac:inkMkLst>
        </pc:inkChg>
        <pc:inkChg chg="add del mod">
          <ac:chgData name="Aniket Chhabra" userId="598e0514-bef3-4e71-b6aa-f2edd6441cff" providerId="ADAL" clId="{A0F7D543-B727-034C-88B5-8F838AD07213}" dt="2022-09-10T08:38:05.007" v="1019"/>
          <ac:inkMkLst>
            <pc:docMk/>
            <pc:sldMk cId="3090271849" sldId="287"/>
            <ac:inkMk id="36" creationId="{4E287676-09C2-C3AA-0D62-CFB57A15491B}"/>
          </ac:inkMkLst>
        </pc:inkChg>
        <pc:inkChg chg="add del mod">
          <ac:chgData name="Aniket Chhabra" userId="598e0514-bef3-4e71-b6aa-f2edd6441cff" providerId="ADAL" clId="{A0F7D543-B727-034C-88B5-8F838AD07213}" dt="2022-09-10T08:38:05.005" v="1007"/>
          <ac:inkMkLst>
            <pc:docMk/>
            <pc:sldMk cId="3090271849" sldId="287"/>
            <ac:inkMk id="38" creationId="{F55CBE11-0B71-8A24-B0B0-061A702559D9}"/>
          </ac:inkMkLst>
        </pc:inkChg>
        <pc:inkChg chg="add del mod">
          <ac:chgData name="Aniket Chhabra" userId="598e0514-bef3-4e71-b6aa-f2edd6441cff" providerId="ADAL" clId="{A0F7D543-B727-034C-88B5-8F838AD07213}" dt="2022-09-10T08:38:05.002" v="989"/>
          <ac:inkMkLst>
            <pc:docMk/>
            <pc:sldMk cId="3090271849" sldId="287"/>
            <ac:inkMk id="39" creationId="{377AEDF0-5C87-3D7F-80D4-EA23C7D9ED62}"/>
          </ac:inkMkLst>
        </pc:inkChg>
        <pc:inkChg chg="add del">
          <ac:chgData name="Aniket Chhabra" userId="598e0514-bef3-4e71-b6aa-f2edd6441cff" providerId="ADAL" clId="{A0F7D543-B727-034C-88B5-8F838AD07213}" dt="2022-09-10T08:38:37.868" v="1082" actId="9405"/>
          <ac:inkMkLst>
            <pc:docMk/>
            <pc:sldMk cId="3090271849" sldId="287"/>
            <ac:inkMk id="40" creationId="{6979CACD-03B8-346F-CF52-DC60B8238924}"/>
          </ac:inkMkLst>
        </pc:inkChg>
        <pc:inkChg chg="add del mod">
          <ac:chgData name="Aniket Chhabra" userId="598e0514-bef3-4e71-b6aa-f2edd6441cff" providerId="ADAL" clId="{A0F7D543-B727-034C-88B5-8F838AD07213}" dt="2022-09-10T08:38:05.003" v="996"/>
          <ac:inkMkLst>
            <pc:docMk/>
            <pc:sldMk cId="3090271849" sldId="287"/>
            <ac:inkMk id="41" creationId="{679A9437-EFBD-D77A-DBF4-B34A8AB60698}"/>
          </ac:inkMkLst>
        </pc:inkChg>
        <pc:inkChg chg="add del mod">
          <ac:chgData name="Aniket Chhabra" userId="598e0514-bef3-4e71-b6aa-f2edd6441cff" providerId="ADAL" clId="{A0F7D543-B727-034C-88B5-8F838AD07213}" dt="2022-09-10T08:38:05.004" v="1002"/>
          <ac:inkMkLst>
            <pc:docMk/>
            <pc:sldMk cId="3090271849" sldId="287"/>
            <ac:inkMk id="42" creationId="{924226A3-5948-53A6-BED4-8580E35AF600}"/>
          </ac:inkMkLst>
        </pc:inkChg>
        <pc:inkChg chg="add del">
          <ac:chgData name="Aniket Chhabra" userId="598e0514-bef3-4e71-b6aa-f2edd6441cff" providerId="ADAL" clId="{A0F7D543-B727-034C-88B5-8F838AD07213}" dt="2022-09-10T08:38:05.001" v="985"/>
          <ac:inkMkLst>
            <pc:docMk/>
            <pc:sldMk cId="3090271849" sldId="287"/>
            <ac:inkMk id="43" creationId="{B6F96A1A-71D3-3300-C9C7-EE256D0D9D1C}"/>
          </ac:inkMkLst>
        </pc:inkChg>
        <pc:inkChg chg="add del mod">
          <ac:chgData name="Aniket Chhabra" userId="598e0514-bef3-4e71-b6aa-f2edd6441cff" providerId="ADAL" clId="{A0F7D543-B727-034C-88B5-8F838AD07213}" dt="2022-09-10T08:38:08.652" v="1035"/>
          <ac:inkMkLst>
            <pc:docMk/>
            <pc:sldMk cId="3090271849" sldId="287"/>
            <ac:inkMk id="45" creationId="{EAB26261-2649-53CC-3631-46E7EF5E6599}"/>
          </ac:inkMkLst>
        </pc:inkChg>
        <pc:inkChg chg="add del mod">
          <ac:chgData name="Aniket Chhabra" userId="598e0514-bef3-4e71-b6aa-f2edd6441cff" providerId="ADAL" clId="{A0F7D543-B727-034C-88B5-8F838AD07213}" dt="2022-09-10T08:38:08.652" v="1033"/>
          <ac:inkMkLst>
            <pc:docMk/>
            <pc:sldMk cId="3090271849" sldId="287"/>
            <ac:inkMk id="46" creationId="{03DDBAFC-95FB-5194-DCE3-08E064B8D9C6}"/>
          </ac:inkMkLst>
        </pc:inkChg>
        <pc:inkChg chg="add del mod">
          <ac:chgData name="Aniket Chhabra" userId="598e0514-bef3-4e71-b6aa-f2edd6441cff" providerId="ADAL" clId="{A0F7D543-B727-034C-88B5-8F838AD07213}" dt="2022-09-10T08:38:08.650" v="1027"/>
          <ac:inkMkLst>
            <pc:docMk/>
            <pc:sldMk cId="3090271849" sldId="287"/>
            <ac:inkMk id="47" creationId="{16DB7201-2C91-38B5-FE6E-50D5E3CCD370}"/>
          </ac:inkMkLst>
        </pc:inkChg>
        <pc:inkChg chg="add del mod">
          <ac:chgData name="Aniket Chhabra" userId="598e0514-bef3-4e71-b6aa-f2edd6441cff" providerId="ADAL" clId="{A0F7D543-B727-034C-88B5-8F838AD07213}" dt="2022-09-10T08:38:08.652" v="1036"/>
          <ac:inkMkLst>
            <pc:docMk/>
            <pc:sldMk cId="3090271849" sldId="287"/>
            <ac:inkMk id="48" creationId="{3AFD4B2C-AF69-DE9F-07AA-DBCAC3D07AAB}"/>
          </ac:inkMkLst>
        </pc:inkChg>
        <pc:inkChg chg="add del mod">
          <ac:chgData name="Aniket Chhabra" userId="598e0514-bef3-4e71-b6aa-f2edd6441cff" providerId="ADAL" clId="{A0F7D543-B727-034C-88B5-8F838AD07213}" dt="2022-09-10T08:38:05" v="978"/>
          <ac:inkMkLst>
            <pc:docMk/>
            <pc:sldMk cId="3090271849" sldId="287"/>
            <ac:inkMk id="50" creationId="{1BA9E052-348C-1DD6-9EA8-A8FE6CD9BB62}"/>
          </ac:inkMkLst>
        </pc:inkChg>
        <pc:inkChg chg="add del mod">
          <ac:chgData name="Aniket Chhabra" userId="598e0514-bef3-4e71-b6aa-f2edd6441cff" providerId="ADAL" clId="{A0F7D543-B727-034C-88B5-8F838AD07213}" dt="2022-09-10T08:38:04.999" v="974"/>
          <ac:inkMkLst>
            <pc:docMk/>
            <pc:sldMk cId="3090271849" sldId="287"/>
            <ac:inkMk id="51" creationId="{29C9116D-92F5-586C-362C-F411787427B0}"/>
          </ac:inkMkLst>
        </pc:inkChg>
        <pc:inkChg chg="add del mod">
          <ac:chgData name="Aniket Chhabra" userId="598e0514-bef3-4e71-b6aa-f2edd6441cff" providerId="ADAL" clId="{A0F7D543-B727-034C-88B5-8F838AD07213}" dt="2022-09-10T08:38:35.058" v="1081" actId="9405"/>
          <ac:inkMkLst>
            <pc:docMk/>
            <pc:sldMk cId="3090271849" sldId="287"/>
            <ac:inkMk id="52" creationId="{A8E79F3D-A4E8-27D5-9604-8737543F9BB3}"/>
          </ac:inkMkLst>
        </pc:inkChg>
        <pc:inkChg chg="add del mod">
          <ac:chgData name="Aniket Chhabra" userId="598e0514-bef3-4e71-b6aa-f2edd6441cff" providerId="ADAL" clId="{A0F7D543-B727-034C-88B5-8F838AD07213}" dt="2022-09-10T08:38:05.001" v="983"/>
          <ac:inkMkLst>
            <pc:docMk/>
            <pc:sldMk cId="3090271849" sldId="287"/>
            <ac:inkMk id="53" creationId="{94870A81-F195-BEB7-252A-30D195D35636}"/>
          </ac:inkMkLst>
        </pc:inkChg>
        <pc:inkChg chg="add del mod">
          <ac:chgData name="Aniket Chhabra" userId="598e0514-bef3-4e71-b6aa-f2edd6441cff" providerId="ADAL" clId="{A0F7D543-B727-034C-88B5-8F838AD07213}" dt="2022-09-10T08:38:05.005" v="1010"/>
          <ac:inkMkLst>
            <pc:docMk/>
            <pc:sldMk cId="3090271849" sldId="287"/>
            <ac:inkMk id="54" creationId="{C2D35319-DAF7-043D-E493-24E6964B20ED}"/>
          </ac:inkMkLst>
        </pc:inkChg>
        <pc:inkChg chg="add del mod">
          <ac:chgData name="Aniket Chhabra" userId="598e0514-bef3-4e71-b6aa-f2edd6441cff" providerId="ADAL" clId="{A0F7D543-B727-034C-88B5-8F838AD07213}" dt="2022-09-10T08:38:05.004" v="1003"/>
          <ac:inkMkLst>
            <pc:docMk/>
            <pc:sldMk cId="3090271849" sldId="287"/>
            <ac:inkMk id="55" creationId="{3D993D77-F99A-FD2D-84E2-AE9F4E68D9A3}"/>
          </ac:inkMkLst>
        </pc:inkChg>
        <pc:inkChg chg="add del mod">
          <ac:chgData name="Aniket Chhabra" userId="598e0514-bef3-4e71-b6aa-f2edd6441cff" providerId="ADAL" clId="{A0F7D543-B727-034C-88B5-8F838AD07213}" dt="2022-09-10T08:38:05.006" v="1016"/>
          <ac:inkMkLst>
            <pc:docMk/>
            <pc:sldMk cId="3090271849" sldId="287"/>
            <ac:inkMk id="57" creationId="{2780CAFE-8A42-BC65-6254-261A5E0F5F7C}"/>
          </ac:inkMkLst>
        </pc:inkChg>
        <pc:inkChg chg="add del mod">
          <ac:chgData name="Aniket Chhabra" userId="598e0514-bef3-4e71-b6aa-f2edd6441cff" providerId="ADAL" clId="{A0F7D543-B727-034C-88B5-8F838AD07213}" dt="2022-09-10T08:38:05.005" v="1009"/>
          <ac:inkMkLst>
            <pc:docMk/>
            <pc:sldMk cId="3090271849" sldId="287"/>
            <ac:inkMk id="58" creationId="{F7AF5ACA-C06B-1FE9-CC59-1C74EA35C480}"/>
          </ac:inkMkLst>
        </pc:inkChg>
        <pc:inkChg chg="add del mod">
          <ac:chgData name="Aniket Chhabra" userId="598e0514-bef3-4e71-b6aa-f2edd6441cff" providerId="ADAL" clId="{A0F7D543-B727-034C-88B5-8F838AD07213}" dt="2022-09-10T08:38:05.007" v="1020"/>
          <ac:inkMkLst>
            <pc:docMk/>
            <pc:sldMk cId="3090271849" sldId="287"/>
            <ac:inkMk id="59" creationId="{3FC65C0E-00C3-ABF1-F00F-C4279D8DBFDE}"/>
          </ac:inkMkLst>
        </pc:inkChg>
        <pc:inkChg chg="add del mod">
          <ac:chgData name="Aniket Chhabra" userId="598e0514-bef3-4e71-b6aa-f2edd6441cff" providerId="ADAL" clId="{A0F7D543-B727-034C-88B5-8F838AD07213}" dt="2022-09-10T08:38:05.004" v="1001"/>
          <ac:inkMkLst>
            <pc:docMk/>
            <pc:sldMk cId="3090271849" sldId="287"/>
            <ac:inkMk id="60" creationId="{FDD2E593-8EB3-5F4B-2615-0891653E209B}"/>
          </ac:inkMkLst>
        </pc:inkChg>
        <pc:inkChg chg="add del mod">
          <ac:chgData name="Aniket Chhabra" userId="598e0514-bef3-4e71-b6aa-f2edd6441cff" providerId="ADAL" clId="{A0F7D543-B727-034C-88B5-8F838AD07213}" dt="2022-09-10T08:38:05.006" v="1014"/>
          <ac:inkMkLst>
            <pc:docMk/>
            <pc:sldMk cId="3090271849" sldId="287"/>
            <ac:inkMk id="61" creationId="{A2AA492F-706E-60DD-8053-516DD5FDF971}"/>
          </ac:inkMkLst>
        </pc:inkChg>
        <pc:inkChg chg="add del mod">
          <ac:chgData name="Aniket Chhabra" userId="598e0514-bef3-4e71-b6aa-f2edd6441cff" providerId="ADAL" clId="{A0F7D543-B727-034C-88B5-8F838AD07213}" dt="2022-09-10T08:38:04.999" v="975"/>
          <ac:inkMkLst>
            <pc:docMk/>
            <pc:sldMk cId="3090271849" sldId="287"/>
            <ac:inkMk id="62" creationId="{05BF3261-B671-7607-DB29-C2EAB8BEA3D4}"/>
          </ac:inkMkLst>
        </pc:inkChg>
        <pc:inkChg chg="add del mod">
          <ac:chgData name="Aniket Chhabra" userId="598e0514-bef3-4e71-b6aa-f2edd6441cff" providerId="ADAL" clId="{A0F7D543-B727-034C-88B5-8F838AD07213}" dt="2022-09-10T08:38:05.006" v="1013"/>
          <ac:inkMkLst>
            <pc:docMk/>
            <pc:sldMk cId="3090271849" sldId="287"/>
            <ac:inkMk id="63" creationId="{CBC74EA8-939F-7A28-CFC9-1E96E2087D31}"/>
          </ac:inkMkLst>
        </pc:inkChg>
        <pc:inkChg chg="add del mod">
          <ac:chgData name="Aniket Chhabra" userId="598e0514-bef3-4e71-b6aa-f2edd6441cff" providerId="ADAL" clId="{A0F7D543-B727-034C-88B5-8F838AD07213}" dt="2022-09-10T08:38:05" v="980"/>
          <ac:inkMkLst>
            <pc:docMk/>
            <pc:sldMk cId="3090271849" sldId="287"/>
            <ac:inkMk id="64" creationId="{1E9C2CAB-C604-8846-F330-61F98F01DB87}"/>
          </ac:inkMkLst>
        </pc:inkChg>
        <pc:inkChg chg="add del mod">
          <ac:chgData name="Aniket Chhabra" userId="598e0514-bef3-4e71-b6aa-f2edd6441cff" providerId="ADAL" clId="{A0F7D543-B727-034C-88B5-8F838AD07213}" dt="2022-09-10T08:38:05" v="979"/>
          <ac:inkMkLst>
            <pc:docMk/>
            <pc:sldMk cId="3090271849" sldId="287"/>
            <ac:inkMk id="65" creationId="{46758E89-D0EB-29DF-B22C-EA9D53683311}"/>
          </ac:inkMkLst>
        </pc:inkChg>
        <pc:inkChg chg="add del mod">
          <ac:chgData name="Aniket Chhabra" userId="598e0514-bef3-4e71-b6aa-f2edd6441cff" providerId="ADAL" clId="{A0F7D543-B727-034C-88B5-8F838AD07213}" dt="2022-09-10T08:38:34.710" v="1080"/>
          <ac:inkMkLst>
            <pc:docMk/>
            <pc:sldMk cId="3090271849" sldId="287"/>
            <ac:inkMk id="66" creationId="{89952A7C-04FC-DA41-EC0F-388E1AD44967}"/>
          </ac:inkMkLst>
        </pc:inkChg>
        <pc:inkChg chg="add del mod">
          <ac:chgData name="Aniket Chhabra" userId="598e0514-bef3-4e71-b6aa-f2edd6441cff" providerId="ADAL" clId="{A0F7D543-B727-034C-88B5-8F838AD07213}" dt="2022-09-10T08:38:08.654" v="1040"/>
          <ac:inkMkLst>
            <pc:docMk/>
            <pc:sldMk cId="3090271849" sldId="287"/>
            <ac:inkMk id="68" creationId="{EEF16D1A-9371-C0F8-7D19-E725954369B8}"/>
          </ac:inkMkLst>
        </pc:inkChg>
        <pc:inkChg chg="add del mod">
          <ac:chgData name="Aniket Chhabra" userId="598e0514-bef3-4e71-b6aa-f2edd6441cff" providerId="ADAL" clId="{A0F7D543-B727-034C-88B5-8F838AD07213}" dt="2022-09-10T08:38:08.654" v="1041"/>
          <ac:inkMkLst>
            <pc:docMk/>
            <pc:sldMk cId="3090271849" sldId="287"/>
            <ac:inkMk id="69" creationId="{BC813B74-3C26-137D-5856-F47E9350BDD0}"/>
          </ac:inkMkLst>
        </pc:inkChg>
        <pc:inkChg chg="add del mod">
          <ac:chgData name="Aniket Chhabra" userId="598e0514-bef3-4e71-b6aa-f2edd6441cff" providerId="ADAL" clId="{A0F7D543-B727-034C-88B5-8F838AD07213}" dt="2022-09-10T08:38:08.655" v="1044"/>
          <ac:inkMkLst>
            <pc:docMk/>
            <pc:sldMk cId="3090271849" sldId="287"/>
            <ac:inkMk id="70" creationId="{5AAA83E1-D398-1C1D-E20B-28FB959066B2}"/>
          </ac:inkMkLst>
        </pc:inkChg>
        <pc:inkChg chg="add del mod">
          <ac:chgData name="Aniket Chhabra" userId="598e0514-bef3-4e71-b6aa-f2edd6441cff" providerId="ADAL" clId="{A0F7D543-B727-034C-88B5-8F838AD07213}" dt="2022-09-10T08:38:08.654" v="1042"/>
          <ac:inkMkLst>
            <pc:docMk/>
            <pc:sldMk cId="3090271849" sldId="287"/>
            <ac:inkMk id="71" creationId="{0271DD63-4FF1-B4BA-B878-6DA284AABADB}"/>
          </ac:inkMkLst>
        </pc:inkChg>
        <pc:inkChg chg="add del mod">
          <ac:chgData name="Aniket Chhabra" userId="598e0514-bef3-4e71-b6aa-f2edd6441cff" providerId="ADAL" clId="{A0F7D543-B727-034C-88B5-8F838AD07213}" dt="2022-09-10T08:38:08.651" v="1032"/>
          <ac:inkMkLst>
            <pc:docMk/>
            <pc:sldMk cId="3090271849" sldId="287"/>
            <ac:inkMk id="72" creationId="{62FC4C5B-FC2F-8E13-C1FA-5C708EB7D434}"/>
          </ac:inkMkLst>
        </pc:inkChg>
        <pc:inkChg chg="add del mod">
          <ac:chgData name="Aniket Chhabra" userId="598e0514-bef3-4e71-b6aa-f2edd6441cff" providerId="ADAL" clId="{A0F7D543-B727-034C-88B5-8F838AD07213}" dt="2022-09-10T08:38:08.649" v="1026"/>
          <ac:inkMkLst>
            <pc:docMk/>
            <pc:sldMk cId="3090271849" sldId="287"/>
            <ac:inkMk id="73" creationId="{CFD56DD6-A4E8-42D5-8DDA-75D53EB57FB8}"/>
          </ac:inkMkLst>
        </pc:inkChg>
        <pc:inkChg chg="add del mod">
          <ac:chgData name="Aniket Chhabra" userId="598e0514-bef3-4e71-b6aa-f2edd6441cff" providerId="ADAL" clId="{A0F7D543-B727-034C-88B5-8F838AD07213}" dt="2022-09-10T08:38:08.650" v="1029"/>
          <ac:inkMkLst>
            <pc:docMk/>
            <pc:sldMk cId="3090271849" sldId="287"/>
            <ac:inkMk id="74" creationId="{CA2A98DA-9CD3-14D5-DEC0-70CCA25F400E}"/>
          </ac:inkMkLst>
        </pc:inkChg>
        <pc:inkChg chg="add del mod">
          <ac:chgData name="Aniket Chhabra" userId="598e0514-bef3-4e71-b6aa-f2edd6441cff" providerId="ADAL" clId="{A0F7D543-B727-034C-88B5-8F838AD07213}" dt="2022-09-10T08:38:10.743" v="1053"/>
          <ac:inkMkLst>
            <pc:docMk/>
            <pc:sldMk cId="3090271849" sldId="287"/>
            <ac:inkMk id="77" creationId="{F95BD5B3-AAED-0D29-44AB-B838A5939D09}"/>
          </ac:inkMkLst>
        </pc:inkChg>
        <pc:inkChg chg="add del mod">
          <ac:chgData name="Aniket Chhabra" userId="598e0514-bef3-4e71-b6aa-f2edd6441cff" providerId="ADAL" clId="{A0F7D543-B727-034C-88B5-8F838AD07213}" dt="2022-09-10T08:38:08.651" v="1031"/>
          <ac:inkMkLst>
            <pc:docMk/>
            <pc:sldMk cId="3090271849" sldId="287"/>
            <ac:inkMk id="78" creationId="{E80F5CD5-5B77-5553-4440-0703B0D7D3DB}"/>
          </ac:inkMkLst>
        </pc:inkChg>
        <pc:inkChg chg="add del mod">
          <ac:chgData name="Aniket Chhabra" userId="598e0514-bef3-4e71-b6aa-f2edd6441cff" providerId="ADAL" clId="{A0F7D543-B727-034C-88B5-8F838AD07213}" dt="2022-09-10T08:38:08.653" v="1038"/>
          <ac:inkMkLst>
            <pc:docMk/>
            <pc:sldMk cId="3090271849" sldId="287"/>
            <ac:inkMk id="79" creationId="{EAF9005F-DCB3-2DBF-6744-298C91FCF1CA}"/>
          </ac:inkMkLst>
        </pc:inkChg>
        <pc:inkChg chg="add del mod">
          <ac:chgData name="Aniket Chhabra" userId="598e0514-bef3-4e71-b6aa-f2edd6441cff" providerId="ADAL" clId="{A0F7D543-B727-034C-88B5-8F838AD07213}" dt="2022-09-10T08:38:08.653" v="1039"/>
          <ac:inkMkLst>
            <pc:docMk/>
            <pc:sldMk cId="3090271849" sldId="287"/>
            <ac:inkMk id="80" creationId="{4907EBD4-70CF-8259-F4B6-6B90D9F9EAF7}"/>
          </ac:inkMkLst>
        </pc:inkChg>
        <pc:inkChg chg="add del mod">
          <ac:chgData name="Aniket Chhabra" userId="598e0514-bef3-4e71-b6aa-f2edd6441cff" providerId="ADAL" clId="{A0F7D543-B727-034C-88B5-8F838AD07213}" dt="2022-09-10T08:38:12.602" v="1056"/>
          <ac:inkMkLst>
            <pc:docMk/>
            <pc:sldMk cId="3090271849" sldId="287"/>
            <ac:inkMk id="81" creationId="{577C2A30-1146-641F-D2B3-897013E329D4}"/>
          </ac:inkMkLst>
        </pc:inkChg>
        <pc:inkChg chg="add del mod">
          <ac:chgData name="Aniket Chhabra" userId="598e0514-bef3-4e71-b6aa-f2edd6441cff" providerId="ADAL" clId="{A0F7D543-B727-034C-88B5-8F838AD07213}" dt="2022-09-10T08:38:08.653" v="1037"/>
          <ac:inkMkLst>
            <pc:docMk/>
            <pc:sldMk cId="3090271849" sldId="287"/>
            <ac:inkMk id="82" creationId="{4FDC423A-A5D0-979C-2D15-B52724D0095C}"/>
          </ac:inkMkLst>
        </pc:inkChg>
        <pc:inkChg chg="add del mod">
          <ac:chgData name="Aniket Chhabra" userId="598e0514-bef3-4e71-b6aa-f2edd6441cff" providerId="ADAL" clId="{A0F7D543-B727-034C-88B5-8F838AD07213}" dt="2022-09-10T08:38:08.651" v="1030"/>
          <ac:inkMkLst>
            <pc:docMk/>
            <pc:sldMk cId="3090271849" sldId="287"/>
            <ac:inkMk id="83" creationId="{5D090F50-261D-81DD-C772-2F1170F61CA8}"/>
          </ac:inkMkLst>
        </pc:inkChg>
        <pc:inkChg chg="del">
          <ac:chgData name="Aniket Chhabra" userId="598e0514-bef3-4e71-b6aa-f2edd6441cff" providerId="ADAL" clId="{A0F7D543-B727-034C-88B5-8F838AD07213}" dt="2022-09-10T08:38:05.001" v="984"/>
          <ac:inkMkLst>
            <pc:docMk/>
            <pc:sldMk cId="3090271849" sldId="287"/>
            <ac:inkMk id="84" creationId="{B4C6640C-2C22-6B92-90A8-A89E0E262CB2}"/>
          </ac:inkMkLst>
        </pc:inkChg>
        <pc:inkChg chg="del mod">
          <ac:chgData name="Aniket Chhabra" userId="598e0514-bef3-4e71-b6aa-f2edd6441cff" providerId="ADAL" clId="{A0F7D543-B727-034C-88B5-8F838AD07213}" dt="2022-09-10T08:38:05.003" v="995"/>
          <ac:inkMkLst>
            <pc:docMk/>
            <pc:sldMk cId="3090271849" sldId="287"/>
            <ac:inkMk id="85" creationId="{83CA5CC1-F8D4-8769-FF31-E85A051F2F67}"/>
          </ac:inkMkLst>
        </pc:inkChg>
        <pc:inkChg chg="del mod">
          <ac:chgData name="Aniket Chhabra" userId="598e0514-bef3-4e71-b6aa-f2edd6441cff" providerId="ADAL" clId="{A0F7D543-B727-034C-88B5-8F838AD07213}" dt="2022-09-10T08:38:05.006" v="1017"/>
          <ac:inkMkLst>
            <pc:docMk/>
            <pc:sldMk cId="3090271849" sldId="287"/>
            <ac:inkMk id="86" creationId="{ABDD91E9-E192-9999-9A4C-8CB33F001EAF}"/>
          </ac:inkMkLst>
        </pc:inkChg>
        <pc:inkChg chg="del mod">
          <ac:chgData name="Aniket Chhabra" userId="598e0514-bef3-4e71-b6aa-f2edd6441cff" providerId="ADAL" clId="{A0F7D543-B727-034C-88B5-8F838AD07213}" dt="2022-09-10T08:38:05.003" v="997"/>
          <ac:inkMkLst>
            <pc:docMk/>
            <pc:sldMk cId="3090271849" sldId="287"/>
            <ac:inkMk id="87" creationId="{983112AA-9651-DB16-0AFE-B91E011F3B1B}"/>
          </ac:inkMkLst>
        </pc:inkChg>
        <pc:inkChg chg="del mod">
          <ac:chgData name="Aniket Chhabra" userId="598e0514-bef3-4e71-b6aa-f2edd6441cff" providerId="ADAL" clId="{A0F7D543-B727-034C-88B5-8F838AD07213}" dt="2022-09-10T08:38:05.006" v="1015"/>
          <ac:inkMkLst>
            <pc:docMk/>
            <pc:sldMk cId="3090271849" sldId="287"/>
            <ac:inkMk id="88" creationId="{4487938F-987A-08E1-3B5B-4A4DA80617C1}"/>
          </ac:inkMkLst>
        </pc:inkChg>
        <pc:inkChg chg="del mod">
          <ac:chgData name="Aniket Chhabra" userId="598e0514-bef3-4e71-b6aa-f2edd6441cff" providerId="ADAL" clId="{A0F7D543-B727-034C-88B5-8F838AD07213}" dt="2022-09-10T08:38:05.003" v="998"/>
          <ac:inkMkLst>
            <pc:docMk/>
            <pc:sldMk cId="3090271849" sldId="287"/>
            <ac:inkMk id="89" creationId="{23C1950E-673E-548E-20F3-2764E8DCE8D2}"/>
          </ac:inkMkLst>
        </pc:inkChg>
        <pc:inkChg chg="del mod">
          <ac:chgData name="Aniket Chhabra" userId="598e0514-bef3-4e71-b6aa-f2edd6441cff" providerId="ADAL" clId="{A0F7D543-B727-034C-88B5-8F838AD07213}" dt="2022-09-10T08:38:05.007" v="1025"/>
          <ac:inkMkLst>
            <pc:docMk/>
            <pc:sldMk cId="3090271849" sldId="287"/>
            <ac:inkMk id="90" creationId="{919B477E-6A62-B090-5C8A-5F54E3A169DB}"/>
          </ac:inkMkLst>
        </pc:inkChg>
        <pc:inkChg chg="del mod">
          <ac:chgData name="Aniket Chhabra" userId="598e0514-bef3-4e71-b6aa-f2edd6441cff" providerId="ADAL" clId="{A0F7D543-B727-034C-88B5-8F838AD07213}" dt="2022-09-10T08:38:05.002" v="993"/>
          <ac:inkMkLst>
            <pc:docMk/>
            <pc:sldMk cId="3090271849" sldId="287"/>
            <ac:inkMk id="91" creationId="{7140E39C-E038-BB9C-A4D8-66C2B3F00A07}"/>
          </ac:inkMkLst>
        </pc:inkChg>
        <pc:inkChg chg="del mod">
          <ac:chgData name="Aniket Chhabra" userId="598e0514-bef3-4e71-b6aa-f2edd6441cff" providerId="ADAL" clId="{A0F7D543-B727-034C-88B5-8F838AD07213}" dt="2022-09-10T08:38:05.005" v="1012"/>
          <ac:inkMkLst>
            <pc:docMk/>
            <pc:sldMk cId="3090271849" sldId="287"/>
            <ac:inkMk id="92" creationId="{06E45E15-FF96-ABFA-DF8F-37E8A6FF2A07}"/>
          </ac:inkMkLst>
        </pc:inkChg>
        <pc:inkChg chg="del mod">
          <ac:chgData name="Aniket Chhabra" userId="598e0514-bef3-4e71-b6aa-f2edd6441cff" providerId="ADAL" clId="{A0F7D543-B727-034C-88B5-8F838AD07213}" dt="2022-09-10T08:38:05.002" v="990"/>
          <ac:inkMkLst>
            <pc:docMk/>
            <pc:sldMk cId="3090271849" sldId="287"/>
            <ac:inkMk id="93" creationId="{2C008A31-41C8-380D-FD4E-43222845D1BF}"/>
          </ac:inkMkLst>
        </pc:inkChg>
        <pc:inkChg chg="del mod">
          <ac:chgData name="Aniket Chhabra" userId="598e0514-bef3-4e71-b6aa-f2edd6441cff" providerId="ADAL" clId="{A0F7D543-B727-034C-88B5-8F838AD07213}" dt="2022-09-10T08:38:05.007" v="1023"/>
          <ac:inkMkLst>
            <pc:docMk/>
            <pc:sldMk cId="3090271849" sldId="287"/>
            <ac:inkMk id="94" creationId="{08BD6651-5543-30D5-DE2B-1FDC6B10B077}"/>
          </ac:inkMkLst>
        </pc:inkChg>
        <pc:inkChg chg="del mod">
          <ac:chgData name="Aniket Chhabra" userId="598e0514-bef3-4e71-b6aa-f2edd6441cff" providerId="ADAL" clId="{A0F7D543-B727-034C-88B5-8F838AD07213}" dt="2022-09-10T08:38:05.002" v="992"/>
          <ac:inkMkLst>
            <pc:docMk/>
            <pc:sldMk cId="3090271849" sldId="287"/>
            <ac:inkMk id="95" creationId="{F3E5C2FC-17FD-5AD2-984C-FE0F902D7928}"/>
          </ac:inkMkLst>
        </pc:inkChg>
        <pc:inkChg chg="del mod">
          <ac:chgData name="Aniket Chhabra" userId="598e0514-bef3-4e71-b6aa-f2edd6441cff" providerId="ADAL" clId="{A0F7D543-B727-034C-88B5-8F838AD07213}" dt="2022-09-10T08:38:05.007" v="1022"/>
          <ac:inkMkLst>
            <pc:docMk/>
            <pc:sldMk cId="3090271849" sldId="287"/>
            <ac:inkMk id="96" creationId="{B31D30FF-1AA4-28AB-E987-D29CC7F8E8C0}"/>
          </ac:inkMkLst>
        </pc:inkChg>
        <pc:inkChg chg="del mod">
          <ac:chgData name="Aniket Chhabra" userId="598e0514-bef3-4e71-b6aa-f2edd6441cff" providerId="ADAL" clId="{A0F7D543-B727-034C-88B5-8F838AD07213}" dt="2022-09-10T08:38:05.001" v="982"/>
          <ac:inkMkLst>
            <pc:docMk/>
            <pc:sldMk cId="3090271849" sldId="287"/>
            <ac:inkMk id="97" creationId="{6DD4B35F-E6BA-552B-A9FE-8EDB00BEDC89}"/>
          </ac:inkMkLst>
        </pc:inkChg>
        <pc:inkChg chg="del mod">
          <ac:chgData name="Aniket Chhabra" userId="598e0514-bef3-4e71-b6aa-f2edd6441cff" providerId="ADAL" clId="{A0F7D543-B727-034C-88B5-8F838AD07213}" dt="2022-09-10T08:38:05.005" v="1011"/>
          <ac:inkMkLst>
            <pc:docMk/>
            <pc:sldMk cId="3090271849" sldId="287"/>
            <ac:inkMk id="98" creationId="{56938877-19EB-E6DA-FBB6-70F06DE5573A}"/>
          </ac:inkMkLst>
        </pc:inkChg>
        <pc:inkChg chg="del mod">
          <ac:chgData name="Aniket Chhabra" userId="598e0514-bef3-4e71-b6aa-f2edd6441cff" providerId="ADAL" clId="{A0F7D543-B727-034C-88B5-8F838AD07213}" dt="2022-09-10T08:38:05.002" v="988"/>
          <ac:inkMkLst>
            <pc:docMk/>
            <pc:sldMk cId="3090271849" sldId="287"/>
            <ac:inkMk id="99" creationId="{E853933A-FABA-BF82-744C-4D820CC64BC9}"/>
          </ac:inkMkLst>
        </pc:inkChg>
        <pc:inkChg chg="del mod">
          <ac:chgData name="Aniket Chhabra" userId="598e0514-bef3-4e71-b6aa-f2edd6441cff" providerId="ADAL" clId="{A0F7D543-B727-034C-88B5-8F838AD07213}" dt="2022-09-10T08:38:05.006" v="1018"/>
          <ac:inkMkLst>
            <pc:docMk/>
            <pc:sldMk cId="3090271849" sldId="287"/>
            <ac:inkMk id="100" creationId="{0A771554-428B-4337-52E7-AB9F32C02DFF}"/>
          </ac:inkMkLst>
        </pc:inkChg>
        <pc:inkChg chg="del mod">
          <ac:chgData name="Aniket Chhabra" userId="598e0514-bef3-4e71-b6aa-f2edd6441cff" providerId="ADAL" clId="{A0F7D543-B727-034C-88B5-8F838AD07213}" dt="2022-09-10T08:38:05.001" v="986"/>
          <ac:inkMkLst>
            <pc:docMk/>
            <pc:sldMk cId="3090271849" sldId="287"/>
            <ac:inkMk id="103" creationId="{3492610C-CFC7-8447-7924-2067449FC3DE}"/>
          </ac:inkMkLst>
        </pc:inkChg>
        <pc:inkChg chg="del mod">
          <ac:chgData name="Aniket Chhabra" userId="598e0514-bef3-4e71-b6aa-f2edd6441cff" providerId="ADAL" clId="{A0F7D543-B727-034C-88B5-8F838AD07213}" dt="2022-09-10T08:38:05" v="977"/>
          <ac:inkMkLst>
            <pc:docMk/>
            <pc:sldMk cId="3090271849" sldId="287"/>
            <ac:inkMk id="104" creationId="{80180FA6-C823-420B-713E-A7B55895A2BE}"/>
          </ac:inkMkLst>
        </pc:inkChg>
        <pc:inkChg chg="del">
          <ac:chgData name="Aniket Chhabra" userId="598e0514-bef3-4e71-b6aa-f2edd6441cff" providerId="ADAL" clId="{A0F7D543-B727-034C-88B5-8F838AD07213}" dt="2022-09-10T08:38:05" v="976"/>
          <ac:inkMkLst>
            <pc:docMk/>
            <pc:sldMk cId="3090271849" sldId="287"/>
            <ac:inkMk id="105" creationId="{6D479E1E-8912-9003-861D-30FDECCABB51}"/>
          </ac:inkMkLst>
        </pc:inkChg>
        <pc:inkChg chg="add del mod">
          <ac:chgData name="Aniket Chhabra" userId="598e0514-bef3-4e71-b6aa-f2edd6441cff" providerId="ADAL" clId="{A0F7D543-B727-034C-88B5-8F838AD07213}" dt="2022-09-10T08:38:10.743" v="1050"/>
          <ac:inkMkLst>
            <pc:docMk/>
            <pc:sldMk cId="3090271849" sldId="287"/>
            <ac:inkMk id="108" creationId="{3A15FAF9-5779-2E92-920D-384BCA5F0776}"/>
          </ac:inkMkLst>
        </pc:inkChg>
        <pc:inkChg chg="add del mod">
          <ac:chgData name="Aniket Chhabra" userId="598e0514-bef3-4e71-b6aa-f2edd6441cff" providerId="ADAL" clId="{A0F7D543-B727-034C-88B5-8F838AD07213}" dt="2022-09-10T08:38:10.744" v="1055"/>
          <ac:inkMkLst>
            <pc:docMk/>
            <pc:sldMk cId="3090271849" sldId="287"/>
            <ac:inkMk id="109" creationId="{527A58F7-C47E-A79F-BAF1-DF82F34D0499}"/>
          </ac:inkMkLst>
        </pc:inkChg>
        <pc:inkChg chg="add del mod">
          <ac:chgData name="Aniket Chhabra" userId="598e0514-bef3-4e71-b6aa-f2edd6441cff" providerId="ADAL" clId="{A0F7D543-B727-034C-88B5-8F838AD07213}" dt="2022-09-10T08:38:10.741" v="1046"/>
          <ac:inkMkLst>
            <pc:docMk/>
            <pc:sldMk cId="3090271849" sldId="287"/>
            <ac:inkMk id="110" creationId="{3264EDAE-C911-CD36-C06A-156B594FA816}"/>
          </ac:inkMkLst>
        </pc:inkChg>
        <pc:inkChg chg="add del mod">
          <ac:chgData name="Aniket Chhabra" userId="598e0514-bef3-4e71-b6aa-f2edd6441cff" providerId="ADAL" clId="{A0F7D543-B727-034C-88B5-8F838AD07213}" dt="2022-09-10T08:38:10.743" v="1052"/>
          <ac:inkMkLst>
            <pc:docMk/>
            <pc:sldMk cId="3090271849" sldId="287"/>
            <ac:inkMk id="111" creationId="{9599B24E-A842-884E-2FFF-D200ED5A14A4}"/>
          </ac:inkMkLst>
        </pc:inkChg>
        <pc:inkChg chg="add del mod">
          <ac:chgData name="Aniket Chhabra" userId="598e0514-bef3-4e71-b6aa-f2edd6441cff" providerId="ADAL" clId="{A0F7D543-B727-034C-88B5-8F838AD07213}" dt="2022-09-10T08:38:10.743" v="1054"/>
          <ac:inkMkLst>
            <pc:docMk/>
            <pc:sldMk cId="3090271849" sldId="287"/>
            <ac:inkMk id="112" creationId="{C1D0D1F7-C022-A0E6-3D31-DB8963BC0FEE}"/>
          </ac:inkMkLst>
        </pc:inkChg>
        <pc:inkChg chg="add del mod">
          <ac:chgData name="Aniket Chhabra" userId="598e0514-bef3-4e71-b6aa-f2edd6441cff" providerId="ADAL" clId="{A0F7D543-B727-034C-88B5-8F838AD07213}" dt="2022-09-10T08:38:10.742" v="1049"/>
          <ac:inkMkLst>
            <pc:docMk/>
            <pc:sldMk cId="3090271849" sldId="287"/>
            <ac:inkMk id="113" creationId="{FAFB3A0F-C9AB-A145-54FB-CFBD51299F9A}"/>
          </ac:inkMkLst>
        </pc:inkChg>
        <pc:inkChg chg="add del">
          <ac:chgData name="Aniket Chhabra" userId="598e0514-bef3-4e71-b6aa-f2edd6441cff" providerId="ADAL" clId="{A0F7D543-B727-034C-88B5-8F838AD07213}" dt="2022-09-10T08:38:08.650" v="1028"/>
          <ac:inkMkLst>
            <pc:docMk/>
            <pc:sldMk cId="3090271849" sldId="287"/>
            <ac:inkMk id="115" creationId="{3C2AD76A-DF7A-9E80-B4A6-E5C76DCF9723}"/>
          </ac:inkMkLst>
        </pc:inkChg>
        <pc:inkChg chg="add del mod">
          <ac:chgData name="Aniket Chhabra" userId="598e0514-bef3-4e71-b6aa-f2edd6441cff" providerId="ADAL" clId="{A0F7D543-B727-034C-88B5-8F838AD07213}" dt="2022-09-10T08:38:10.742" v="1047"/>
          <ac:inkMkLst>
            <pc:docMk/>
            <pc:sldMk cId="3090271849" sldId="287"/>
            <ac:inkMk id="116" creationId="{1C5ACBFE-F2D1-5A27-668F-FABE90675597}"/>
          </ac:inkMkLst>
        </pc:inkChg>
        <pc:inkChg chg="add del mod">
          <ac:chgData name="Aniket Chhabra" userId="598e0514-bef3-4e71-b6aa-f2edd6441cff" providerId="ADAL" clId="{A0F7D543-B727-034C-88B5-8F838AD07213}" dt="2022-09-10T08:38:10.741" v="1045"/>
          <ac:inkMkLst>
            <pc:docMk/>
            <pc:sldMk cId="3090271849" sldId="287"/>
            <ac:inkMk id="117" creationId="{017FBA11-4EBC-C479-2413-874EE709E2AB}"/>
          </ac:inkMkLst>
        </pc:inkChg>
        <pc:inkChg chg="add del mod">
          <ac:chgData name="Aniket Chhabra" userId="598e0514-bef3-4e71-b6aa-f2edd6441cff" providerId="ADAL" clId="{A0F7D543-B727-034C-88B5-8F838AD07213}" dt="2022-09-10T08:38:12.604" v="1059"/>
          <ac:inkMkLst>
            <pc:docMk/>
            <pc:sldMk cId="3090271849" sldId="287"/>
            <ac:inkMk id="118" creationId="{B7938E41-550E-2D0E-3382-C245A80BE646}"/>
          </ac:inkMkLst>
        </pc:inkChg>
        <pc:inkChg chg="add del mod">
          <ac:chgData name="Aniket Chhabra" userId="598e0514-bef3-4e71-b6aa-f2edd6441cff" providerId="ADAL" clId="{A0F7D543-B727-034C-88B5-8F838AD07213}" dt="2022-09-10T08:38:10.743" v="1051"/>
          <ac:inkMkLst>
            <pc:docMk/>
            <pc:sldMk cId="3090271849" sldId="287"/>
            <ac:inkMk id="119" creationId="{7F1118BE-0136-BF21-B734-55ED5E8BAC8A}"/>
          </ac:inkMkLst>
        </pc:inkChg>
        <pc:inkChg chg="add del mod">
          <ac:chgData name="Aniket Chhabra" userId="598e0514-bef3-4e71-b6aa-f2edd6441cff" providerId="ADAL" clId="{A0F7D543-B727-034C-88B5-8F838AD07213}" dt="2022-09-10T08:38:10.742" v="1048"/>
          <ac:inkMkLst>
            <pc:docMk/>
            <pc:sldMk cId="3090271849" sldId="287"/>
            <ac:inkMk id="120" creationId="{039235DC-9A2C-B753-903F-A3ABAC7165A3}"/>
          </ac:inkMkLst>
        </pc:inkChg>
        <pc:inkChg chg="add del mod">
          <ac:chgData name="Aniket Chhabra" userId="598e0514-bef3-4e71-b6aa-f2edd6441cff" providerId="ADAL" clId="{A0F7D543-B727-034C-88B5-8F838AD07213}" dt="2022-09-10T08:38:12.603" v="1058"/>
          <ac:inkMkLst>
            <pc:docMk/>
            <pc:sldMk cId="3090271849" sldId="287"/>
            <ac:inkMk id="123" creationId="{8BE42DD2-13AE-E123-71C9-BD6E3B7CD626}"/>
          </ac:inkMkLst>
        </pc:inkChg>
        <pc:inkChg chg="add del mod">
          <ac:chgData name="Aniket Chhabra" userId="598e0514-bef3-4e71-b6aa-f2edd6441cff" providerId="ADAL" clId="{A0F7D543-B727-034C-88B5-8F838AD07213}" dt="2022-09-10T08:38:12.603" v="1057"/>
          <ac:inkMkLst>
            <pc:docMk/>
            <pc:sldMk cId="3090271849" sldId="287"/>
            <ac:inkMk id="124" creationId="{2C530886-134F-7AC6-DA03-A08F2B793FA0}"/>
          </ac:inkMkLst>
        </pc:inkChg>
        <pc:inkChg chg="add del mod">
          <ac:chgData name="Aniket Chhabra" userId="598e0514-bef3-4e71-b6aa-f2edd6441cff" providerId="ADAL" clId="{A0F7D543-B727-034C-88B5-8F838AD07213}" dt="2022-09-10T08:38:12.604" v="1060"/>
          <ac:inkMkLst>
            <pc:docMk/>
            <pc:sldMk cId="3090271849" sldId="287"/>
            <ac:inkMk id="125" creationId="{DCC83A0F-FDBC-DBA3-95DA-D76C5F1140B3}"/>
          </ac:inkMkLst>
        </pc:inkChg>
        <pc:inkChg chg="add del mod">
          <ac:chgData name="Aniket Chhabra" userId="598e0514-bef3-4e71-b6aa-f2edd6441cff" providerId="ADAL" clId="{A0F7D543-B727-034C-88B5-8F838AD07213}" dt="2022-09-10T08:38:12.604" v="1061"/>
          <ac:inkMkLst>
            <pc:docMk/>
            <pc:sldMk cId="3090271849" sldId="287"/>
            <ac:inkMk id="126" creationId="{DAA01530-2280-D465-482F-A4C3E1FB13F5}"/>
          </ac:inkMkLst>
        </pc:inkChg>
        <pc:inkChg chg="add del mod">
          <ac:chgData name="Aniket Chhabra" userId="598e0514-bef3-4e71-b6aa-f2edd6441cff" providerId="ADAL" clId="{A0F7D543-B727-034C-88B5-8F838AD07213}" dt="2022-09-10T08:38:05.007" v="1024"/>
          <ac:inkMkLst>
            <pc:docMk/>
            <pc:sldMk cId="3090271849" sldId="287"/>
            <ac:inkMk id="129" creationId="{5F9F3828-A013-E05B-F3BF-B7096D92BAC8}"/>
          </ac:inkMkLst>
        </pc:inkChg>
        <pc:inkChg chg="add del mod">
          <ac:chgData name="Aniket Chhabra" userId="598e0514-bef3-4e71-b6aa-f2edd6441cff" providerId="ADAL" clId="{A0F7D543-B727-034C-88B5-8F838AD07213}" dt="2022-09-10T08:38:05.003" v="999"/>
          <ac:inkMkLst>
            <pc:docMk/>
            <pc:sldMk cId="3090271849" sldId="287"/>
            <ac:inkMk id="131" creationId="{E9497B60-88AF-B3C3-70AE-54FD2E7445C4}"/>
          </ac:inkMkLst>
        </pc:inkChg>
        <pc:inkChg chg="add del mod">
          <ac:chgData name="Aniket Chhabra" userId="598e0514-bef3-4e71-b6aa-f2edd6441cff" providerId="ADAL" clId="{A0F7D543-B727-034C-88B5-8F838AD07213}" dt="2022-09-10T08:38:05.007" v="1021"/>
          <ac:inkMkLst>
            <pc:docMk/>
            <pc:sldMk cId="3090271849" sldId="287"/>
            <ac:inkMk id="132" creationId="{DA2D962C-9AE0-F0AB-C676-2A3729AF4833}"/>
          </ac:inkMkLst>
        </pc:inkChg>
        <pc:inkChg chg="add del">
          <ac:chgData name="Aniket Chhabra" userId="598e0514-bef3-4e71-b6aa-f2edd6441cff" providerId="ADAL" clId="{A0F7D543-B727-034C-88B5-8F838AD07213}" dt="2022-09-10T08:38:05.002" v="991"/>
          <ac:inkMkLst>
            <pc:docMk/>
            <pc:sldMk cId="3090271849" sldId="287"/>
            <ac:inkMk id="133" creationId="{E37F6F2B-4D35-2E33-6674-46EEC4C51EC9}"/>
          </ac:inkMkLst>
        </pc:inkChg>
        <pc:inkChg chg="add del">
          <ac:chgData name="Aniket Chhabra" userId="598e0514-bef3-4e71-b6aa-f2edd6441cff" providerId="ADAL" clId="{A0F7D543-B727-034C-88B5-8F838AD07213}" dt="2022-09-10T08:38:08.652" v="1034"/>
          <ac:inkMkLst>
            <pc:docMk/>
            <pc:sldMk cId="3090271849" sldId="287"/>
            <ac:inkMk id="134" creationId="{12C95B1B-1375-BB38-3F2F-118A9E616DB2}"/>
          </ac:inkMkLst>
        </pc:inkChg>
        <pc:inkChg chg="add del mod">
          <ac:chgData name="Aniket Chhabra" userId="598e0514-bef3-4e71-b6aa-f2edd6441cff" providerId="ADAL" clId="{A0F7D543-B727-034C-88B5-8F838AD07213}" dt="2022-09-10T08:39:15.237" v="1089"/>
          <ac:inkMkLst>
            <pc:docMk/>
            <pc:sldMk cId="3090271849" sldId="287"/>
            <ac:inkMk id="137" creationId="{79C394C2-AA58-F426-449E-22710F543F51}"/>
          </ac:inkMkLst>
        </pc:inkChg>
        <pc:inkChg chg="add del mod">
          <ac:chgData name="Aniket Chhabra" userId="598e0514-bef3-4e71-b6aa-f2edd6441cff" providerId="ADAL" clId="{A0F7D543-B727-034C-88B5-8F838AD07213}" dt="2022-09-10T08:39:16.400" v="1091"/>
          <ac:inkMkLst>
            <pc:docMk/>
            <pc:sldMk cId="3090271849" sldId="287"/>
            <ac:inkMk id="138" creationId="{BA5D7AFF-44FB-FADB-1891-5E5442ED8FE0}"/>
          </ac:inkMkLst>
        </pc:inkChg>
        <pc:inkChg chg="add del mod">
          <ac:chgData name="Aniket Chhabra" userId="598e0514-bef3-4e71-b6aa-f2edd6441cff" providerId="ADAL" clId="{A0F7D543-B727-034C-88B5-8F838AD07213}" dt="2022-09-10T08:39:15.236" v="1088"/>
          <ac:inkMkLst>
            <pc:docMk/>
            <pc:sldMk cId="3090271849" sldId="287"/>
            <ac:inkMk id="139" creationId="{328E62D0-6AC8-97EC-E711-E282E637B3AF}"/>
          </ac:inkMkLst>
        </pc:inkChg>
        <pc:inkChg chg="add del mod">
          <ac:chgData name="Aniket Chhabra" userId="598e0514-bef3-4e71-b6aa-f2edd6441cff" providerId="ADAL" clId="{A0F7D543-B727-034C-88B5-8F838AD07213}" dt="2022-09-10T08:39:15.238" v="1090"/>
          <ac:inkMkLst>
            <pc:docMk/>
            <pc:sldMk cId="3090271849" sldId="287"/>
            <ac:inkMk id="140" creationId="{00F33D87-0A3C-F45C-4F79-C5E9FF2602C9}"/>
          </ac:inkMkLst>
        </pc:inkChg>
        <pc:inkChg chg="add del">
          <ac:chgData name="Aniket Chhabra" userId="598e0514-bef3-4e71-b6aa-f2edd6441cff" providerId="ADAL" clId="{A0F7D543-B727-034C-88B5-8F838AD07213}" dt="2022-09-10T08:39:32.844" v="1107"/>
          <ac:inkMkLst>
            <pc:docMk/>
            <pc:sldMk cId="3090271849" sldId="287"/>
            <ac:inkMk id="142" creationId="{B6B05FFD-8034-B487-2704-E84119F303CB}"/>
          </ac:inkMkLst>
        </pc:inkChg>
        <pc:inkChg chg="add mod">
          <ac:chgData name="Aniket Chhabra" userId="598e0514-bef3-4e71-b6aa-f2edd6441cff" providerId="ADAL" clId="{A0F7D543-B727-034C-88B5-8F838AD07213}" dt="2022-09-10T08:39:28.209" v="1106"/>
          <ac:inkMkLst>
            <pc:docMk/>
            <pc:sldMk cId="3090271849" sldId="287"/>
            <ac:inkMk id="143" creationId="{97ECBD2F-5236-4939-7C8C-876F50C8D885}"/>
          </ac:inkMkLst>
        </pc:inkChg>
        <pc:inkChg chg="add mod">
          <ac:chgData name="Aniket Chhabra" userId="598e0514-bef3-4e71-b6aa-f2edd6441cff" providerId="ADAL" clId="{A0F7D543-B727-034C-88B5-8F838AD07213}" dt="2022-09-10T08:39:28.209" v="1106"/>
          <ac:inkMkLst>
            <pc:docMk/>
            <pc:sldMk cId="3090271849" sldId="287"/>
            <ac:inkMk id="144" creationId="{20F54C7C-3B97-DC69-2D58-15204FB057B4}"/>
          </ac:inkMkLst>
        </pc:inkChg>
        <pc:inkChg chg="add mod">
          <ac:chgData name="Aniket Chhabra" userId="598e0514-bef3-4e71-b6aa-f2edd6441cff" providerId="ADAL" clId="{A0F7D543-B727-034C-88B5-8F838AD07213}" dt="2022-09-10T08:39:28.209" v="1106"/>
          <ac:inkMkLst>
            <pc:docMk/>
            <pc:sldMk cId="3090271849" sldId="287"/>
            <ac:inkMk id="145" creationId="{B9E5AB15-87B3-C78A-C08E-3D7377A7FC15}"/>
          </ac:inkMkLst>
        </pc:inkChg>
        <pc:inkChg chg="add mod">
          <ac:chgData name="Aniket Chhabra" userId="598e0514-bef3-4e71-b6aa-f2edd6441cff" providerId="ADAL" clId="{A0F7D543-B727-034C-88B5-8F838AD07213}" dt="2022-09-10T08:39:28.209" v="1106"/>
          <ac:inkMkLst>
            <pc:docMk/>
            <pc:sldMk cId="3090271849" sldId="287"/>
            <ac:inkMk id="146" creationId="{CA53A419-EAB2-FEA3-43D0-D987C4CB5E15}"/>
          </ac:inkMkLst>
        </pc:inkChg>
        <pc:inkChg chg="add mod">
          <ac:chgData name="Aniket Chhabra" userId="598e0514-bef3-4e71-b6aa-f2edd6441cff" providerId="ADAL" clId="{A0F7D543-B727-034C-88B5-8F838AD07213}" dt="2022-09-10T08:39:28.209" v="1106"/>
          <ac:inkMkLst>
            <pc:docMk/>
            <pc:sldMk cId="3090271849" sldId="287"/>
            <ac:inkMk id="147" creationId="{1E35DA91-9EE1-73D1-F392-A29D1B073B96}"/>
          </ac:inkMkLst>
        </pc:inkChg>
        <pc:inkChg chg="add mod">
          <ac:chgData name="Aniket Chhabra" userId="598e0514-bef3-4e71-b6aa-f2edd6441cff" providerId="ADAL" clId="{A0F7D543-B727-034C-88B5-8F838AD07213}" dt="2022-09-10T08:39:28.209" v="1106"/>
          <ac:inkMkLst>
            <pc:docMk/>
            <pc:sldMk cId="3090271849" sldId="287"/>
            <ac:inkMk id="148" creationId="{3FF6BC0A-C0A6-2749-5002-8BEFD567E50F}"/>
          </ac:inkMkLst>
        </pc:inkChg>
        <pc:inkChg chg="add mod">
          <ac:chgData name="Aniket Chhabra" userId="598e0514-bef3-4e71-b6aa-f2edd6441cff" providerId="ADAL" clId="{A0F7D543-B727-034C-88B5-8F838AD07213}" dt="2022-09-10T08:39:28.209" v="1106"/>
          <ac:inkMkLst>
            <pc:docMk/>
            <pc:sldMk cId="3090271849" sldId="287"/>
            <ac:inkMk id="149" creationId="{39A3DFD5-C39F-3313-11B1-C1E96E3E0D76}"/>
          </ac:inkMkLst>
        </pc:inkChg>
        <pc:inkChg chg="add mod">
          <ac:chgData name="Aniket Chhabra" userId="598e0514-bef3-4e71-b6aa-f2edd6441cff" providerId="ADAL" clId="{A0F7D543-B727-034C-88B5-8F838AD07213}" dt="2022-09-10T08:39:28.209" v="1106"/>
          <ac:inkMkLst>
            <pc:docMk/>
            <pc:sldMk cId="3090271849" sldId="287"/>
            <ac:inkMk id="150" creationId="{567EB6F1-0A18-639A-A85D-13EE1546E96A}"/>
          </ac:inkMkLst>
        </pc:inkChg>
        <pc:inkChg chg="add mod">
          <ac:chgData name="Aniket Chhabra" userId="598e0514-bef3-4e71-b6aa-f2edd6441cff" providerId="ADAL" clId="{A0F7D543-B727-034C-88B5-8F838AD07213}" dt="2022-09-10T08:39:28.209" v="1106"/>
          <ac:inkMkLst>
            <pc:docMk/>
            <pc:sldMk cId="3090271849" sldId="287"/>
            <ac:inkMk id="151" creationId="{F001CCDF-C1CA-F433-5029-5F6F59E26456}"/>
          </ac:inkMkLst>
        </pc:inkChg>
        <pc:inkChg chg="add mod">
          <ac:chgData name="Aniket Chhabra" userId="598e0514-bef3-4e71-b6aa-f2edd6441cff" providerId="ADAL" clId="{A0F7D543-B727-034C-88B5-8F838AD07213}" dt="2022-09-10T08:39:28.209" v="1106"/>
          <ac:inkMkLst>
            <pc:docMk/>
            <pc:sldMk cId="3090271849" sldId="287"/>
            <ac:inkMk id="152" creationId="{C40AEA92-874E-2B42-5D68-DFF8877B3CD6}"/>
          </ac:inkMkLst>
        </pc:inkChg>
        <pc:inkChg chg="add mod">
          <ac:chgData name="Aniket Chhabra" userId="598e0514-bef3-4e71-b6aa-f2edd6441cff" providerId="ADAL" clId="{A0F7D543-B727-034C-88B5-8F838AD07213}" dt="2022-09-10T08:39:28.209" v="1106"/>
          <ac:inkMkLst>
            <pc:docMk/>
            <pc:sldMk cId="3090271849" sldId="287"/>
            <ac:inkMk id="153" creationId="{1C4A0186-D8C6-CC0B-3188-051CAB39FFE3}"/>
          </ac:inkMkLst>
        </pc:inkChg>
        <pc:inkChg chg="add mod">
          <ac:chgData name="Aniket Chhabra" userId="598e0514-bef3-4e71-b6aa-f2edd6441cff" providerId="ADAL" clId="{A0F7D543-B727-034C-88B5-8F838AD07213}" dt="2022-09-10T08:39:28.209" v="1106"/>
          <ac:inkMkLst>
            <pc:docMk/>
            <pc:sldMk cId="3090271849" sldId="287"/>
            <ac:inkMk id="154" creationId="{005037F3-529E-1726-F357-F5090CC4F698}"/>
          </ac:inkMkLst>
        </pc:inkChg>
        <pc:inkChg chg="add mod">
          <ac:chgData name="Aniket Chhabra" userId="598e0514-bef3-4e71-b6aa-f2edd6441cff" providerId="ADAL" clId="{A0F7D543-B727-034C-88B5-8F838AD07213}" dt="2022-09-10T08:39:28.209" v="1106"/>
          <ac:inkMkLst>
            <pc:docMk/>
            <pc:sldMk cId="3090271849" sldId="287"/>
            <ac:inkMk id="155" creationId="{5D0F0E57-0440-8860-E5B5-835C239D47DC}"/>
          </ac:inkMkLst>
        </pc:inkChg>
        <pc:inkChg chg="add del mod">
          <ac:chgData name="Aniket Chhabra" userId="598e0514-bef3-4e71-b6aa-f2edd6441cff" providerId="ADAL" clId="{A0F7D543-B727-034C-88B5-8F838AD07213}" dt="2022-09-24T05:24:08.781" v="1819"/>
          <ac:inkMkLst>
            <pc:docMk/>
            <pc:sldMk cId="3090271849" sldId="287"/>
            <ac:inkMk id="157" creationId="{2CAE08E2-562D-26EC-8891-E1F3F0EFC077}"/>
          </ac:inkMkLst>
        </pc:inkChg>
        <pc:inkChg chg="add del mod">
          <ac:chgData name="Aniket Chhabra" userId="598e0514-bef3-4e71-b6aa-f2edd6441cff" providerId="ADAL" clId="{A0F7D543-B727-034C-88B5-8F838AD07213}" dt="2022-09-24T05:24:08.781" v="1817"/>
          <ac:inkMkLst>
            <pc:docMk/>
            <pc:sldMk cId="3090271849" sldId="287"/>
            <ac:inkMk id="158" creationId="{6DFF6630-FA40-148D-1D90-8FE77592DD7D}"/>
          </ac:inkMkLst>
        </pc:inkChg>
        <pc:inkChg chg="add mod">
          <ac:chgData name="Aniket Chhabra" userId="598e0514-bef3-4e71-b6aa-f2edd6441cff" providerId="ADAL" clId="{A0F7D543-B727-034C-88B5-8F838AD07213}" dt="2022-09-24T05:24:08.781" v="1821"/>
          <ac:inkMkLst>
            <pc:docMk/>
            <pc:sldMk cId="3090271849" sldId="287"/>
            <ac:inkMk id="159" creationId="{B114ECD7-157D-2BCB-E5B5-9052DB462A29}"/>
          </ac:inkMkLst>
        </pc:inkChg>
        <pc:inkChg chg="add del mod">
          <ac:chgData name="Aniket Chhabra" userId="598e0514-bef3-4e71-b6aa-f2edd6441cff" providerId="ADAL" clId="{A0F7D543-B727-034C-88B5-8F838AD07213}" dt="2022-09-24T05:24:08.781" v="1821"/>
          <ac:inkMkLst>
            <pc:docMk/>
            <pc:sldMk cId="3090271849" sldId="287"/>
            <ac:inkMk id="160" creationId="{85902824-2FC3-6C43-7AC4-8E001E23FFD1}"/>
          </ac:inkMkLst>
        </pc:inkChg>
        <pc:inkChg chg="add del">
          <ac:chgData name="Aniket Chhabra" userId="598e0514-bef3-4e71-b6aa-f2edd6441cff" providerId="ADAL" clId="{A0F7D543-B727-034C-88B5-8F838AD07213}" dt="2022-09-24T05:24:08.780" v="1816"/>
          <ac:inkMkLst>
            <pc:docMk/>
            <pc:sldMk cId="3090271849" sldId="287"/>
            <ac:inkMk id="161" creationId="{17E3F5D1-9A3A-E066-0CF6-8E0F820B9E43}"/>
          </ac:inkMkLst>
        </pc:inkChg>
        <pc:inkChg chg="add del">
          <ac:chgData name="Aniket Chhabra" userId="598e0514-bef3-4e71-b6aa-f2edd6441cff" providerId="ADAL" clId="{A0F7D543-B727-034C-88B5-8F838AD07213}" dt="2022-09-24T05:24:08.780" v="1815"/>
          <ac:inkMkLst>
            <pc:docMk/>
            <pc:sldMk cId="3090271849" sldId="287"/>
            <ac:inkMk id="162" creationId="{8230FD41-BF5D-5CEB-42EC-63E8A06331AE}"/>
          </ac:inkMkLst>
        </pc:inkChg>
        <pc:inkChg chg="add del mod">
          <ac:chgData name="Aniket Chhabra" userId="598e0514-bef3-4e71-b6aa-f2edd6441cff" providerId="ADAL" clId="{A0F7D543-B727-034C-88B5-8F838AD07213}" dt="2022-09-24T05:24:08.781" v="1820"/>
          <ac:inkMkLst>
            <pc:docMk/>
            <pc:sldMk cId="3090271849" sldId="287"/>
            <ac:inkMk id="163" creationId="{182E30FA-33A0-463A-8DA5-0D3874400811}"/>
          </ac:inkMkLst>
        </pc:inkChg>
        <pc:inkChg chg="add mod">
          <ac:chgData name="Aniket Chhabra" userId="598e0514-bef3-4e71-b6aa-f2edd6441cff" providerId="ADAL" clId="{A0F7D543-B727-034C-88B5-8F838AD07213}" dt="2022-09-10T08:40:34.607" v="1136"/>
          <ac:inkMkLst>
            <pc:docMk/>
            <pc:sldMk cId="3090271849" sldId="287"/>
            <ac:inkMk id="165" creationId="{19B9FEF2-E462-B654-BA3D-2F844B6AEC78}"/>
          </ac:inkMkLst>
        </pc:inkChg>
        <pc:inkChg chg="add mod">
          <ac:chgData name="Aniket Chhabra" userId="598e0514-bef3-4e71-b6aa-f2edd6441cff" providerId="ADAL" clId="{A0F7D543-B727-034C-88B5-8F838AD07213}" dt="2022-09-10T08:40:34.607" v="1136"/>
          <ac:inkMkLst>
            <pc:docMk/>
            <pc:sldMk cId="3090271849" sldId="287"/>
            <ac:inkMk id="166" creationId="{D21DB933-6458-84D1-6DED-81B4643E9968}"/>
          </ac:inkMkLst>
        </pc:inkChg>
        <pc:inkChg chg="add mod">
          <ac:chgData name="Aniket Chhabra" userId="598e0514-bef3-4e71-b6aa-f2edd6441cff" providerId="ADAL" clId="{A0F7D543-B727-034C-88B5-8F838AD07213}" dt="2022-09-10T08:40:34.607" v="1136"/>
          <ac:inkMkLst>
            <pc:docMk/>
            <pc:sldMk cId="3090271849" sldId="287"/>
            <ac:inkMk id="167" creationId="{673515EF-6619-6987-42C0-192907944572}"/>
          </ac:inkMkLst>
        </pc:inkChg>
        <pc:inkChg chg="add mod">
          <ac:chgData name="Aniket Chhabra" userId="598e0514-bef3-4e71-b6aa-f2edd6441cff" providerId="ADAL" clId="{A0F7D543-B727-034C-88B5-8F838AD07213}" dt="2022-09-10T08:40:34.607" v="1136"/>
          <ac:inkMkLst>
            <pc:docMk/>
            <pc:sldMk cId="3090271849" sldId="287"/>
            <ac:inkMk id="168" creationId="{F10A2536-954C-2739-7C7E-5357E617F1A1}"/>
          </ac:inkMkLst>
        </pc:inkChg>
        <pc:inkChg chg="add mod">
          <ac:chgData name="Aniket Chhabra" userId="598e0514-bef3-4e71-b6aa-f2edd6441cff" providerId="ADAL" clId="{A0F7D543-B727-034C-88B5-8F838AD07213}" dt="2022-09-10T08:40:34.607" v="1136"/>
          <ac:inkMkLst>
            <pc:docMk/>
            <pc:sldMk cId="3090271849" sldId="287"/>
            <ac:inkMk id="169" creationId="{E331656E-32D5-60EF-349C-1C70D8C523DE}"/>
          </ac:inkMkLst>
        </pc:inkChg>
        <pc:inkChg chg="add mod">
          <ac:chgData name="Aniket Chhabra" userId="598e0514-bef3-4e71-b6aa-f2edd6441cff" providerId="ADAL" clId="{A0F7D543-B727-034C-88B5-8F838AD07213}" dt="2022-09-10T08:40:34.607" v="1136"/>
          <ac:inkMkLst>
            <pc:docMk/>
            <pc:sldMk cId="3090271849" sldId="287"/>
            <ac:inkMk id="170" creationId="{19A7372B-8B86-64FD-CE17-EFD579EC0AF6}"/>
          </ac:inkMkLst>
        </pc:inkChg>
        <pc:inkChg chg="add mod">
          <ac:chgData name="Aniket Chhabra" userId="598e0514-bef3-4e71-b6aa-f2edd6441cff" providerId="ADAL" clId="{A0F7D543-B727-034C-88B5-8F838AD07213}" dt="2022-09-10T08:40:34.607" v="1136"/>
          <ac:inkMkLst>
            <pc:docMk/>
            <pc:sldMk cId="3090271849" sldId="287"/>
            <ac:inkMk id="171" creationId="{F5151189-1567-3DA6-F663-7F701598B564}"/>
          </ac:inkMkLst>
        </pc:inkChg>
        <pc:inkChg chg="add mod">
          <ac:chgData name="Aniket Chhabra" userId="598e0514-bef3-4e71-b6aa-f2edd6441cff" providerId="ADAL" clId="{A0F7D543-B727-034C-88B5-8F838AD07213}" dt="2022-09-10T08:40:34.607" v="1136"/>
          <ac:inkMkLst>
            <pc:docMk/>
            <pc:sldMk cId="3090271849" sldId="287"/>
            <ac:inkMk id="172" creationId="{9EC0AC8A-CC8A-B63C-2E4E-E7456D2F1DFA}"/>
          </ac:inkMkLst>
        </pc:inkChg>
        <pc:inkChg chg="add mod">
          <ac:chgData name="Aniket Chhabra" userId="598e0514-bef3-4e71-b6aa-f2edd6441cff" providerId="ADAL" clId="{A0F7D543-B727-034C-88B5-8F838AD07213}" dt="2022-09-10T08:40:34.607" v="1136"/>
          <ac:inkMkLst>
            <pc:docMk/>
            <pc:sldMk cId="3090271849" sldId="287"/>
            <ac:inkMk id="174" creationId="{E4F3D560-CC5F-9A5D-7970-946C4F634726}"/>
          </ac:inkMkLst>
        </pc:inkChg>
        <pc:inkChg chg="add mod">
          <ac:chgData name="Aniket Chhabra" userId="598e0514-bef3-4e71-b6aa-f2edd6441cff" providerId="ADAL" clId="{A0F7D543-B727-034C-88B5-8F838AD07213}" dt="2022-09-10T08:40:34.607" v="1136"/>
          <ac:inkMkLst>
            <pc:docMk/>
            <pc:sldMk cId="3090271849" sldId="287"/>
            <ac:inkMk id="176" creationId="{BE418E86-56F5-7952-57FA-D87A7C2292C1}"/>
          </ac:inkMkLst>
        </pc:inkChg>
        <pc:inkChg chg="add mod">
          <ac:chgData name="Aniket Chhabra" userId="598e0514-bef3-4e71-b6aa-f2edd6441cff" providerId="ADAL" clId="{A0F7D543-B727-034C-88B5-8F838AD07213}" dt="2022-09-10T08:40:34.607" v="1136"/>
          <ac:inkMkLst>
            <pc:docMk/>
            <pc:sldMk cId="3090271849" sldId="287"/>
            <ac:inkMk id="177" creationId="{9212B399-645A-2176-F8F4-458C18E5809C}"/>
          </ac:inkMkLst>
        </pc:inkChg>
        <pc:inkChg chg="add mod">
          <ac:chgData name="Aniket Chhabra" userId="598e0514-bef3-4e71-b6aa-f2edd6441cff" providerId="ADAL" clId="{A0F7D543-B727-034C-88B5-8F838AD07213}" dt="2022-09-10T08:40:34.607" v="1136"/>
          <ac:inkMkLst>
            <pc:docMk/>
            <pc:sldMk cId="3090271849" sldId="287"/>
            <ac:inkMk id="178" creationId="{FA1F2AD0-4C1E-99EE-BC7A-1DF49922C015}"/>
          </ac:inkMkLst>
        </pc:inkChg>
        <pc:inkChg chg="add mod">
          <ac:chgData name="Aniket Chhabra" userId="598e0514-bef3-4e71-b6aa-f2edd6441cff" providerId="ADAL" clId="{A0F7D543-B727-034C-88B5-8F838AD07213}" dt="2022-09-10T08:40:34.607" v="1136"/>
          <ac:inkMkLst>
            <pc:docMk/>
            <pc:sldMk cId="3090271849" sldId="287"/>
            <ac:inkMk id="179" creationId="{998FE590-B5F6-DD14-38CE-03ACB2D53D44}"/>
          </ac:inkMkLst>
        </pc:inkChg>
        <pc:inkChg chg="add mod">
          <ac:chgData name="Aniket Chhabra" userId="598e0514-bef3-4e71-b6aa-f2edd6441cff" providerId="ADAL" clId="{A0F7D543-B727-034C-88B5-8F838AD07213}" dt="2022-09-10T08:40:34.607" v="1136"/>
          <ac:inkMkLst>
            <pc:docMk/>
            <pc:sldMk cId="3090271849" sldId="287"/>
            <ac:inkMk id="180" creationId="{CFF4FCD5-F297-8FE4-8FA4-447EBC406EE3}"/>
          </ac:inkMkLst>
        </pc:inkChg>
        <pc:inkChg chg="add mod">
          <ac:chgData name="Aniket Chhabra" userId="598e0514-bef3-4e71-b6aa-f2edd6441cff" providerId="ADAL" clId="{A0F7D543-B727-034C-88B5-8F838AD07213}" dt="2022-09-10T08:40:34.607" v="1136"/>
          <ac:inkMkLst>
            <pc:docMk/>
            <pc:sldMk cId="3090271849" sldId="287"/>
            <ac:inkMk id="181" creationId="{840059C7-5E51-624B-B924-7B1DF55D4C78}"/>
          </ac:inkMkLst>
        </pc:inkChg>
        <pc:inkChg chg="add mod">
          <ac:chgData name="Aniket Chhabra" userId="598e0514-bef3-4e71-b6aa-f2edd6441cff" providerId="ADAL" clId="{A0F7D543-B727-034C-88B5-8F838AD07213}" dt="2022-09-10T08:40:34.607" v="1136"/>
          <ac:inkMkLst>
            <pc:docMk/>
            <pc:sldMk cId="3090271849" sldId="287"/>
            <ac:inkMk id="182" creationId="{E2050BBA-0BA4-9B78-6376-9204D6AD4660}"/>
          </ac:inkMkLst>
        </pc:inkChg>
        <pc:inkChg chg="add mod">
          <ac:chgData name="Aniket Chhabra" userId="598e0514-bef3-4e71-b6aa-f2edd6441cff" providerId="ADAL" clId="{A0F7D543-B727-034C-88B5-8F838AD07213}" dt="2022-09-10T08:40:34.607" v="1136"/>
          <ac:inkMkLst>
            <pc:docMk/>
            <pc:sldMk cId="3090271849" sldId="287"/>
            <ac:inkMk id="183" creationId="{363BF97C-5EA0-CB69-5432-16FC185F9441}"/>
          </ac:inkMkLst>
        </pc:inkChg>
        <pc:inkChg chg="add mod">
          <ac:chgData name="Aniket Chhabra" userId="598e0514-bef3-4e71-b6aa-f2edd6441cff" providerId="ADAL" clId="{A0F7D543-B727-034C-88B5-8F838AD07213}" dt="2022-09-10T08:40:34.607" v="1136"/>
          <ac:inkMkLst>
            <pc:docMk/>
            <pc:sldMk cId="3090271849" sldId="287"/>
            <ac:inkMk id="184" creationId="{1D8889A1-BBC7-2851-D677-02726364C749}"/>
          </ac:inkMkLst>
        </pc:inkChg>
        <pc:inkChg chg="add del">
          <ac:chgData name="Aniket Chhabra" userId="598e0514-bef3-4e71-b6aa-f2edd6441cff" providerId="ADAL" clId="{A0F7D543-B727-034C-88B5-8F838AD07213}" dt="2022-09-10T08:41:03.656" v="1166"/>
          <ac:inkMkLst>
            <pc:docMk/>
            <pc:sldMk cId="3090271849" sldId="287"/>
            <ac:inkMk id="187" creationId="{82DDE840-41CD-E9C5-6D6A-1E4A13D77653}"/>
          </ac:inkMkLst>
        </pc:inkChg>
        <pc:inkChg chg="add del mod">
          <ac:chgData name="Aniket Chhabra" userId="598e0514-bef3-4e71-b6aa-f2edd6441cff" providerId="ADAL" clId="{A0F7D543-B727-034C-88B5-8F838AD07213}" dt="2022-09-10T08:41:03.654" v="1160"/>
          <ac:inkMkLst>
            <pc:docMk/>
            <pc:sldMk cId="3090271849" sldId="287"/>
            <ac:inkMk id="188" creationId="{B7F0F684-D522-685E-142C-8017C9C462FA}"/>
          </ac:inkMkLst>
        </pc:inkChg>
        <pc:inkChg chg="add del mod">
          <ac:chgData name="Aniket Chhabra" userId="598e0514-bef3-4e71-b6aa-f2edd6441cff" providerId="ADAL" clId="{A0F7D543-B727-034C-88B5-8F838AD07213}" dt="2022-09-10T08:41:05.934" v="1177"/>
          <ac:inkMkLst>
            <pc:docMk/>
            <pc:sldMk cId="3090271849" sldId="287"/>
            <ac:inkMk id="189" creationId="{D155C4C4-689E-B866-225D-227E7150383C}"/>
          </ac:inkMkLst>
        </pc:inkChg>
        <pc:inkChg chg="add del">
          <ac:chgData name="Aniket Chhabra" userId="598e0514-bef3-4e71-b6aa-f2edd6441cff" providerId="ADAL" clId="{A0F7D543-B727-034C-88B5-8F838AD07213}" dt="2022-09-10T08:41:05.934" v="1174"/>
          <ac:inkMkLst>
            <pc:docMk/>
            <pc:sldMk cId="3090271849" sldId="287"/>
            <ac:inkMk id="190" creationId="{B388290A-7860-75DF-E929-4236DB2DFCE5}"/>
          </ac:inkMkLst>
        </pc:inkChg>
        <pc:inkChg chg="add del">
          <ac:chgData name="Aniket Chhabra" userId="598e0514-bef3-4e71-b6aa-f2edd6441cff" providerId="ADAL" clId="{A0F7D543-B727-034C-88B5-8F838AD07213}" dt="2022-09-10T08:41:05.933" v="1172"/>
          <ac:inkMkLst>
            <pc:docMk/>
            <pc:sldMk cId="3090271849" sldId="287"/>
            <ac:inkMk id="191" creationId="{29A1929B-7184-1CA4-D677-59D26C69DA5C}"/>
          </ac:inkMkLst>
        </pc:inkChg>
        <pc:inkChg chg="add del mod">
          <ac:chgData name="Aniket Chhabra" userId="598e0514-bef3-4e71-b6aa-f2edd6441cff" providerId="ADAL" clId="{A0F7D543-B727-034C-88B5-8F838AD07213}" dt="2022-09-10T08:41:03.656" v="1161"/>
          <ac:inkMkLst>
            <pc:docMk/>
            <pc:sldMk cId="3090271849" sldId="287"/>
            <ac:inkMk id="192" creationId="{49DDF6E5-6F64-02E9-CF62-CEB57BCCFB15}"/>
          </ac:inkMkLst>
        </pc:inkChg>
        <pc:inkChg chg="add del mod">
          <ac:chgData name="Aniket Chhabra" userId="598e0514-bef3-4e71-b6aa-f2edd6441cff" providerId="ADAL" clId="{A0F7D543-B727-034C-88B5-8F838AD07213}" dt="2022-09-10T08:41:03.657" v="1167"/>
          <ac:inkMkLst>
            <pc:docMk/>
            <pc:sldMk cId="3090271849" sldId="287"/>
            <ac:inkMk id="193" creationId="{F27B5568-EAD9-0A31-2E17-E666319C641F}"/>
          </ac:inkMkLst>
        </pc:inkChg>
        <pc:inkChg chg="add del mod">
          <ac:chgData name="Aniket Chhabra" userId="598e0514-bef3-4e71-b6aa-f2edd6441cff" providerId="ADAL" clId="{A0F7D543-B727-034C-88B5-8F838AD07213}" dt="2022-09-10T08:41:03.657" v="1168"/>
          <ac:inkMkLst>
            <pc:docMk/>
            <pc:sldMk cId="3090271849" sldId="287"/>
            <ac:inkMk id="194" creationId="{D8558A83-BB7E-3DF6-84B1-80273C2E166E}"/>
          </ac:inkMkLst>
        </pc:inkChg>
        <pc:inkChg chg="add del mod">
          <ac:chgData name="Aniket Chhabra" userId="598e0514-bef3-4e71-b6aa-f2edd6441cff" providerId="ADAL" clId="{A0F7D543-B727-034C-88B5-8F838AD07213}" dt="2022-09-10T08:41:03.656" v="1165"/>
          <ac:inkMkLst>
            <pc:docMk/>
            <pc:sldMk cId="3090271849" sldId="287"/>
            <ac:inkMk id="195" creationId="{4562D26B-1B71-14A5-A453-46D83592AD66}"/>
          </ac:inkMkLst>
        </pc:inkChg>
        <pc:inkChg chg="add del mod">
          <ac:chgData name="Aniket Chhabra" userId="598e0514-bef3-4e71-b6aa-f2edd6441cff" providerId="ADAL" clId="{A0F7D543-B727-034C-88B5-8F838AD07213}" dt="2022-09-10T08:41:05.934" v="1176"/>
          <ac:inkMkLst>
            <pc:docMk/>
            <pc:sldMk cId="3090271849" sldId="287"/>
            <ac:inkMk id="197" creationId="{0B8E3007-7878-64F6-F27A-CA8E4584EE43}"/>
          </ac:inkMkLst>
        </pc:inkChg>
        <pc:inkChg chg="add del mod">
          <ac:chgData name="Aniket Chhabra" userId="598e0514-bef3-4e71-b6aa-f2edd6441cff" providerId="ADAL" clId="{A0F7D543-B727-034C-88B5-8F838AD07213}" dt="2022-09-10T08:41:05.935" v="1178"/>
          <ac:inkMkLst>
            <pc:docMk/>
            <pc:sldMk cId="3090271849" sldId="287"/>
            <ac:inkMk id="198" creationId="{9A52573B-3C61-66BF-3277-0834228ED8FE}"/>
          </ac:inkMkLst>
        </pc:inkChg>
        <pc:inkChg chg="add del mod">
          <ac:chgData name="Aniket Chhabra" userId="598e0514-bef3-4e71-b6aa-f2edd6441cff" providerId="ADAL" clId="{A0F7D543-B727-034C-88B5-8F838AD07213}" dt="2022-09-10T08:41:05.933" v="1171"/>
          <ac:inkMkLst>
            <pc:docMk/>
            <pc:sldMk cId="3090271849" sldId="287"/>
            <ac:inkMk id="199" creationId="{112C919A-DFC5-773F-602D-EA9993F1D021}"/>
          </ac:inkMkLst>
        </pc:inkChg>
        <pc:inkChg chg="add del mod">
          <ac:chgData name="Aniket Chhabra" userId="598e0514-bef3-4e71-b6aa-f2edd6441cff" providerId="ADAL" clId="{A0F7D543-B727-034C-88B5-8F838AD07213}" dt="2022-09-10T08:41:05.935" v="1179"/>
          <ac:inkMkLst>
            <pc:docMk/>
            <pc:sldMk cId="3090271849" sldId="287"/>
            <ac:inkMk id="200" creationId="{9A452A6D-A487-C583-2110-AD55E4CDB00C}"/>
          </ac:inkMkLst>
        </pc:inkChg>
        <pc:inkChg chg="add del mod">
          <ac:chgData name="Aniket Chhabra" userId="598e0514-bef3-4e71-b6aa-f2edd6441cff" providerId="ADAL" clId="{A0F7D543-B727-034C-88B5-8F838AD07213}" dt="2022-09-10T08:41:05.933" v="1173"/>
          <ac:inkMkLst>
            <pc:docMk/>
            <pc:sldMk cId="3090271849" sldId="287"/>
            <ac:inkMk id="201" creationId="{C7152A65-3521-8636-D290-043E7C370639}"/>
          </ac:inkMkLst>
        </pc:inkChg>
        <pc:inkChg chg="add del mod">
          <ac:chgData name="Aniket Chhabra" userId="598e0514-bef3-4e71-b6aa-f2edd6441cff" providerId="ADAL" clId="{A0F7D543-B727-034C-88B5-8F838AD07213}" dt="2022-09-10T08:41:05.934" v="1175"/>
          <ac:inkMkLst>
            <pc:docMk/>
            <pc:sldMk cId="3090271849" sldId="287"/>
            <ac:inkMk id="202" creationId="{4CB62127-99B6-0448-8C84-307D34A774DE}"/>
          </ac:inkMkLst>
        </pc:inkChg>
        <pc:inkChg chg="add del mod">
          <ac:chgData name="Aniket Chhabra" userId="598e0514-bef3-4e71-b6aa-f2edd6441cff" providerId="ADAL" clId="{A0F7D543-B727-034C-88B5-8F838AD07213}" dt="2022-09-10T08:41:05.932" v="1170"/>
          <ac:inkMkLst>
            <pc:docMk/>
            <pc:sldMk cId="3090271849" sldId="287"/>
            <ac:inkMk id="203" creationId="{C767F8EA-8133-7E96-617E-B34525384D7C}"/>
          </ac:inkMkLst>
        </pc:inkChg>
        <pc:inkChg chg="add del mod">
          <ac:chgData name="Aniket Chhabra" userId="598e0514-bef3-4e71-b6aa-f2edd6441cff" providerId="ADAL" clId="{A0F7D543-B727-034C-88B5-8F838AD07213}" dt="2022-09-10T08:41:03.656" v="1164"/>
          <ac:inkMkLst>
            <pc:docMk/>
            <pc:sldMk cId="3090271849" sldId="287"/>
            <ac:inkMk id="205" creationId="{927E5E37-F939-58BA-1823-DB97BE29CA81}"/>
          </ac:inkMkLst>
        </pc:inkChg>
        <pc:inkChg chg="add del mod">
          <ac:chgData name="Aniket Chhabra" userId="598e0514-bef3-4e71-b6aa-f2edd6441cff" providerId="ADAL" clId="{A0F7D543-B727-034C-88B5-8F838AD07213}" dt="2022-09-10T08:41:03.656" v="1162"/>
          <ac:inkMkLst>
            <pc:docMk/>
            <pc:sldMk cId="3090271849" sldId="287"/>
            <ac:inkMk id="206" creationId="{7938FB2A-A4B1-4550-2D4A-5BE69AFAEB4A}"/>
          </ac:inkMkLst>
        </pc:inkChg>
        <pc:inkChg chg="add del mod">
          <ac:chgData name="Aniket Chhabra" userId="598e0514-bef3-4e71-b6aa-f2edd6441cff" providerId="ADAL" clId="{A0F7D543-B727-034C-88B5-8F838AD07213}" dt="2022-09-10T08:41:03.656" v="1163"/>
          <ac:inkMkLst>
            <pc:docMk/>
            <pc:sldMk cId="3090271849" sldId="287"/>
            <ac:inkMk id="207" creationId="{D0E4DC17-A177-4519-063F-463576A8F658}"/>
          </ac:inkMkLst>
        </pc:inkChg>
        <pc:inkChg chg="add del mod">
          <ac:chgData name="Aniket Chhabra" userId="598e0514-bef3-4e71-b6aa-f2edd6441cff" providerId="ADAL" clId="{A0F7D543-B727-034C-88B5-8F838AD07213}" dt="2022-09-10T08:41:03.657" v="1169"/>
          <ac:inkMkLst>
            <pc:docMk/>
            <pc:sldMk cId="3090271849" sldId="287"/>
            <ac:inkMk id="208" creationId="{B1B5E0B7-B548-8B9E-4B3B-F4411E856A84}"/>
          </ac:inkMkLst>
        </pc:inkChg>
        <pc:inkChg chg="add del mod">
          <ac:chgData name="Aniket Chhabra" userId="598e0514-bef3-4e71-b6aa-f2edd6441cff" providerId="ADAL" clId="{A0F7D543-B727-034C-88B5-8F838AD07213}" dt="2022-09-10T08:41:42.523" v="1217"/>
          <ac:inkMkLst>
            <pc:docMk/>
            <pc:sldMk cId="3090271849" sldId="287"/>
            <ac:inkMk id="210" creationId="{324A3572-4EEF-4C88-9FE0-CBEC16656A0B}"/>
          </ac:inkMkLst>
        </pc:inkChg>
        <pc:inkChg chg="add del mod">
          <ac:chgData name="Aniket Chhabra" userId="598e0514-bef3-4e71-b6aa-f2edd6441cff" providerId="ADAL" clId="{A0F7D543-B727-034C-88B5-8F838AD07213}" dt="2022-09-10T08:41:42.525" v="1229"/>
          <ac:inkMkLst>
            <pc:docMk/>
            <pc:sldMk cId="3090271849" sldId="287"/>
            <ac:inkMk id="211" creationId="{594DDAD6-D3F9-721A-B581-E4D517FE24B1}"/>
          </ac:inkMkLst>
        </pc:inkChg>
        <pc:inkChg chg="add del mod">
          <ac:chgData name="Aniket Chhabra" userId="598e0514-bef3-4e71-b6aa-f2edd6441cff" providerId="ADAL" clId="{A0F7D543-B727-034C-88B5-8F838AD07213}" dt="2022-09-10T08:41:42.521" v="1211"/>
          <ac:inkMkLst>
            <pc:docMk/>
            <pc:sldMk cId="3090271849" sldId="287"/>
            <ac:inkMk id="212" creationId="{25D72FC7-8C23-1CF6-5490-5BBA3F98D485}"/>
          </ac:inkMkLst>
        </pc:inkChg>
        <pc:inkChg chg="add del mod">
          <ac:chgData name="Aniket Chhabra" userId="598e0514-bef3-4e71-b6aa-f2edd6441cff" providerId="ADAL" clId="{A0F7D543-B727-034C-88B5-8F838AD07213}" dt="2022-09-10T08:41:42.525" v="1228"/>
          <ac:inkMkLst>
            <pc:docMk/>
            <pc:sldMk cId="3090271849" sldId="287"/>
            <ac:inkMk id="213" creationId="{CF3634C8-3979-EC5B-0F50-56918CC9DE23}"/>
          </ac:inkMkLst>
        </pc:inkChg>
        <pc:inkChg chg="add del mod">
          <ac:chgData name="Aniket Chhabra" userId="598e0514-bef3-4e71-b6aa-f2edd6441cff" providerId="ADAL" clId="{A0F7D543-B727-034C-88B5-8F838AD07213}" dt="2022-09-10T08:41:42.523" v="1220"/>
          <ac:inkMkLst>
            <pc:docMk/>
            <pc:sldMk cId="3090271849" sldId="287"/>
            <ac:inkMk id="214" creationId="{2391E907-F32B-5161-D055-0B6AD7027444}"/>
          </ac:inkMkLst>
        </pc:inkChg>
        <pc:inkChg chg="add del mod">
          <ac:chgData name="Aniket Chhabra" userId="598e0514-bef3-4e71-b6aa-f2edd6441cff" providerId="ADAL" clId="{A0F7D543-B727-034C-88B5-8F838AD07213}" dt="2022-09-10T08:41:42.524" v="1226"/>
          <ac:inkMkLst>
            <pc:docMk/>
            <pc:sldMk cId="3090271849" sldId="287"/>
            <ac:inkMk id="215" creationId="{EBE6F7DD-2B22-0FE1-A337-CFD51A447DF0}"/>
          </ac:inkMkLst>
        </pc:inkChg>
        <pc:inkChg chg="add del mod">
          <ac:chgData name="Aniket Chhabra" userId="598e0514-bef3-4e71-b6aa-f2edd6441cff" providerId="ADAL" clId="{A0F7D543-B727-034C-88B5-8F838AD07213}" dt="2022-09-10T08:41:42.524" v="1227"/>
          <ac:inkMkLst>
            <pc:docMk/>
            <pc:sldMk cId="3090271849" sldId="287"/>
            <ac:inkMk id="216" creationId="{D26985AB-E99F-6CC8-0528-C160E618FA73}"/>
          </ac:inkMkLst>
        </pc:inkChg>
        <pc:inkChg chg="add del mod">
          <ac:chgData name="Aniket Chhabra" userId="598e0514-bef3-4e71-b6aa-f2edd6441cff" providerId="ADAL" clId="{A0F7D543-B727-034C-88B5-8F838AD07213}" dt="2022-09-10T08:41:42.525" v="1230"/>
          <ac:inkMkLst>
            <pc:docMk/>
            <pc:sldMk cId="3090271849" sldId="287"/>
            <ac:inkMk id="217" creationId="{BFBE7620-B3FE-846C-929A-207F4429FE2C}"/>
          </ac:inkMkLst>
        </pc:inkChg>
        <pc:inkChg chg="add del mod">
          <ac:chgData name="Aniket Chhabra" userId="598e0514-bef3-4e71-b6aa-f2edd6441cff" providerId="ADAL" clId="{A0F7D543-B727-034C-88B5-8F838AD07213}" dt="2022-09-10T08:41:42.523" v="1222"/>
          <ac:inkMkLst>
            <pc:docMk/>
            <pc:sldMk cId="3090271849" sldId="287"/>
            <ac:inkMk id="218" creationId="{EE7C285C-4DC2-65B9-B600-ECF3EE871DA8}"/>
          </ac:inkMkLst>
        </pc:inkChg>
        <pc:inkChg chg="add del mod">
          <ac:chgData name="Aniket Chhabra" userId="598e0514-bef3-4e71-b6aa-f2edd6441cff" providerId="ADAL" clId="{A0F7D543-B727-034C-88B5-8F838AD07213}" dt="2022-09-10T08:41:42.524" v="1224"/>
          <ac:inkMkLst>
            <pc:docMk/>
            <pc:sldMk cId="3090271849" sldId="287"/>
            <ac:inkMk id="219" creationId="{9CECDAF8-B89C-507B-82F4-2A55B10BDF61}"/>
          </ac:inkMkLst>
        </pc:inkChg>
        <pc:inkChg chg="add del mod">
          <ac:chgData name="Aniket Chhabra" userId="598e0514-bef3-4e71-b6aa-f2edd6441cff" providerId="ADAL" clId="{A0F7D543-B727-034C-88B5-8F838AD07213}" dt="2022-09-10T08:41:42.526" v="1234"/>
          <ac:inkMkLst>
            <pc:docMk/>
            <pc:sldMk cId="3090271849" sldId="287"/>
            <ac:inkMk id="220" creationId="{5A079B0E-8EEC-9C4D-B237-79EF739B422E}"/>
          </ac:inkMkLst>
        </pc:inkChg>
        <pc:inkChg chg="add del mod">
          <ac:chgData name="Aniket Chhabra" userId="598e0514-bef3-4e71-b6aa-f2edd6441cff" providerId="ADAL" clId="{A0F7D543-B727-034C-88B5-8F838AD07213}" dt="2022-09-10T08:41:42.521" v="1209"/>
          <ac:inkMkLst>
            <pc:docMk/>
            <pc:sldMk cId="3090271849" sldId="287"/>
            <ac:inkMk id="221" creationId="{37C7132F-D21F-09BC-6FD1-B8285AABD28E}"/>
          </ac:inkMkLst>
        </pc:inkChg>
        <pc:inkChg chg="add del mod">
          <ac:chgData name="Aniket Chhabra" userId="598e0514-bef3-4e71-b6aa-f2edd6441cff" providerId="ADAL" clId="{A0F7D543-B727-034C-88B5-8F838AD07213}" dt="2022-09-10T08:41:42.522" v="1213"/>
          <ac:inkMkLst>
            <pc:docMk/>
            <pc:sldMk cId="3090271849" sldId="287"/>
            <ac:inkMk id="222" creationId="{7ADD3E3F-F09A-FC57-E620-4F51E92530F8}"/>
          </ac:inkMkLst>
        </pc:inkChg>
        <pc:inkChg chg="add del mod">
          <ac:chgData name="Aniket Chhabra" userId="598e0514-bef3-4e71-b6aa-f2edd6441cff" providerId="ADAL" clId="{A0F7D543-B727-034C-88B5-8F838AD07213}" dt="2022-09-10T08:41:42.525" v="1231"/>
          <ac:inkMkLst>
            <pc:docMk/>
            <pc:sldMk cId="3090271849" sldId="287"/>
            <ac:inkMk id="223" creationId="{769CDB9D-E1BE-ED90-ECC3-1CACE4B76C75}"/>
          </ac:inkMkLst>
        </pc:inkChg>
        <pc:inkChg chg="add del mod">
          <ac:chgData name="Aniket Chhabra" userId="598e0514-bef3-4e71-b6aa-f2edd6441cff" providerId="ADAL" clId="{A0F7D543-B727-034C-88B5-8F838AD07213}" dt="2022-09-10T08:41:42.522" v="1216"/>
          <ac:inkMkLst>
            <pc:docMk/>
            <pc:sldMk cId="3090271849" sldId="287"/>
            <ac:inkMk id="224" creationId="{463DEDD6-E227-301A-8C7E-B500DB8127B0}"/>
          </ac:inkMkLst>
        </pc:inkChg>
        <pc:inkChg chg="add del mod">
          <ac:chgData name="Aniket Chhabra" userId="598e0514-bef3-4e71-b6aa-f2edd6441cff" providerId="ADAL" clId="{A0F7D543-B727-034C-88B5-8F838AD07213}" dt="2022-09-10T08:41:42.525" v="1232"/>
          <ac:inkMkLst>
            <pc:docMk/>
            <pc:sldMk cId="3090271849" sldId="287"/>
            <ac:inkMk id="225" creationId="{BEBCAC8C-CF80-54E0-E22D-D6690EDC5283}"/>
          </ac:inkMkLst>
        </pc:inkChg>
        <pc:inkChg chg="add del">
          <ac:chgData name="Aniket Chhabra" userId="598e0514-bef3-4e71-b6aa-f2edd6441cff" providerId="ADAL" clId="{A0F7D543-B727-034C-88B5-8F838AD07213}" dt="2022-09-10T08:41:42.523" v="1218"/>
          <ac:inkMkLst>
            <pc:docMk/>
            <pc:sldMk cId="3090271849" sldId="287"/>
            <ac:inkMk id="227" creationId="{2659B05A-7F42-A95B-8AD4-BEE18AEBA3DA}"/>
          </ac:inkMkLst>
        </pc:inkChg>
        <pc:inkChg chg="add del mod">
          <ac:chgData name="Aniket Chhabra" userId="598e0514-bef3-4e71-b6aa-f2edd6441cff" providerId="ADAL" clId="{A0F7D543-B727-034C-88B5-8F838AD07213}" dt="2022-09-10T08:41:42.521" v="1210"/>
          <ac:inkMkLst>
            <pc:docMk/>
            <pc:sldMk cId="3090271849" sldId="287"/>
            <ac:inkMk id="228" creationId="{FDCD7FAB-C667-C71C-6DB4-A98F6CD0EE40}"/>
          </ac:inkMkLst>
        </pc:inkChg>
        <pc:inkChg chg="add del mod">
          <ac:chgData name="Aniket Chhabra" userId="598e0514-bef3-4e71-b6aa-f2edd6441cff" providerId="ADAL" clId="{A0F7D543-B727-034C-88B5-8F838AD07213}" dt="2022-09-10T08:41:42.522" v="1215"/>
          <ac:inkMkLst>
            <pc:docMk/>
            <pc:sldMk cId="3090271849" sldId="287"/>
            <ac:inkMk id="229" creationId="{94B9D83F-7EBA-ECEC-B40F-09202D73F0C9}"/>
          </ac:inkMkLst>
        </pc:inkChg>
        <pc:inkChg chg="add del mod">
          <ac:chgData name="Aniket Chhabra" userId="598e0514-bef3-4e71-b6aa-f2edd6441cff" providerId="ADAL" clId="{A0F7D543-B727-034C-88B5-8F838AD07213}" dt="2022-09-10T08:41:42.524" v="1223"/>
          <ac:inkMkLst>
            <pc:docMk/>
            <pc:sldMk cId="3090271849" sldId="287"/>
            <ac:inkMk id="230" creationId="{645478C3-81FD-EE6F-EED9-AF35ABB75949}"/>
          </ac:inkMkLst>
        </pc:inkChg>
        <pc:inkChg chg="add del mod">
          <ac:chgData name="Aniket Chhabra" userId="598e0514-bef3-4e71-b6aa-f2edd6441cff" providerId="ADAL" clId="{A0F7D543-B727-034C-88B5-8F838AD07213}" dt="2022-09-10T08:41:42.523" v="1221"/>
          <ac:inkMkLst>
            <pc:docMk/>
            <pc:sldMk cId="3090271849" sldId="287"/>
            <ac:inkMk id="231" creationId="{83AF7C87-A70A-179C-5200-9FA90BD77D14}"/>
          </ac:inkMkLst>
        </pc:inkChg>
        <pc:inkChg chg="add del mod">
          <ac:chgData name="Aniket Chhabra" userId="598e0514-bef3-4e71-b6aa-f2edd6441cff" providerId="ADAL" clId="{A0F7D543-B727-034C-88B5-8F838AD07213}" dt="2022-09-10T08:41:42.522" v="1212"/>
          <ac:inkMkLst>
            <pc:docMk/>
            <pc:sldMk cId="3090271849" sldId="287"/>
            <ac:inkMk id="232" creationId="{C15320C7-5460-1DCE-9BD9-9A5610BBB279}"/>
          </ac:inkMkLst>
        </pc:inkChg>
        <pc:inkChg chg="add del mod">
          <ac:chgData name="Aniket Chhabra" userId="598e0514-bef3-4e71-b6aa-f2edd6441cff" providerId="ADAL" clId="{A0F7D543-B727-034C-88B5-8F838AD07213}" dt="2022-09-10T08:41:42.526" v="1233"/>
          <ac:inkMkLst>
            <pc:docMk/>
            <pc:sldMk cId="3090271849" sldId="287"/>
            <ac:inkMk id="233" creationId="{74151E5B-DAEF-2F49-4B7D-B03576DEB9E7}"/>
          </ac:inkMkLst>
        </pc:inkChg>
        <pc:inkChg chg="add del">
          <ac:chgData name="Aniket Chhabra" userId="598e0514-bef3-4e71-b6aa-f2edd6441cff" providerId="ADAL" clId="{A0F7D543-B727-034C-88B5-8F838AD07213}" dt="2022-09-10T08:41:42.522" v="1214"/>
          <ac:inkMkLst>
            <pc:docMk/>
            <pc:sldMk cId="3090271849" sldId="287"/>
            <ac:inkMk id="234" creationId="{B9B49892-24A8-A3EF-2B87-6CDF901D53AB}"/>
          </ac:inkMkLst>
        </pc:inkChg>
        <pc:inkChg chg="add del mod">
          <ac:chgData name="Aniket Chhabra" userId="598e0514-bef3-4e71-b6aa-f2edd6441cff" providerId="ADAL" clId="{A0F7D543-B727-034C-88B5-8F838AD07213}" dt="2022-09-10T08:41:42.523" v="1219"/>
          <ac:inkMkLst>
            <pc:docMk/>
            <pc:sldMk cId="3090271849" sldId="287"/>
            <ac:inkMk id="236" creationId="{17F7E2BD-E022-C503-AEB0-D6B888F7D763}"/>
          </ac:inkMkLst>
        </pc:inkChg>
        <pc:inkChg chg="add del mod">
          <ac:chgData name="Aniket Chhabra" userId="598e0514-bef3-4e71-b6aa-f2edd6441cff" providerId="ADAL" clId="{A0F7D543-B727-034C-88B5-8F838AD07213}" dt="2022-09-10T08:41:42.524" v="1225"/>
          <ac:inkMkLst>
            <pc:docMk/>
            <pc:sldMk cId="3090271849" sldId="287"/>
            <ac:inkMk id="237" creationId="{3B0E8761-1264-0245-EF9B-009FD0CD0FE8}"/>
          </ac:inkMkLst>
        </pc:inkChg>
        <pc:inkChg chg="add">
          <ac:chgData name="Aniket Chhabra" userId="598e0514-bef3-4e71-b6aa-f2edd6441cff" providerId="ADAL" clId="{A0F7D543-B727-034C-88B5-8F838AD07213}" dt="2022-09-10T08:41:46.605" v="1235" actId="9405"/>
          <ac:inkMkLst>
            <pc:docMk/>
            <pc:sldMk cId="3090271849" sldId="287"/>
            <ac:inkMk id="239" creationId="{422538E5-A2B7-876B-AE6E-5414A735C09A}"/>
          </ac:inkMkLst>
        </pc:inkChg>
        <pc:inkChg chg="add mod">
          <ac:chgData name="Aniket Chhabra" userId="598e0514-bef3-4e71-b6aa-f2edd6441cff" providerId="ADAL" clId="{A0F7D543-B727-034C-88B5-8F838AD07213}" dt="2022-09-10T08:41:50.825" v="1238"/>
          <ac:inkMkLst>
            <pc:docMk/>
            <pc:sldMk cId="3090271849" sldId="287"/>
            <ac:inkMk id="240" creationId="{E073C2ED-915F-E34F-CE26-B328C977CE58}"/>
          </ac:inkMkLst>
        </pc:inkChg>
        <pc:inkChg chg="add mod">
          <ac:chgData name="Aniket Chhabra" userId="598e0514-bef3-4e71-b6aa-f2edd6441cff" providerId="ADAL" clId="{A0F7D543-B727-034C-88B5-8F838AD07213}" dt="2022-09-10T08:41:50.825" v="1238"/>
          <ac:inkMkLst>
            <pc:docMk/>
            <pc:sldMk cId="3090271849" sldId="287"/>
            <ac:inkMk id="241" creationId="{DFAF1D59-88BC-A1EF-7CE7-8AAF1394D70A}"/>
          </ac:inkMkLst>
        </pc:inkChg>
        <pc:inkChg chg="add">
          <ac:chgData name="Aniket Chhabra" userId="598e0514-bef3-4e71-b6aa-f2edd6441cff" providerId="ADAL" clId="{A0F7D543-B727-034C-88B5-8F838AD07213}" dt="2022-09-10T08:41:53.841" v="1239" actId="9405"/>
          <ac:inkMkLst>
            <pc:docMk/>
            <pc:sldMk cId="3090271849" sldId="287"/>
            <ac:inkMk id="243" creationId="{46D3FB8D-49B2-33DB-B1E4-4B69397D2BDC}"/>
          </ac:inkMkLst>
        </pc:inkChg>
        <pc:inkChg chg="add mod">
          <ac:chgData name="Aniket Chhabra" userId="598e0514-bef3-4e71-b6aa-f2edd6441cff" providerId="ADAL" clId="{A0F7D543-B727-034C-88B5-8F838AD07213}" dt="2022-09-10T08:41:57.826" v="1246"/>
          <ac:inkMkLst>
            <pc:docMk/>
            <pc:sldMk cId="3090271849" sldId="287"/>
            <ac:inkMk id="244" creationId="{878B645C-6C61-35EE-692C-F85D4BC53B02}"/>
          </ac:inkMkLst>
        </pc:inkChg>
        <pc:inkChg chg="add mod">
          <ac:chgData name="Aniket Chhabra" userId="598e0514-bef3-4e71-b6aa-f2edd6441cff" providerId="ADAL" clId="{A0F7D543-B727-034C-88B5-8F838AD07213}" dt="2022-09-10T08:41:57.826" v="1246"/>
          <ac:inkMkLst>
            <pc:docMk/>
            <pc:sldMk cId="3090271849" sldId="287"/>
            <ac:inkMk id="245" creationId="{98DAB52B-47C5-9673-4E06-EE01B0FD3784}"/>
          </ac:inkMkLst>
        </pc:inkChg>
        <pc:inkChg chg="add mod">
          <ac:chgData name="Aniket Chhabra" userId="598e0514-bef3-4e71-b6aa-f2edd6441cff" providerId="ADAL" clId="{A0F7D543-B727-034C-88B5-8F838AD07213}" dt="2022-09-10T08:41:57.826" v="1246"/>
          <ac:inkMkLst>
            <pc:docMk/>
            <pc:sldMk cId="3090271849" sldId="287"/>
            <ac:inkMk id="246" creationId="{7F0F5CAF-770A-DAD5-2A9A-A2AD52E13EE1}"/>
          </ac:inkMkLst>
        </pc:inkChg>
        <pc:inkChg chg="add mod">
          <ac:chgData name="Aniket Chhabra" userId="598e0514-bef3-4e71-b6aa-f2edd6441cff" providerId="ADAL" clId="{A0F7D543-B727-034C-88B5-8F838AD07213}" dt="2022-09-10T08:41:57.826" v="1246"/>
          <ac:inkMkLst>
            <pc:docMk/>
            <pc:sldMk cId="3090271849" sldId="287"/>
            <ac:inkMk id="247" creationId="{E1151299-0AA1-B883-5D4D-A8978A6B5BC7}"/>
          </ac:inkMkLst>
        </pc:inkChg>
        <pc:inkChg chg="add mod">
          <ac:chgData name="Aniket Chhabra" userId="598e0514-bef3-4e71-b6aa-f2edd6441cff" providerId="ADAL" clId="{A0F7D543-B727-034C-88B5-8F838AD07213}" dt="2022-09-10T08:41:57.826" v="1246"/>
          <ac:inkMkLst>
            <pc:docMk/>
            <pc:sldMk cId="3090271849" sldId="287"/>
            <ac:inkMk id="248" creationId="{FFF3A73A-96C3-8AE7-F2F5-963221A440C6}"/>
          </ac:inkMkLst>
        </pc:inkChg>
        <pc:inkChg chg="add mod">
          <ac:chgData name="Aniket Chhabra" userId="598e0514-bef3-4e71-b6aa-f2edd6441cff" providerId="ADAL" clId="{A0F7D543-B727-034C-88B5-8F838AD07213}" dt="2022-09-10T08:41:57.826" v="1246"/>
          <ac:inkMkLst>
            <pc:docMk/>
            <pc:sldMk cId="3090271849" sldId="287"/>
            <ac:inkMk id="249" creationId="{432AAF82-03BE-3184-F7F3-7F93AE88BE38}"/>
          </ac:inkMkLst>
        </pc:inkChg>
        <pc:inkChg chg="add mod">
          <ac:chgData name="Aniket Chhabra" userId="598e0514-bef3-4e71-b6aa-f2edd6441cff" providerId="ADAL" clId="{A0F7D543-B727-034C-88B5-8F838AD07213}" dt="2022-09-10T08:41:59.346" v="1250"/>
          <ac:inkMkLst>
            <pc:docMk/>
            <pc:sldMk cId="3090271849" sldId="287"/>
            <ac:inkMk id="251" creationId="{40229232-20DC-07BD-D030-E72C6A0BFCE1}"/>
          </ac:inkMkLst>
        </pc:inkChg>
        <pc:inkChg chg="add mod">
          <ac:chgData name="Aniket Chhabra" userId="598e0514-bef3-4e71-b6aa-f2edd6441cff" providerId="ADAL" clId="{A0F7D543-B727-034C-88B5-8F838AD07213}" dt="2022-09-10T08:41:59.346" v="1250"/>
          <ac:inkMkLst>
            <pc:docMk/>
            <pc:sldMk cId="3090271849" sldId="287"/>
            <ac:inkMk id="252" creationId="{A38160CA-8B2C-B673-2CF0-147963F20E32}"/>
          </ac:inkMkLst>
        </pc:inkChg>
        <pc:inkChg chg="add mod">
          <ac:chgData name="Aniket Chhabra" userId="598e0514-bef3-4e71-b6aa-f2edd6441cff" providerId="ADAL" clId="{A0F7D543-B727-034C-88B5-8F838AD07213}" dt="2022-09-10T08:41:59.346" v="1250"/>
          <ac:inkMkLst>
            <pc:docMk/>
            <pc:sldMk cId="3090271849" sldId="287"/>
            <ac:inkMk id="253" creationId="{5E10100E-42AE-819B-FC1F-908B17D94DBE}"/>
          </ac:inkMkLst>
        </pc:inkChg>
        <pc:inkChg chg="add">
          <ac:chgData name="Aniket Chhabra" userId="598e0514-bef3-4e71-b6aa-f2edd6441cff" providerId="ADAL" clId="{A0F7D543-B727-034C-88B5-8F838AD07213}" dt="2022-09-10T08:41:59.765" v="1251" actId="9405"/>
          <ac:inkMkLst>
            <pc:docMk/>
            <pc:sldMk cId="3090271849" sldId="287"/>
            <ac:inkMk id="255" creationId="{4E52D99D-BC6B-07A5-3211-39AD8FFE498F}"/>
          </ac:inkMkLst>
        </pc:inkChg>
        <pc:inkChg chg="add">
          <ac:chgData name="Aniket Chhabra" userId="598e0514-bef3-4e71-b6aa-f2edd6441cff" providerId="ADAL" clId="{A0F7D543-B727-034C-88B5-8F838AD07213}" dt="2022-09-10T08:41:59.915" v="1252" actId="9405"/>
          <ac:inkMkLst>
            <pc:docMk/>
            <pc:sldMk cId="3090271849" sldId="287"/>
            <ac:inkMk id="256" creationId="{5AAA3C64-A5EF-220F-6D5F-82FEF1C27F96}"/>
          </ac:inkMkLst>
        </pc:inkChg>
        <pc:inkChg chg="add">
          <ac:chgData name="Aniket Chhabra" userId="598e0514-bef3-4e71-b6aa-f2edd6441cff" providerId="ADAL" clId="{A0F7D543-B727-034C-88B5-8F838AD07213}" dt="2022-09-10T08:42:00.130" v="1253" actId="9405"/>
          <ac:inkMkLst>
            <pc:docMk/>
            <pc:sldMk cId="3090271849" sldId="287"/>
            <ac:inkMk id="257" creationId="{54AA2239-5578-7E7B-077D-D36F6F1B7EA0}"/>
          </ac:inkMkLst>
        </pc:inkChg>
        <pc:inkChg chg="add">
          <ac:chgData name="Aniket Chhabra" userId="598e0514-bef3-4e71-b6aa-f2edd6441cff" providerId="ADAL" clId="{A0F7D543-B727-034C-88B5-8F838AD07213}" dt="2022-09-10T08:42:00.364" v="1254" actId="9405"/>
          <ac:inkMkLst>
            <pc:docMk/>
            <pc:sldMk cId="3090271849" sldId="287"/>
            <ac:inkMk id="258" creationId="{D5A496AF-94B8-8501-3F3B-C8E130D00C89}"/>
          </ac:inkMkLst>
        </pc:inkChg>
      </pc:sldChg>
      <pc:sldChg chg="addSp delSp modSp mod">
        <pc:chgData name="Aniket Chhabra" userId="598e0514-bef3-4e71-b6aa-f2edd6441cff" providerId="ADAL" clId="{A0F7D543-B727-034C-88B5-8F838AD07213}" dt="2022-09-10T08:54:30.202" v="1546"/>
        <pc:sldMkLst>
          <pc:docMk/>
          <pc:sldMk cId="4233247021" sldId="291"/>
        </pc:sldMkLst>
        <pc:grpChg chg="del mod">
          <ac:chgData name="Aniket Chhabra" userId="598e0514-bef3-4e71-b6aa-f2edd6441cff" providerId="ADAL" clId="{A0F7D543-B727-034C-88B5-8F838AD07213}" dt="2022-09-10T08:54:30.202" v="1545"/>
          <ac:grpSpMkLst>
            <pc:docMk/>
            <pc:sldMk cId="4233247021" sldId="291"/>
            <ac:grpSpMk id="8" creationId="{C9DAAC16-9316-3FBE-F239-A3FE409B3B15}"/>
          </ac:grpSpMkLst>
        </pc:grpChg>
        <pc:inkChg chg="add del mod">
          <ac:chgData name="Aniket Chhabra" userId="598e0514-bef3-4e71-b6aa-f2edd6441cff" providerId="ADAL" clId="{A0F7D543-B727-034C-88B5-8F838AD07213}" dt="2022-09-10T08:54:30.202" v="1545"/>
          <ac:inkMkLst>
            <pc:docMk/>
            <pc:sldMk cId="4233247021" sldId="291"/>
            <ac:inkMk id="3" creationId="{69433034-339C-6CA8-4E85-F146E9E7D056}"/>
          </ac:inkMkLst>
        </pc:inkChg>
        <pc:inkChg chg="add del mod">
          <ac:chgData name="Aniket Chhabra" userId="598e0514-bef3-4e71-b6aa-f2edd6441cff" providerId="ADAL" clId="{A0F7D543-B727-034C-88B5-8F838AD07213}" dt="2022-09-10T08:54:30.202" v="1546"/>
          <ac:inkMkLst>
            <pc:docMk/>
            <pc:sldMk cId="4233247021" sldId="291"/>
            <ac:inkMk id="5" creationId="{FECB24A3-7F49-D364-82B8-472DB7AE891A}"/>
          </ac:inkMkLst>
        </pc:inkChg>
        <pc:inkChg chg="add del mod">
          <ac:chgData name="Aniket Chhabra" userId="598e0514-bef3-4e71-b6aa-f2edd6441cff" providerId="ADAL" clId="{A0F7D543-B727-034C-88B5-8F838AD07213}" dt="2022-09-10T08:54:30.201" v="1544"/>
          <ac:inkMkLst>
            <pc:docMk/>
            <pc:sldMk cId="4233247021" sldId="291"/>
            <ac:inkMk id="7" creationId="{5D23AB37-6A2C-9123-2650-F721641DF99A}"/>
          </ac:inkMkLst>
        </pc:inkChg>
      </pc:sldChg>
      <pc:sldChg chg="addSp delSp modSp mod">
        <pc:chgData name="Aniket Chhabra" userId="598e0514-bef3-4e71-b6aa-f2edd6441cff" providerId="ADAL" clId="{A0F7D543-B727-034C-88B5-8F838AD07213}" dt="2022-09-24T05:23:20.380" v="1621"/>
        <pc:sldMkLst>
          <pc:docMk/>
          <pc:sldMk cId="3979036142" sldId="296"/>
        </pc:sldMkLst>
        <pc:grpChg chg="del mod">
          <ac:chgData name="Aniket Chhabra" userId="598e0514-bef3-4e71-b6aa-f2edd6441cff" providerId="ADAL" clId="{A0F7D543-B727-034C-88B5-8F838AD07213}" dt="2022-08-21T06:39:32.727" v="76"/>
          <ac:grpSpMkLst>
            <pc:docMk/>
            <pc:sldMk cId="3979036142" sldId="296"/>
            <ac:grpSpMk id="10" creationId="{3E737F8B-E902-331A-C132-4F8FF2283392}"/>
          </ac:grpSpMkLst>
        </pc:grpChg>
        <pc:grpChg chg="del mod">
          <ac:chgData name="Aniket Chhabra" userId="598e0514-bef3-4e71-b6aa-f2edd6441cff" providerId="ADAL" clId="{A0F7D543-B727-034C-88B5-8F838AD07213}" dt="2022-08-21T06:39:34.500" v="80"/>
          <ac:grpSpMkLst>
            <pc:docMk/>
            <pc:sldMk cId="3979036142" sldId="296"/>
            <ac:grpSpMk id="12" creationId="{C49DF85B-44BD-1D52-CC73-667C123A73BC}"/>
          </ac:grpSpMkLst>
        </pc:grpChg>
        <pc:grpChg chg="mod">
          <ac:chgData name="Aniket Chhabra" userId="598e0514-bef3-4e71-b6aa-f2edd6441cff" providerId="ADAL" clId="{A0F7D543-B727-034C-88B5-8F838AD07213}" dt="2022-09-10T08:09:40.163" v="434"/>
          <ac:grpSpMkLst>
            <pc:docMk/>
            <pc:sldMk cId="3979036142" sldId="296"/>
            <ac:grpSpMk id="15" creationId="{13E9BD0C-FB65-357A-2F8A-070D4CE940E6}"/>
          </ac:grpSpMkLst>
        </pc:grpChg>
        <pc:grpChg chg="del mod">
          <ac:chgData name="Aniket Chhabra" userId="598e0514-bef3-4e71-b6aa-f2edd6441cff" providerId="ADAL" clId="{A0F7D543-B727-034C-88B5-8F838AD07213}" dt="2022-08-27T07:20:01.665" v="286"/>
          <ac:grpSpMkLst>
            <pc:docMk/>
            <pc:sldMk cId="3979036142" sldId="296"/>
            <ac:grpSpMk id="16" creationId="{8214E383-D3F9-E7F2-F340-675B483260BE}"/>
          </ac:grpSpMkLst>
        </pc:grpChg>
        <pc:grpChg chg="del mod">
          <ac:chgData name="Aniket Chhabra" userId="598e0514-bef3-4e71-b6aa-f2edd6441cff" providerId="ADAL" clId="{A0F7D543-B727-034C-88B5-8F838AD07213}" dt="2022-09-10T08:08:06.781" v="425"/>
          <ac:grpSpMkLst>
            <pc:docMk/>
            <pc:sldMk cId="3979036142" sldId="296"/>
            <ac:grpSpMk id="23" creationId="{7F7B81F2-7C96-624C-01E6-7990FA61F6EE}"/>
          </ac:grpSpMkLst>
        </pc:grpChg>
        <pc:grpChg chg="del mod">
          <ac:chgData name="Aniket Chhabra" userId="598e0514-bef3-4e71-b6aa-f2edd6441cff" providerId="ADAL" clId="{A0F7D543-B727-034C-88B5-8F838AD07213}" dt="2022-09-10T08:11:40.384" v="468"/>
          <ac:grpSpMkLst>
            <pc:docMk/>
            <pc:sldMk cId="3979036142" sldId="296"/>
            <ac:grpSpMk id="41" creationId="{73F78C58-6AEA-5616-2B48-0BB5F5D4D791}"/>
          </ac:grpSpMkLst>
        </pc:grpChg>
        <pc:grpChg chg="del mod">
          <ac:chgData name="Aniket Chhabra" userId="598e0514-bef3-4e71-b6aa-f2edd6441cff" providerId="ADAL" clId="{A0F7D543-B727-034C-88B5-8F838AD07213}" dt="2022-09-10T08:11:37.379" v="464"/>
          <ac:grpSpMkLst>
            <pc:docMk/>
            <pc:sldMk cId="3979036142" sldId="296"/>
            <ac:grpSpMk id="48" creationId="{11873DB7-FE5E-A2A3-268D-7765024D7C59}"/>
          </ac:grpSpMkLst>
        </pc:grpChg>
        <pc:grpChg chg="del mod">
          <ac:chgData name="Aniket Chhabra" userId="598e0514-bef3-4e71-b6aa-f2edd6441cff" providerId="ADAL" clId="{A0F7D543-B727-034C-88B5-8F838AD07213}" dt="2022-09-10T08:12:07.135" v="479"/>
          <ac:grpSpMkLst>
            <pc:docMk/>
            <pc:sldMk cId="3979036142" sldId="296"/>
            <ac:grpSpMk id="52" creationId="{7AA04B9E-AC01-D02F-E26B-F29FEE76CA1B}"/>
          </ac:grpSpMkLst>
        </pc:grpChg>
        <pc:grpChg chg="del mod">
          <ac:chgData name="Aniket Chhabra" userId="598e0514-bef3-4e71-b6aa-f2edd6441cff" providerId="ADAL" clId="{A0F7D543-B727-034C-88B5-8F838AD07213}" dt="2022-09-10T08:12:07.135" v="479"/>
          <ac:grpSpMkLst>
            <pc:docMk/>
            <pc:sldMk cId="3979036142" sldId="296"/>
            <ac:grpSpMk id="56" creationId="{606FBE13-27A5-4299-9400-3FCBE5AB6FA4}"/>
          </ac:grpSpMkLst>
        </pc:grpChg>
        <pc:grpChg chg="del mod">
          <ac:chgData name="Aniket Chhabra" userId="598e0514-bef3-4e71-b6aa-f2edd6441cff" providerId="ADAL" clId="{A0F7D543-B727-034C-88B5-8F838AD07213}" dt="2022-09-10T08:12:04.295" v="477"/>
          <ac:grpSpMkLst>
            <pc:docMk/>
            <pc:sldMk cId="3979036142" sldId="296"/>
            <ac:grpSpMk id="62" creationId="{388A29EF-2EF7-B68D-8972-A0F44C2CFF98}"/>
          </ac:grpSpMkLst>
        </pc:grpChg>
        <pc:grpChg chg="del mod">
          <ac:chgData name="Aniket Chhabra" userId="598e0514-bef3-4e71-b6aa-f2edd6441cff" providerId="ADAL" clId="{A0F7D543-B727-034C-88B5-8F838AD07213}" dt="2022-09-10T08:12:07.135" v="479"/>
          <ac:grpSpMkLst>
            <pc:docMk/>
            <pc:sldMk cId="3979036142" sldId="296"/>
            <ac:grpSpMk id="63" creationId="{1CB8CBAE-E53C-4F3B-D7A2-96E83D5310A8}"/>
          </ac:grpSpMkLst>
        </pc:grpChg>
        <pc:grpChg chg="del mod">
          <ac:chgData name="Aniket Chhabra" userId="598e0514-bef3-4e71-b6aa-f2edd6441cff" providerId="ADAL" clId="{A0F7D543-B727-034C-88B5-8F838AD07213}" dt="2022-09-10T08:12:07.135" v="479"/>
          <ac:grpSpMkLst>
            <pc:docMk/>
            <pc:sldMk cId="3979036142" sldId="296"/>
            <ac:grpSpMk id="66" creationId="{57493C8D-252F-2F06-F8D9-843C18EC352C}"/>
          </ac:grpSpMkLst>
        </pc:grpChg>
        <pc:grpChg chg="del mod">
          <ac:chgData name="Aniket Chhabra" userId="598e0514-bef3-4e71-b6aa-f2edd6441cff" providerId="ADAL" clId="{A0F7D543-B727-034C-88B5-8F838AD07213}" dt="2022-09-10T08:12:30.474" v="481"/>
          <ac:grpSpMkLst>
            <pc:docMk/>
            <pc:sldMk cId="3979036142" sldId="296"/>
            <ac:grpSpMk id="68" creationId="{5178211F-5C52-B9DA-283C-ACC3B8EACEF0}"/>
          </ac:grpSpMkLst>
        </pc:grpChg>
        <pc:grpChg chg="del mod">
          <ac:chgData name="Aniket Chhabra" userId="598e0514-bef3-4e71-b6aa-f2edd6441cff" providerId="ADAL" clId="{A0F7D543-B727-034C-88B5-8F838AD07213}" dt="2022-09-24T05:23:20.380" v="1619"/>
          <ac:grpSpMkLst>
            <pc:docMk/>
            <pc:sldMk cId="3979036142" sldId="296"/>
            <ac:grpSpMk id="70" creationId="{F5980EE6-56EF-DD6D-25AA-CE8688A5624F}"/>
          </ac:grpSpMkLst>
        </pc:grpChg>
        <pc:grpChg chg="del mod">
          <ac:chgData name="Aniket Chhabra" userId="598e0514-bef3-4e71-b6aa-f2edd6441cff" providerId="ADAL" clId="{A0F7D543-B727-034C-88B5-8F838AD07213}" dt="2022-09-24T05:23:20.378" v="1610"/>
          <ac:grpSpMkLst>
            <pc:docMk/>
            <pc:sldMk cId="3979036142" sldId="296"/>
            <ac:grpSpMk id="72" creationId="{9C4D05BF-6F3B-0923-F668-6C3ED2E98A20}"/>
          </ac:grpSpMkLst>
        </pc:grpChg>
        <pc:inkChg chg="add">
          <ac:chgData name="Aniket Chhabra" userId="598e0514-bef3-4e71-b6aa-f2edd6441cff" providerId="ADAL" clId="{A0F7D543-B727-034C-88B5-8F838AD07213}" dt="2022-09-10T08:09:26.105" v="428" actId="9405"/>
          <ac:inkMkLst>
            <pc:docMk/>
            <pc:sldMk cId="3979036142" sldId="296"/>
            <ac:inkMk id="6" creationId="{874F994F-0BD1-4DD4-720A-6AA9E65A6C31}"/>
          </ac:inkMkLst>
        </pc:inkChg>
        <pc:inkChg chg="del">
          <ac:chgData name="Aniket Chhabra" userId="598e0514-bef3-4e71-b6aa-f2edd6441cff" providerId="ADAL" clId="{A0F7D543-B727-034C-88B5-8F838AD07213}" dt="2022-08-27T07:19:58.478" v="281"/>
          <ac:inkMkLst>
            <pc:docMk/>
            <pc:sldMk cId="3979036142" sldId="296"/>
            <ac:inkMk id="6" creationId="{D662D8C6-9101-48CC-80F4-B70B568C2429}"/>
          </ac:inkMkLst>
        </pc:inkChg>
        <pc:inkChg chg="add">
          <ac:chgData name="Aniket Chhabra" userId="598e0514-bef3-4e71-b6aa-f2edd6441cff" providerId="ADAL" clId="{A0F7D543-B727-034C-88B5-8F838AD07213}" dt="2022-09-10T08:09:28.679" v="429" actId="9405"/>
          <ac:inkMkLst>
            <pc:docMk/>
            <pc:sldMk cId="3979036142" sldId="296"/>
            <ac:inkMk id="7" creationId="{61F29C76-2CA0-A9FC-73A1-81622938BF27}"/>
          </ac:inkMkLst>
        </pc:inkChg>
        <pc:inkChg chg="add del mod">
          <ac:chgData name="Aniket Chhabra" userId="598e0514-bef3-4e71-b6aa-f2edd6441cff" providerId="ADAL" clId="{A0F7D543-B727-034C-88B5-8F838AD07213}" dt="2022-08-27T07:20:00.833" v="282"/>
          <ac:inkMkLst>
            <pc:docMk/>
            <pc:sldMk cId="3979036142" sldId="296"/>
            <ac:inkMk id="7" creationId="{7187D09F-4045-9BB0-F778-9A562DA7782A}"/>
          </ac:inkMkLst>
        </pc:inkChg>
        <pc:inkChg chg="add del mod">
          <ac:chgData name="Aniket Chhabra" userId="598e0514-bef3-4e71-b6aa-f2edd6441cff" providerId="ADAL" clId="{A0F7D543-B727-034C-88B5-8F838AD07213}" dt="2022-08-27T07:20:00.834" v="283"/>
          <ac:inkMkLst>
            <pc:docMk/>
            <pc:sldMk cId="3979036142" sldId="296"/>
            <ac:inkMk id="9" creationId="{258724A0-3FFF-7322-CB2A-AF6AF3FD338D}"/>
          </ac:inkMkLst>
        </pc:inkChg>
        <pc:inkChg chg="add">
          <ac:chgData name="Aniket Chhabra" userId="598e0514-bef3-4e71-b6aa-f2edd6441cff" providerId="ADAL" clId="{A0F7D543-B727-034C-88B5-8F838AD07213}" dt="2022-09-10T08:09:30.429" v="430" actId="9405"/>
          <ac:inkMkLst>
            <pc:docMk/>
            <pc:sldMk cId="3979036142" sldId="296"/>
            <ac:inkMk id="9" creationId="{50755D51-D5EC-1BF2-4AA2-50DED8467112}"/>
          </ac:inkMkLst>
        </pc:inkChg>
        <pc:inkChg chg="add del">
          <ac:chgData name="Aniket Chhabra" userId="598e0514-bef3-4e71-b6aa-f2edd6441cff" providerId="ADAL" clId="{A0F7D543-B727-034C-88B5-8F838AD07213}" dt="2022-09-10T08:07:58.170" v="420"/>
          <ac:inkMkLst>
            <pc:docMk/>
            <pc:sldMk cId="3979036142" sldId="296"/>
            <ac:inkMk id="10" creationId="{8F1A7F44-C0C9-6C36-CF0D-492D3A2D69A4}"/>
          </ac:inkMkLst>
        </pc:inkChg>
        <pc:inkChg chg="add del mod">
          <ac:chgData name="Aniket Chhabra" userId="598e0514-bef3-4e71-b6aa-f2edd6441cff" providerId="ADAL" clId="{A0F7D543-B727-034C-88B5-8F838AD07213}" dt="2022-08-27T07:20:00.834" v="284"/>
          <ac:inkMkLst>
            <pc:docMk/>
            <pc:sldMk cId="3979036142" sldId="296"/>
            <ac:inkMk id="11" creationId="{1E1864A9-1F59-198D-2364-7874EB177686}"/>
          </ac:inkMkLst>
        </pc:inkChg>
        <pc:inkChg chg="add">
          <ac:chgData name="Aniket Chhabra" userId="598e0514-bef3-4e71-b6aa-f2edd6441cff" providerId="ADAL" clId="{A0F7D543-B727-034C-88B5-8F838AD07213}" dt="2022-09-10T08:09:33.564" v="431" actId="9405"/>
          <ac:inkMkLst>
            <pc:docMk/>
            <pc:sldMk cId="3979036142" sldId="296"/>
            <ac:inkMk id="11" creationId="{1F9B0AFB-0853-1230-67BA-65905E7426F9}"/>
          </ac:inkMkLst>
        </pc:inkChg>
        <pc:inkChg chg="add del">
          <ac:chgData name="Aniket Chhabra" userId="598e0514-bef3-4e71-b6aa-f2edd6441cff" providerId="ADAL" clId="{A0F7D543-B727-034C-88B5-8F838AD07213}" dt="2022-09-10T08:08:00.630" v="422"/>
          <ac:inkMkLst>
            <pc:docMk/>
            <pc:sldMk cId="3979036142" sldId="296"/>
            <ac:inkMk id="12" creationId="{D1CB53B6-8D97-517F-72CA-42F4DE7F9ABF}"/>
          </ac:inkMkLst>
        </pc:inkChg>
        <pc:inkChg chg="add del mod">
          <ac:chgData name="Aniket Chhabra" userId="598e0514-bef3-4e71-b6aa-f2edd6441cff" providerId="ADAL" clId="{A0F7D543-B727-034C-88B5-8F838AD07213}" dt="2022-08-27T07:20:01.666" v="287"/>
          <ac:inkMkLst>
            <pc:docMk/>
            <pc:sldMk cId="3979036142" sldId="296"/>
            <ac:inkMk id="13" creationId="{58D347F7-0F00-F504-D3E9-17297C021726}"/>
          </ac:inkMkLst>
        </pc:inkChg>
        <pc:inkChg chg="add mod">
          <ac:chgData name="Aniket Chhabra" userId="598e0514-bef3-4e71-b6aa-f2edd6441cff" providerId="ADAL" clId="{A0F7D543-B727-034C-88B5-8F838AD07213}" dt="2022-09-10T08:09:40.163" v="434"/>
          <ac:inkMkLst>
            <pc:docMk/>
            <pc:sldMk cId="3979036142" sldId="296"/>
            <ac:inkMk id="13" creationId="{7E6A4653-8DE7-4076-4928-1BFB725920B7}"/>
          </ac:inkMkLst>
        </pc:inkChg>
        <pc:inkChg chg="add del mod">
          <ac:chgData name="Aniket Chhabra" userId="598e0514-bef3-4e71-b6aa-f2edd6441cff" providerId="ADAL" clId="{A0F7D543-B727-034C-88B5-8F838AD07213}" dt="2022-08-27T07:20:01.664" v="285"/>
          <ac:inkMkLst>
            <pc:docMk/>
            <pc:sldMk cId="3979036142" sldId="296"/>
            <ac:inkMk id="14" creationId="{395486CD-9225-EE3F-E883-EB1CE6065D88}"/>
          </ac:inkMkLst>
        </pc:inkChg>
        <pc:inkChg chg="add mod">
          <ac:chgData name="Aniket Chhabra" userId="598e0514-bef3-4e71-b6aa-f2edd6441cff" providerId="ADAL" clId="{A0F7D543-B727-034C-88B5-8F838AD07213}" dt="2022-09-10T08:09:40.163" v="434"/>
          <ac:inkMkLst>
            <pc:docMk/>
            <pc:sldMk cId="3979036142" sldId="296"/>
            <ac:inkMk id="14" creationId="{601E9D50-B361-1614-F379-500B8E97110B}"/>
          </ac:inkMkLst>
        </pc:inkChg>
        <pc:inkChg chg="add del mod">
          <ac:chgData name="Aniket Chhabra" userId="598e0514-bef3-4e71-b6aa-f2edd6441cff" providerId="ADAL" clId="{A0F7D543-B727-034C-88B5-8F838AD07213}" dt="2022-08-27T07:20:01.665" v="286"/>
          <ac:inkMkLst>
            <pc:docMk/>
            <pc:sldMk cId="3979036142" sldId="296"/>
            <ac:inkMk id="15" creationId="{A2B70A61-CE86-6786-D904-3CA01D69BAE9}"/>
          </ac:inkMkLst>
        </pc:inkChg>
        <pc:inkChg chg="add">
          <ac:chgData name="Aniket Chhabra" userId="598e0514-bef3-4e71-b6aa-f2edd6441cff" providerId="ADAL" clId="{A0F7D543-B727-034C-88B5-8F838AD07213}" dt="2022-09-10T08:09:41.486" v="435" actId="9405"/>
          <ac:inkMkLst>
            <pc:docMk/>
            <pc:sldMk cId="3979036142" sldId="296"/>
            <ac:inkMk id="16" creationId="{45B8EB34-1586-7D1B-CE5F-C53A6C738C66}"/>
          </ac:inkMkLst>
        </pc:inkChg>
        <pc:inkChg chg="add del">
          <ac:chgData name="Aniket Chhabra" userId="598e0514-bef3-4e71-b6aa-f2edd6441cff" providerId="ADAL" clId="{A0F7D543-B727-034C-88B5-8F838AD07213}" dt="2022-09-10T08:08:03.535" v="424"/>
          <ac:inkMkLst>
            <pc:docMk/>
            <pc:sldMk cId="3979036142" sldId="296"/>
            <ac:inkMk id="17" creationId="{4BC2CFF4-BAB0-3E75-9A84-F002EDC14639}"/>
          </ac:inkMkLst>
        </pc:inkChg>
        <pc:inkChg chg="add del">
          <ac:chgData name="Aniket Chhabra" userId="598e0514-bef3-4e71-b6aa-f2edd6441cff" providerId="ADAL" clId="{A0F7D543-B727-034C-88B5-8F838AD07213}" dt="2022-09-10T08:08:02.395" v="423"/>
          <ac:inkMkLst>
            <pc:docMk/>
            <pc:sldMk cId="3979036142" sldId="296"/>
            <ac:inkMk id="18" creationId="{AB3F9512-2F3E-E2F5-5BEC-FAB9DFE4D3C9}"/>
          </ac:inkMkLst>
        </pc:inkChg>
        <pc:inkChg chg="add del mod">
          <ac:chgData name="Aniket Chhabra" userId="598e0514-bef3-4e71-b6aa-f2edd6441cff" providerId="ADAL" clId="{A0F7D543-B727-034C-88B5-8F838AD07213}" dt="2022-09-10T08:08:18.221" v="426"/>
          <ac:inkMkLst>
            <pc:docMk/>
            <pc:sldMk cId="3979036142" sldId="296"/>
            <ac:inkMk id="19" creationId="{813184E5-94ED-2256-F299-44F650A89AF3}"/>
          </ac:inkMkLst>
        </pc:inkChg>
        <pc:inkChg chg="add del">
          <ac:chgData name="Aniket Chhabra" userId="598e0514-bef3-4e71-b6aa-f2edd6441cff" providerId="ADAL" clId="{A0F7D543-B727-034C-88B5-8F838AD07213}" dt="2022-09-10T08:07:59.296" v="421"/>
          <ac:inkMkLst>
            <pc:docMk/>
            <pc:sldMk cId="3979036142" sldId="296"/>
            <ac:inkMk id="20" creationId="{A35DD637-9B35-D0FF-5C07-03D4201BEB08}"/>
          </ac:inkMkLst>
        </pc:inkChg>
        <pc:inkChg chg="add del">
          <ac:chgData name="Aniket Chhabra" userId="598e0514-bef3-4e71-b6aa-f2edd6441cff" providerId="ADAL" clId="{A0F7D543-B727-034C-88B5-8F838AD07213}" dt="2022-09-10T08:08:19.064" v="427"/>
          <ac:inkMkLst>
            <pc:docMk/>
            <pc:sldMk cId="3979036142" sldId="296"/>
            <ac:inkMk id="21" creationId="{B22035E9-0DA2-B7A5-AE0D-36031AEEA3DE}"/>
          </ac:inkMkLst>
        </pc:inkChg>
        <pc:inkChg chg="add del mod">
          <ac:chgData name="Aniket Chhabra" userId="598e0514-bef3-4e71-b6aa-f2edd6441cff" providerId="ADAL" clId="{A0F7D543-B727-034C-88B5-8F838AD07213}" dt="2022-09-10T08:08:06.781" v="425"/>
          <ac:inkMkLst>
            <pc:docMk/>
            <pc:sldMk cId="3979036142" sldId="296"/>
            <ac:inkMk id="22" creationId="{E22ABE5D-A063-AC99-F731-4BD5273E5DB0}"/>
          </ac:inkMkLst>
        </pc:inkChg>
        <pc:inkChg chg="add">
          <ac:chgData name="Aniket Chhabra" userId="598e0514-bef3-4e71-b6aa-f2edd6441cff" providerId="ADAL" clId="{A0F7D543-B727-034C-88B5-8F838AD07213}" dt="2022-09-10T08:09:44.777" v="436" actId="9405"/>
          <ac:inkMkLst>
            <pc:docMk/>
            <pc:sldMk cId="3979036142" sldId="296"/>
            <ac:inkMk id="24" creationId="{6D5DBBC8-B8D7-E34D-0E8E-1569A28242DE}"/>
          </ac:inkMkLst>
        </pc:inkChg>
        <pc:inkChg chg="add">
          <ac:chgData name="Aniket Chhabra" userId="598e0514-bef3-4e71-b6aa-f2edd6441cff" providerId="ADAL" clId="{A0F7D543-B727-034C-88B5-8F838AD07213}" dt="2022-09-10T08:10:44.581" v="437" actId="9405"/>
          <ac:inkMkLst>
            <pc:docMk/>
            <pc:sldMk cId="3979036142" sldId="296"/>
            <ac:inkMk id="25" creationId="{C122C2F1-256B-773D-86E2-66EDF66C5E98}"/>
          </ac:inkMkLst>
        </pc:inkChg>
        <pc:inkChg chg="add">
          <ac:chgData name="Aniket Chhabra" userId="598e0514-bef3-4e71-b6aa-f2edd6441cff" providerId="ADAL" clId="{A0F7D543-B727-034C-88B5-8F838AD07213}" dt="2022-09-10T08:10:46.227" v="438" actId="9405"/>
          <ac:inkMkLst>
            <pc:docMk/>
            <pc:sldMk cId="3979036142" sldId="296"/>
            <ac:inkMk id="26" creationId="{B20AA993-EF05-E22A-4C9C-3D2A1359E097}"/>
          </ac:inkMkLst>
        </pc:inkChg>
        <pc:inkChg chg="add">
          <ac:chgData name="Aniket Chhabra" userId="598e0514-bef3-4e71-b6aa-f2edd6441cff" providerId="ADAL" clId="{A0F7D543-B727-034C-88B5-8F838AD07213}" dt="2022-09-10T08:10:47.503" v="439" actId="9405"/>
          <ac:inkMkLst>
            <pc:docMk/>
            <pc:sldMk cId="3979036142" sldId="296"/>
            <ac:inkMk id="27" creationId="{AAD9E8D7-82F6-ACA9-CCFC-EDAA93492559}"/>
          </ac:inkMkLst>
        </pc:inkChg>
        <pc:inkChg chg="add">
          <ac:chgData name="Aniket Chhabra" userId="598e0514-bef3-4e71-b6aa-f2edd6441cff" providerId="ADAL" clId="{A0F7D543-B727-034C-88B5-8F838AD07213}" dt="2022-09-10T08:10:48.774" v="440" actId="9405"/>
          <ac:inkMkLst>
            <pc:docMk/>
            <pc:sldMk cId="3979036142" sldId="296"/>
            <ac:inkMk id="28" creationId="{4C1CD074-00F9-CAD7-C973-E1B3918A8C8C}"/>
          </ac:inkMkLst>
        </pc:inkChg>
        <pc:inkChg chg="add del">
          <ac:chgData name="Aniket Chhabra" userId="598e0514-bef3-4e71-b6aa-f2edd6441cff" providerId="ADAL" clId="{A0F7D543-B727-034C-88B5-8F838AD07213}" dt="2022-09-24T05:23:20.376" v="1599"/>
          <ac:inkMkLst>
            <pc:docMk/>
            <pc:sldMk cId="3979036142" sldId="296"/>
            <ac:inkMk id="29" creationId="{42DD0F17-93E9-4966-1C71-37320B87349F}"/>
          </ac:inkMkLst>
        </pc:inkChg>
        <pc:inkChg chg="add del">
          <ac:chgData name="Aniket Chhabra" userId="598e0514-bef3-4e71-b6aa-f2edd6441cff" providerId="ADAL" clId="{A0F7D543-B727-034C-88B5-8F838AD07213}" dt="2022-09-24T05:23:20.380" v="1620"/>
          <ac:inkMkLst>
            <pc:docMk/>
            <pc:sldMk cId="3979036142" sldId="296"/>
            <ac:inkMk id="30" creationId="{3C109B50-8E9B-5FC2-8A88-17F4298BD2CE}"/>
          </ac:inkMkLst>
        </pc:inkChg>
        <pc:inkChg chg="add del mod">
          <ac:chgData name="Aniket Chhabra" userId="598e0514-bef3-4e71-b6aa-f2edd6441cff" providerId="ADAL" clId="{A0F7D543-B727-034C-88B5-8F838AD07213}" dt="2022-09-24T05:23:20.380" v="1619"/>
          <ac:inkMkLst>
            <pc:docMk/>
            <pc:sldMk cId="3979036142" sldId="296"/>
            <ac:inkMk id="31" creationId="{65848C96-4E54-35D4-251C-E3E4BF803691}"/>
          </ac:inkMkLst>
        </pc:inkChg>
        <pc:inkChg chg="add del mod">
          <ac:chgData name="Aniket Chhabra" userId="598e0514-bef3-4e71-b6aa-f2edd6441cff" providerId="ADAL" clId="{A0F7D543-B727-034C-88B5-8F838AD07213}" dt="2022-09-24T05:23:20.380" v="1618"/>
          <ac:inkMkLst>
            <pc:docMk/>
            <pc:sldMk cId="3979036142" sldId="296"/>
            <ac:inkMk id="32" creationId="{5A481DC2-0CAB-46E4-F4B8-61B66B582A69}"/>
          </ac:inkMkLst>
        </pc:inkChg>
        <pc:inkChg chg="add del mod">
          <ac:chgData name="Aniket Chhabra" userId="598e0514-bef3-4e71-b6aa-f2edd6441cff" providerId="ADAL" clId="{A0F7D543-B727-034C-88B5-8F838AD07213}" dt="2022-09-24T05:23:20.374" v="1591"/>
          <ac:inkMkLst>
            <pc:docMk/>
            <pc:sldMk cId="3979036142" sldId="296"/>
            <ac:inkMk id="33" creationId="{B364602E-D4FE-FC2F-1F49-CC3626BA2123}"/>
          </ac:inkMkLst>
        </pc:inkChg>
        <pc:inkChg chg="add del mod">
          <ac:chgData name="Aniket Chhabra" userId="598e0514-bef3-4e71-b6aa-f2edd6441cff" providerId="ADAL" clId="{A0F7D543-B727-034C-88B5-8F838AD07213}" dt="2022-09-24T05:23:20.377" v="1605"/>
          <ac:inkMkLst>
            <pc:docMk/>
            <pc:sldMk cId="3979036142" sldId="296"/>
            <ac:inkMk id="34" creationId="{9AB04ECE-33A3-1D4E-EB00-4B4A02DCD280}"/>
          </ac:inkMkLst>
        </pc:inkChg>
        <pc:inkChg chg="add del mod">
          <ac:chgData name="Aniket Chhabra" userId="598e0514-bef3-4e71-b6aa-f2edd6441cff" providerId="ADAL" clId="{A0F7D543-B727-034C-88B5-8F838AD07213}" dt="2022-09-24T05:23:20.376" v="1598"/>
          <ac:inkMkLst>
            <pc:docMk/>
            <pc:sldMk cId="3979036142" sldId="296"/>
            <ac:inkMk id="35" creationId="{CE05DB49-D0E6-8407-5E85-4699DAD36480}"/>
          </ac:inkMkLst>
        </pc:inkChg>
        <pc:inkChg chg="add del mod">
          <ac:chgData name="Aniket Chhabra" userId="598e0514-bef3-4e71-b6aa-f2edd6441cff" providerId="ADAL" clId="{A0F7D543-B727-034C-88B5-8F838AD07213}" dt="2022-09-24T05:23:20.379" v="1612"/>
          <ac:inkMkLst>
            <pc:docMk/>
            <pc:sldMk cId="3979036142" sldId="296"/>
            <ac:inkMk id="36" creationId="{B16488FB-CA5E-9C53-D7EC-B2C339640819}"/>
          </ac:inkMkLst>
        </pc:inkChg>
        <pc:inkChg chg="add del mod">
          <ac:chgData name="Aniket Chhabra" userId="598e0514-bef3-4e71-b6aa-f2edd6441cff" providerId="ADAL" clId="{A0F7D543-B727-034C-88B5-8F838AD07213}" dt="2022-09-24T05:23:20.379" v="1614"/>
          <ac:inkMkLst>
            <pc:docMk/>
            <pc:sldMk cId="3979036142" sldId="296"/>
            <ac:inkMk id="37" creationId="{6BC8EAEA-DE42-DBA7-1C03-FFE25DD61083}"/>
          </ac:inkMkLst>
        </pc:inkChg>
        <pc:inkChg chg="add del mod">
          <ac:chgData name="Aniket Chhabra" userId="598e0514-bef3-4e71-b6aa-f2edd6441cff" providerId="ADAL" clId="{A0F7D543-B727-034C-88B5-8F838AD07213}" dt="2022-09-24T05:23:20.375" v="1597"/>
          <ac:inkMkLst>
            <pc:docMk/>
            <pc:sldMk cId="3979036142" sldId="296"/>
            <ac:inkMk id="38" creationId="{4A3AD3A0-0BB5-0FDF-ABCE-A3CEFD2C24D4}"/>
          </ac:inkMkLst>
        </pc:inkChg>
        <pc:inkChg chg="add del mod">
          <ac:chgData name="Aniket Chhabra" userId="598e0514-bef3-4e71-b6aa-f2edd6441cff" providerId="ADAL" clId="{A0F7D543-B727-034C-88B5-8F838AD07213}" dt="2022-09-24T05:23:20.378" v="1609"/>
          <ac:inkMkLst>
            <pc:docMk/>
            <pc:sldMk cId="3979036142" sldId="296"/>
            <ac:inkMk id="39" creationId="{1DA36CE2-5068-6E76-A25B-D35B4F9C9502}"/>
          </ac:inkMkLst>
        </pc:inkChg>
        <pc:inkChg chg="add del mod">
          <ac:chgData name="Aniket Chhabra" userId="598e0514-bef3-4e71-b6aa-f2edd6441cff" providerId="ADAL" clId="{A0F7D543-B727-034C-88B5-8F838AD07213}" dt="2022-09-24T05:23:20.374" v="1590"/>
          <ac:inkMkLst>
            <pc:docMk/>
            <pc:sldMk cId="3979036142" sldId="296"/>
            <ac:inkMk id="40" creationId="{CD502700-C187-4167-6D70-93428B161853}"/>
          </ac:inkMkLst>
        </pc:inkChg>
        <pc:inkChg chg="add del mod">
          <ac:chgData name="Aniket Chhabra" userId="598e0514-bef3-4e71-b6aa-f2edd6441cff" providerId="ADAL" clId="{A0F7D543-B727-034C-88B5-8F838AD07213}" dt="2022-09-24T05:23:20.373" v="1588"/>
          <ac:inkMkLst>
            <pc:docMk/>
            <pc:sldMk cId="3979036142" sldId="296"/>
            <ac:inkMk id="42" creationId="{296139C2-9D0C-6491-C21C-0631D5C30B49}"/>
          </ac:inkMkLst>
        </pc:inkChg>
        <pc:inkChg chg="add del mod">
          <ac:chgData name="Aniket Chhabra" userId="598e0514-bef3-4e71-b6aa-f2edd6441cff" providerId="ADAL" clId="{A0F7D543-B727-034C-88B5-8F838AD07213}" dt="2022-09-24T05:23:20.380" v="1621"/>
          <ac:inkMkLst>
            <pc:docMk/>
            <pc:sldMk cId="3979036142" sldId="296"/>
            <ac:inkMk id="43" creationId="{72935164-4ECC-170C-5284-C1383076DFDA}"/>
          </ac:inkMkLst>
        </pc:inkChg>
        <pc:inkChg chg="add del mod">
          <ac:chgData name="Aniket Chhabra" userId="598e0514-bef3-4e71-b6aa-f2edd6441cff" providerId="ADAL" clId="{A0F7D543-B727-034C-88B5-8F838AD07213}" dt="2022-09-24T05:23:20.375" v="1594"/>
          <ac:inkMkLst>
            <pc:docMk/>
            <pc:sldMk cId="3979036142" sldId="296"/>
            <ac:inkMk id="44" creationId="{8AAD9BD3-40DD-2DD6-F955-6EAE0EAD5119}"/>
          </ac:inkMkLst>
        </pc:inkChg>
        <pc:inkChg chg="add del mod">
          <ac:chgData name="Aniket Chhabra" userId="598e0514-bef3-4e71-b6aa-f2edd6441cff" providerId="ADAL" clId="{A0F7D543-B727-034C-88B5-8F838AD07213}" dt="2022-09-24T05:23:20.375" v="1595"/>
          <ac:inkMkLst>
            <pc:docMk/>
            <pc:sldMk cId="3979036142" sldId="296"/>
            <ac:inkMk id="45" creationId="{95872310-5990-E269-F3A0-FB90FA2B9B5E}"/>
          </ac:inkMkLst>
        </pc:inkChg>
        <pc:inkChg chg="add del mod">
          <ac:chgData name="Aniket Chhabra" userId="598e0514-bef3-4e71-b6aa-f2edd6441cff" providerId="ADAL" clId="{A0F7D543-B727-034C-88B5-8F838AD07213}" dt="2022-09-24T05:23:20.377" v="1602"/>
          <ac:inkMkLst>
            <pc:docMk/>
            <pc:sldMk cId="3979036142" sldId="296"/>
            <ac:inkMk id="46" creationId="{7C5490EE-017E-94FD-7E9B-BDADF582DC08}"/>
          </ac:inkMkLst>
        </pc:inkChg>
        <pc:inkChg chg="add del mod">
          <ac:chgData name="Aniket Chhabra" userId="598e0514-bef3-4e71-b6aa-f2edd6441cff" providerId="ADAL" clId="{A0F7D543-B727-034C-88B5-8F838AD07213}" dt="2022-09-24T05:23:20.374" v="1589"/>
          <ac:inkMkLst>
            <pc:docMk/>
            <pc:sldMk cId="3979036142" sldId="296"/>
            <ac:inkMk id="47" creationId="{2A9768B2-8F91-0CF2-A0FE-C0116F3170DF}"/>
          </ac:inkMkLst>
        </pc:inkChg>
        <pc:inkChg chg="add del mod">
          <ac:chgData name="Aniket Chhabra" userId="598e0514-bef3-4e71-b6aa-f2edd6441cff" providerId="ADAL" clId="{A0F7D543-B727-034C-88B5-8F838AD07213}" dt="2022-09-24T05:23:20.379" v="1613"/>
          <ac:inkMkLst>
            <pc:docMk/>
            <pc:sldMk cId="3979036142" sldId="296"/>
            <ac:inkMk id="49" creationId="{2231C7D3-8128-9223-0883-80C4AA5B938C}"/>
          </ac:inkMkLst>
        </pc:inkChg>
        <pc:inkChg chg="add del mod">
          <ac:chgData name="Aniket Chhabra" userId="598e0514-bef3-4e71-b6aa-f2edd6441cff" providerId="ADAL" clId="{A0F7D543-B727-034C-88B5-8F838AD07213}" dt="2022-09-24T05:23:20.376" v="1600"/>
          <ac:inkMkLst>
            <pc:docMk/>
            <pc:sldMk cId="3979036142" sldId="296"/>
            <ac:inkMk id="50" creationId="{CD4776FC-6BFE-70AD-7382-F299D7306982}"/>
          </ac:inkMkLst>
        </pc:inkChg>
        <pc:inkChg chg="add del mod">
          <ac:chgData name="Aniket Chhabra" userId="598e0514-bef3-4e71-b6aa-f2edd6441cff" providerId="ADAL" clId="{A0F7D543-B727-034C-88B5-8F838AD07213}" dt="2022-09-24T05:23:20.379" v="1615"/>
          <ac:inkMkLst>
            <pc:docMk/>
            <pc:sldMk cId="3979036142" sldId="296"/>
            <ac:inkMk id="51" creationId="{04F7792E-FC2F-6FAC-7B27-EBA2A2AA5E63}"/>
          </ac:inkMkLst>
        </pc:inkChg>
        <pc:inkChg chg="add del mod">
          <ac:chgData name="Aniket Chhabra" userId="598e0514-bef3-4e71-b6aa-f2edd6441cff" providerId="ADAL" clId="{A0F7D543-B727-034C-88B5-8F838AD07213}" dt="2022-09-24T05:23:20.377" v="1603"/>
          <ac:inkMkLst>
            <pc:docMk/>
            <pc:sldMk cId="3979036142" sldId="296"/>
            <ac:inkMk id="53" creationId="{7D5027F7-AB79-773F-FD26-5B0AECAC8973}"/>
          </ac:inkMkLst>
        </pc:inkChg>
        <pc:inkChg chg="add del mod">
          <ac:chgData name="Aniket Chhabra" userId="598e0514-bef3-4e71-b6aa-f2edd6441cff" providerId="ADAL" clId="{A0F7D543-B727-034C-88B5-8F838AD07213}" dt="2022-09-24T05:23:20.379" v="1611"/>
          <ac:inkMkLst>
            <pc:docMk/>
            <pc:sldMk cId="3979036142" sldId="296"/>
            <ac:inkMk id="54" creationId="{394BB3FA-6D92-C2FC-1A41-5BD3796ABA85}"/>
          </ac:inkMkLst>
        </pc:inkChg>
        <pc:inkChg chg="add del mod">
          <ac:chgData name="Aniket Chhabra" userId="598e0514-bef3-4e71-b6aa-f2edd6441cff" providerId="ADAL" clId="{A0F7D543-B727-034C-88B5-8F838AD07213}" dt="2022-09-24T05:23:20.378" v="1607"/>
          <ac:inkMkLst>
            <pc:docMk/>
            <pc:sldMk cId="3979036142" sldId="296"/>
            <ac:inkMk id="55" creationId="{A37FDC38-C3ED-4EC0-A5EF-51B823CD8F4D}"/>
          </ac:inkMkLst>
        </pc:inkChg>
        <pc:inkChg chg="add del mod">
          <ac:chgData name="Aniket Chhabra" userId="598e0514-bef3-4e71-b6aa-f2edd6441cff" providerId="ADAL" clId="{A0F7D543-B727-034C-88B5-8F838AD07213}" dt="2022-09-24T05:23:20.376" v="1601"/>
          <ac:inkMkLst>
            <pc:docMk/>
            <pc:sldMk cId="3979036142" sldId="296"/>
            <ac:inkMk id="57" creationId="{814098DE-79BE-77C3-5A89-1224DC94476A}"/>
          </ac:inkMkLst>
        </pc:inkChg>
        <pc:inkChg chg="add del mod">
          <ac:chgData name="Aniket Chhabra" userId="598e0514-bef3-4e71-b6aa-f2edd6441cff" providerId="ADAL" clId="{A0F7D543-B727-034C-88B5-8F838AD07213}" dt="2022-09-24T05:23:20.378" v="1608"/>
          <ac:inkMkLst>
            <pc:docMk/>
            <pc:sldMk cId="3979036142" sldId="296"/>
            <ac:inkMk id="58" creationId="{E6105059-EFA9-F155-9FCD-921CC0C853C0}"/>
          </ac:inkMkLst>
        </pc:inkChg>
        <pc:inkChg chg="add del mod">
          <ac:chgData name="Aniket Chhabra" userId="598e0514-bef3-4e71-b6aa-f2edd6441cff" providerId="ADAL" clId="{A0F7D543-B727-034C-88B5-8F838AD07213}" dt="2022-09-24T05:23:20.378" v="1610"/>
          <ac:inkMkLst>
            <pc:docMk/>
            <pc:sldMk cId="3979036142" sldId="296"/>
            <ac:inkMk id="59" creationId="{F96A8709-6B52-BC20-DD7D-9C0C10888853}"/>
          </ac:inkMkLst>
        </pc:inkChg>
        <pc:inkChg chg="add del mod">
          <ac:chgData name="Aniket Chhabra" userId="598e0514-bef3-4e71-b6aa-f2edd6441cff" providerId="ADAL" clId="{A0F7D543-B727-034C-88B5-8F838AD07213}" dt="2022-09-24T05:23:20.380" v="1617"/>
          <ac:inkMkLst>
            <pc:docMk/>
            <pc:sldMk cId="3979036142" sldId="296"/>
            <ac:inkMk id="60" creationId="{96943033-7E0D-3142-A8EB-A2E3F520A36B}"/>
          </ac:inkMkLst>
        </pc:inkChg>
        <pc:inkChg chg="add del mod">
          <ac:chgData name="Aniket Chhabra" userId="598e0514-bef3-4e71-b6aa-f2edd6441cff" providerId="ADAL" clId="{A0F7D543-B727-034C-88B5-8F838AD07213}" dt="2022-09-24T05:23:20.377" v="1606"/>
          <ac:inkMkLst>
            <pc:docMk/>
            <pc:sldMk cId="3979036142" sldId="296"/>
            <ac:inkMk id="61" creationId="{A9F8D160-0CBE-2E2D-A0FF-B99F97654842}"/>
          </ac:inkMkLst>
        </pc:inkChg>
        <pc:inkChg chg="add del mod">
          <ac:chgData name="Aniket Chhabra" userId="598e0514-bef3-4e71-b6aa-f2edd6441cff" providerId="ADAL" clId="{A0F7D543-B727-034C-88B5-8F838AD07213}" dt="2022-09-24T05:23:20.375" v="1596"/>
          <ac:inkMkLst>
            <pc:docMk/>
            <pc:sldMk cId="3979036142" sldId="296"/>
            <ac:inkMk id="64" creationId="{D410C8AB-1961-6B25-1135-1C7DA254D2D7}"/>
          </ac:inkMkLst>
        </pc:inkChg>
        <pc:inkChg chg="add del mod">
          <ac:chgData name="Aniket Chhabra" userId="598e0514-bef3-4e71-b6aa-f2edd6441cff" providerId="ADAL" clId="{A0F7D543-B727-034C-88B5-8F838AD07213}" dt="2022-09-24T05:23:20.375" v="1593"/>
          <ac:inkMkLst>
            <pc:docMk/>
            <pc:sldMk cId="3979036142" sldId="296"/>
            <ac:inkMk id="65" creationId="{C367A2AF-0C8C-73E7-6DEF-8926238A0662}"/>
          </ac:inkMkLst>
        </pc:inkChg>
        <pc:inkChg chg="add del mod">
          <ac:chgData name="Aniket Chhabra" userId="598e0514-bef3-4e71-b6aa-f2edd6441cff" providerId="ADAL" clId="{A0F7D543-B727-034C-88B5-8F838AD07213}" dt="2022-09-24T05:23:20.379" v="1616"/>
          <ac:inkMkLst>
            <pc:docMk/>
            <pc:sldMk cId="3979036142" sldId="296"/>
            <ac:inkMk id="67" creationId="{53277EF0-E559-291C-9219-EE9A48A015E0}"/>
          </ac:inkMkLst>
        </pc:inkChg>
        <pc:inkChg chg="add del mod">
          <ac:chgData name="Aniket Chhabra" userId="598e0514-bef3-4e71-b6aa-f2edd6441cff" providerId="ADAL" clId="{A0F7D543-B727-034C-88B5-8F838AD07213}" dt="2022-09-24T05:23:20.377" v="1604"/>
          <ac:inkMkLst>
            <pc:docMk/>
            <pc:sldMk cId="3979036142" sldId="296"/>
            <ac:inkMk id="69" creationId="{9877FAC4-4157-549E-DA1A-60A070A2DC35}"/>
          </ac:inkMkLst>
        </pc:inkChg>
        <pc:inkChg chg="add del mod">
          <ac:chgData name="Aniket Chhabra" userId="598e0514-bef3-4e71-b6aa-f2edd6441cff" providerId="ADAL" clId="{A0F7D543-B727-034C-88B5-8F838AD07213}" dt="2022-09-24T05:23:20.374" v="1592"/>
          <ac:inkMkLst>
            <pc:docMk/>
            <pc:sldMk cId="3979036142" sldId="296"/>
            <ac:inkMk id="71" creationId="{3D7E4EE2-4E97-D614-31F2-DD1AA0E4EF86}"/>
          </ac:inkMkLst>
        </pc:inkChg>
        <pc:inkChg chg="add">
          <ac:chgData name="Aniket Chhabra" userId="598e0514-bef3-4e71-b6aa-f2edd6441cff" providerId="ADAL" clId="{A0F7D543-B727-034C-88B5-8F838AD07213}" dt="2022-09-10T08:12:55.655" v="484" actId="9405"/>
          <ac:inkMkLst>
            <pc:docMk/>
            <pc:sldMk cId="3979036142" sldId="296"/>
            <ac:inkMk id="73" creationId="{1E2769AC-44AA-8E9A-E60E-8AEDDC61C25F}"/>
          </ac:inkMkLst>
        </pc:inkChg>
        <pc:inkChg chg="add">
          <ac:chgData name="Aniket Chhabra" userId="598e0514-bef3-4e71-b6aa-f2edd6441cff" providerId="ADAL" clId="{A0F7D543-B727-034C-88B5-8F838AD07213}" dt="2022-09-10T08:12:57.004" v="485" actId="9405"/>
          <ac:inkMkLst>
            <pc:docMk/>
            <pc:sldMk cId="3979036142" sldId="296"/>
            <ac:inkMk id="74" creationId="{384BD750-4209-8409-7D8C-95DE4B29EB4A}"/>
          </ac:inkMkLst>
        </pc:inkChg>
        <pc:inkChg chg="add">
          <ac:chgData name="Aniket Chhabra" userId="598e0514-bef3-4e71-b6aa-f2edd6441cff" providerId="ADAL" clId="{A0F7D543-B727-034C-88B5-8F838AD07213}" dt="2022-09-10T08:12:57.346" v="486" actId="9405"/>
          <ac:inkMkLst>
            <pc:docMk/>
            <pc:sldMk cId="3979036142" sldId="296"/>
            <ac:inkMk id="75" creationId="{0E27EA64-07E7-C583-CFDC-9F55BDCA71A1}"/>
          </ac:inkMkLst>
        </pc:inkChg>
        <pc:inkChg chg="add">
          <ac:chgData name="Aniket Chhabra" userId="598e0514-bef3-4e71-b6aa-f2edd6441cff" providerId="ADAL" clId="{A0F7D543-B727-034C-88B5-8F838AD07213}" dt="2022-09-10T08:12:59.819" v="487" actId="9405"/>
          <ac:inkMkLst>
            <pc:docMk/>
            <pc:sldMk cId="3979036142" sldId="296"/>
            <ac:inkMk id="76" creationId="{27D9109B-3D25-1249-E42F-1B555D36C8BA}"/>
          </ac:inkMkLst>
        </pc:inkChg>
        <pc:inkChg chg="add">
          <ac:chgData name="Aniket Chhabra" userId="598e0514-bef3-4e71-b6aa-f2edd6441cff" providerId="ADAL" clId="{A0F7D543-B727-034C-88B5-8F838AD07213}" dt="2022-09-10T08:13:00.836" v="488" actId="9405"/>
          <ac:inkMkLst>
            <pc:docMk/>
            <pc:sldMk cId="3979036142" sldId="296"/>
            <ac:inkMk id="77" creationId="{9DCAE092-2C58-4E31-176D-5F9B312A035E}"/>
          </ac:inkMkLst>
        </pc:inkChg>
        <pc:inkChg chg="add">
          <ac:chgData name="Aniket Chhabra" userId="598e0514-bef3-4e71-b6aa-f2edd6441cff" providerId="ADAL" clId="{A0F7D543-B727-034C-88B5-8F838AD07213}" dt="2022-09-10T08:13:01.336" v="489" actId="9405"/>
          <ac:inkMkLst>
            <pc:docMk/>
            <pc:sldMk cId="3979036142" sldId="296"/>
            <ac:inkMk id="78" creationId="{4F9110D1-7929-87D6-9139-F766B8BB8F81}"/>
          </ac:inkMkLst>
        </pc:inkChg>
      </pc:sldChg>
      <pc:sldChg chg="addSp delSp modSp mod">
        <pc:chgData name="Aniket Chhabra" userId="598e0514-bef3-4e71-b6aa-f2edd6441cff" providerId="ADAL" clId="{A0F7D543-B727-034C-88B5-8F838AD07213}" dt="2022-09-10T08:44:33.434" v="1389"/>
        <pc:sldMkLst>
          <pc:docMk/>
          <pc:sldMk cId="2888229444" sldId="297"/>
        </pc:sldMkLst>
        <pc:grpChg chg="del mod">
          <ac:chgData name="Aniket Chhabra" userId="598e0514-bef3-4e71-b6aa-f2edd6441cff" providerId="ADAL" clId="{A0F7D543-B727-034C-88B5-8F838AD07213}" dt="2022-09-10T08:42:12.725" v="1263"/>
          <ac:grpSpMkLst>
            <pc:docMk/>
            <pc:sldMk cId="2888229444" sldId="297"/>
            <ac:grpSpMk id="18" creationId="{0671D910-923D-8D73-46E1-4FABF5DC11D2}"/>
          </ac:grpSpMkLst>
        </pc:grpChg>
        <pc:grpChg chg="add del mod">
          <ac:chgData name="Aniket Chhabra" userId="598e0514-bef3-4e71-b6aa-f2edd6441cff" providerId="ADAL" clId="{A0F7D543-B727-034C-88B5-8F838AD07213}" dt="2022-09-10T08:42:16.682" v="1272"/>
          <ac:grpSpMkLst>
            <pc:docMk/>
            <pc:sldMk cId="2888229444" sldId="297"/>
            <ac:grpSpMk id="21" creationId="{B065BCAB-C294-D475-223B-E07AEE790EA6}"/>
          </ac:grpSpMkLst>
        </pc:grpChg>
        <pc:grpChg chg="del mod">
          <ac:chgData name="Aniket Chhabra" userId="598e0514-bef3-4e71-b6aa-f2edd6441cff" providerId="ADAL" clId="{A0F7D543-B727-034C-88B5-8F838AD07213}" dt="2022-08-21T06:45:20.619" v="185"/>
          <ac:grpSpMkLst>
            <pc:docMk/>
            <pc:sldMk cId="2888229444" sldId="297"/>
            <ac:grpSpMk id="26" creationId="{9A862A6F-002A-2BF6-13DA-E76B6515AFC8}"/>
          </ac:grpSpMkLst>
        </pc:grpChg>
        <pc:grpChg chg="del mod">
          <ac:chgData name="Aniket Chhabra" userId="598e0514-bef3-4e71-b6aa-f2edd6441cff" providerId="ADAL" clId="{A0F7D543-B727-034C-88B5-8F838AD07213}" dt="2022-08-21T06:45:22.479" v="188"/>
          <ac:grpSpMkLst>
            <pc:docMk/>
            <pc:sldMk cId="2888229444" sldId="297"/>
            <ac:grpSpMk id="29" creationId="{1A6293FF-1E81-9A9A-776E-87FB43FEFF9C}"/>
          </ac:grpSpMkLst>
        </pc:grpChg>
        <pc:grpChg chg="del mod">
          <ac:chgData name="Aniket Chhabra" userId="598e0514-bef3-4e71-b6aa-f2edd6441cff" providerId="ADAL" clId="{A0F7D543-B727-034C-88B5-8F838AD07213}" dt="2022-08-21T06:45:35.602" v="194"/>
          <ac:grpSpMkLst>
            <pc:docMk/>
            <pc:sldMk cId="2888229444" sldId="297"/>
            <ac:grpSpMk id="32" creationId="{F6219B10-098D-FDE4-1D8C-978BAA268184}"/>
          </ac:grpSpMkLst>
        </pc:grpChg>
        <pc:grpChg chg="mod">
          <ac:chgData name="Aniket Chhabra" userId="598e0514-bef3-4e71-b6aa-f2edd6441cff" providerId="ADAL" clId="{A0F7D543-B727-034C-88B5-8F838AD07213}" dt="2022-08-21T06:45:42.308" v="199"/>
          <ac:grpSpMkLst>
            <pc:docMk/>
            <pc:sldMk cId="2888229444" sldId="297"/>
            <ac:grpSpMk id="36" creationId="{721FBF19-7BF1-9C0D-7F58-18E69276842A}"/>
          </ac:grpSpMkLst>
        </pc:grpChg>
        <pc:grpChg chg="mod">
          <ac:chgData name="Aniket Chhabra" userId="598e0514-bef3-4e71-b6aa-f2edd6441cff" providerId="ADAL" clId="{A0F7D543-B727-034C-88B5-8F838AD07213}" dt="2022-08-21T06:45:47.858" v="203"/>
          <ac:grpSpMkLst>
            <pc:docMk/>
            <pc:sldMk cId="2888229444" sldId="297"/>
            <ac:grpSpMk id="40" creationId="{B59ABE42-87F5-F0AF-F594-3DE7777B66F2}"/>
          </ac:grpSpMkLst>
        </pc:grpChg>
        <pc:grpChg chg="del mod">
          <ac:chgData name="Aniket Chhabra" userId="598e0514-bef3-4e71-b6aa-f2edd6441cff" providerId="ADAL" clId="{A0F7D543-B727-034C-88B5-8F838AD07213}" dt="2022-08-21T06:46:00.771" v="208"/>
          <ac:grpSpMkLst>
            <pc:docMk/>
            <pc:sldMk cId="2888229444" sldId="297"/>
            <ac:grpSpMk id="43" creationId="{8B384C3B-A9AA-4C1E-4AA6-2804ED4EE8C2}"/>
          </ac:grpSpMkLst>
        </pc:grpChg>
        <pc:grpChg chg="del mod">
          <ac:chgData name="Aniket Chhabra" userId="598e0514-bef3-4e71-b6aa-f2edd6441cff" providerId="ADAL" clId="{A0F7D543-B727-034C-88B5-8F838AD07213}" dt="2022-08-21T06:46:03.680" v="210"/>
          <ac:grpSpMkLst>
            <pc:docMk/>
            <pc:sldMk cId="2888229444" sldId="297"/>
            <ac:grpSpMk id="45" creationId="{AFC9675F-FA8E-92FD-362A-E778D2AE8A9F}"/>
          </ac:grpSpMkLst>
        </pc:grpChg>
        <pc:grpChg chg="mod">
          <ac:chgData name="Aniket Chhabra" userId="598e0514-bef3-4e71-b6aa-f2edd6441cff" providerId="ADAL" clId="{A0F7D543-B727-034C-88B5-8F838AD07213}" dt="2022-09-10T08:42:16.682" v="1272"/>
          <ac:grpSpMkLst>
            <pc:docMk/>
            <pc:sldMk cId="2888229444" sldId="297"/>
            <ac:grpSpMk id="47" creationId="{93011C61-8F27-7B07-D0CA-685F7001CCA9}"/>
          </ac:grpSpMkLst>
        </pc:grpChg>
        <pc:grpChg chg="mod">
          <ac:chgData name="Aniket Chhabra" userId="598e0514-bef3-4e71-b6aa-f2edd6441cff" providerId="ADAL" clId="{A0F7D543-B727-034C-88B5-8F838AD07213}" dt="2022-08-21T06:46:27.055" v="221"/>
          <ac:grpSpMkLst>
            <pc:docMk/>
            <pc:sldMk cId="2888229444" sldId="297"/>
            <ac:grpSpMk id="58" creationId="{65919AA1-3EF2-1F25-A529-ED9F447AE339}"/>
          </ac:grpSpMkLst>
        </pc:grpChg>
        <pc:grpChg chg="mod">
          <ac:chgData name="Aniket Chhabra" userId="598e0514-bef3-4e71-b6aa-f2edd6441cff" providerId="ADAL" clId="{A0F7D543-B727-034C-88B5-8F838AD07213}" dt="2022-09-10T08:43:14.876" v="1299"/>
          <ac:grpSpMkLst>
            <pc:docMk/>
            <pc:sldMk cId="2888229444" sldId="297"/>
            <ac:grpSpMk id="71" creationId="{1E438C4C-EB44-9DDF-FCBB-4DB92F1481CE}"/>
          </ac:grpSpMkLst>
        </pc:grpChg>
        <pc:grpChg chg="mod">
          <ac:chgData name="Aniket Chhabra" userId="598e0514-bef3-4e71-b6aa-f2edd6441cff" providerId="ADAL" clId="{A0F7D543-B727-034C-88B5-8F838AD07213}" dt="2022-09-10T08:43:20.968" v="1308"/>
          <ac:grpSpMkLst>
            <pc:docMk/>
            <pc:sldMk cId="2888229444" sldId="297"/>
            <ac:grpSpMk id="78" creationId="{9A91F7A5-DAC7-608D-0196-546D8DE3614C}"/>
          </ac:grpSpMkLst>
        </pc:grpChg>
        <pc:grpChg chg="mod">
          <ac:chgData name="Aniket Chhabra" userId="598e0514-bef3-4e71-b6aa-f2edd6441cff" providerId="ADAL" clId="{A0F7D543-B727-034C-88B5-8F838AD07213}" dt="2022-09-10T08:43:23.279" v="1312"/>
          <ac:grpSpMkLst>
            <pc:docMk/>
            <pc:sldMk cId="2888229444" sldId="297"/>
            <ac:grpSpMk id="81" creationId="{A48B0335-F88E-C830-5757-98324034E49D}"/>
          </ac:grpSpMkLst>
        </pc:grpChg>
        <pc:grpChg chg="del mod">
          <ac:chgData name="Aniket Chhabra" userId="598e0514-bef3-4e71-b6aa-f2edd6441cff" providerId="ADAL" clId="{A0F7D543-B727-034C-88B5-8F838AD07213}" dt="2022-09-10T08:44:11.882" v="1365"/>
          <ac:grpSpMkLst>
            <pc:docMk/>
            <pc:sldMk cId="2888229444" sldId="297"/>
            <ac:grpSpMk id="90" creationId="{5C964461-2F4D-267E-8E97-82E55E8A2B28}"/>
          </ac:grpSpMkLst>
        </pc:grpChg>
        <pc:grpChg chg="del mod">
          <ac:chgData name="Aniket Chhabra" userId="598e0514-bef3-4e71-b6aa-f2edd6441cff" providerId="ADAL" clId="{A0F7D543-B727-034C-88B5-8F838AD07213}" dt="2022-09-10T08:44:18.831" v="1377"/>
          <ac:grpSpMkLst>
            <pc:docMk/>
            <pc:sldMk cId="2888229444" sldId="297"/>
            <ac:grpSpMk id="134" creationId="{B8F670F7-937E-EADF-8D74-20A353646F7B}"/>
          </ac:grpSpMkLst>
        </pc:grpChg>
        <pc:grpChg chg="del mod">
          <ac:chgData name="Aniket Chhabra" userId="598e0514-bef3-4e71-b6aa-f2edd6441cff" providerId="ADAL" clId="{A0F7D543-B727-034C-88B5-8F838AD07213}" dt="2022-09-10T08:44:18.831" v="1377"/>
          <ac:grpSpMkLst>
            <pc:docMk/>
            <pc:sldMk cId="2888229444" sldId="297"/>
            <ac:grpSpMk id="135" creationId="{6DCC67DC-BBFC-BAE1-FC6C-96A8B41D198E}"/>
          </ac:grpSpMkLst>
        </pc:grpChg>
        <pc:grpChg chg="del mod">
          <ac:chgData name="Aniket Chhabra" userId="598e0514-bef3-4e71-b6aa-f2edd6441cff" providerId="ADAL" clId="{A0F7D543-B727-034C-88B5-8F838AD07213}" dt="2022-09-10T08:44:33.434" v="1389"/>
          <ac:grpSpMkLst>
            <pc:docMk/>
            <pc:sldMk cId="2888229444" sldId="297"/>
            <ac:grpSpMk id="136" creationId="{647A4881-DE25-718A-7F1A-75507EF97F50}"/>
          </ac:grpSpMkLst>
        </pc:grpChg>
        <pc:grpChg chg="del mod">
          <ac:chgData name="Aniket Chhabra" userId="598e0514-bef3-4e71-b6aa-f2edd6441cff" providerId="ADAL" clId="{A0F7D543-B727-034C-88B5-8F838AD07213}" dt="2022-09-10T08:44:33.434" v="1389"/>
          <ac:grpSpMkLst>
            <pc:docMk/>
            <pc:sldMk cId="2888229444" sldId="297"/>
            <ac:grpSpMk id="137" creationId="{99F6279D-B619-88A5-A5E9-80BB1E91A2AA}"/>
          </ac:grpSpMkLst>
        </pc:grpChg>
        <pc:grpChg chg="del mod">
          <ac:chgData name="Aniket Chhabra" userId="598e0514-bef3-4e71-b6aa-f2edd6441cff" providerId="ADAL" clId="{A0F7D543-B727-034C-88B5-8F838AD07213}" dt="2022-09-10T08:44:22.132" v="1384"/>
          <ac:grpSpMkLst>
            <pc:docMk/>
            <pc:sldMk cId="2888229444" sldId="297"/>
            <ac:grpSpMk id="149" creationId="{AB56EB94-C82F-96B2-9DBB-AC424567CCC5}"/>
          </ac:grpSpMkLst>
        </pc:grpChg>
        <pc:grpChg chg="del mod">
          <ac:chgData name="Aniket Chhabra" userId="598e0514-bef3-4e71-b6aa-f2edd6441cff" providerId="ADAL" clId="{A0F7D543-B727-034C-88B5-8F838AD07213}" dt="2022-09-10T08:44:23.196" v="1386"/>
          <ac:grpSpMkLst>
            <pc:docMk/>
            <pc:sldMk cId="2888229444" sldId="297"/>
            <ac:grpSpMk id="156" creationId="{07E0F9A6-06B3-4652-BD4D-640B9D512AC3}"/>
          </ac:grpSpMkLst>
        </pc:grpChg>
        <pc:grpChg chg="mod">
          <ac:chgData name="Aniket Chhabra" userId="598e0514-bef3-4e71-b6aa-f2edd6441cff" providerId="ADAL" clId="{A0F7D543-B727-034C-88B5-8F838AD07213}" dt="2022-09-10T08:44:23.196" v="1386"/>
          <ac:grpSpMkLst>
            <pc:docMk/>
            <pc:sldMk cId="2888229444" sldId="297"/>
            <ac:grpSpMk id="158" creationId="{86748871-6EE3-9DE0-EFBF-BC5A1058540E}"/>
          </ac:grpSpMkLst>
        </pc:grpChg>
        <pc:grpChg chg="mod">
          <ac:chgData name="Aniket Chhabra" userId="598e0514-bef3-4e71-b6aa-f2edd6441cff" providerId="ADAL" clId="{A0F7D543-B727-034C-88B5-8F838AD07213}" dt="2022-09-10T08:44:33.434" v="1389"/>
          <ac:grpSpMkLst>
            <pc:docMk/>
            <pc:sldMk cId="2888229444" sldId="297"/>
            <ac:grpSpMk id="161" creationId="{EA444790-B3FA-98E7-F26D-E4C62EEC1FC3}"/>
          </ac:grpSpMkLst>
        </pc:grpChg>
        <pc:inkChg chg="add del">
          <ac:chgData name="Aniket Chhabra" userId="598e0514-bef3-4e71-b6aa-f2edd6441cff" providerId="ADAL" clId="{A0F7D543-B727-034C-88B5-8F838AD07213}" dt="2022-09-10T08:42:16.682" v="1272"/>
          <ac:inkMkLst>
            <pc:docMk/>
            <pc:sldMk cId="2888229444" sldId="297"/>
            <ac:inkMk id="4" creationId="{A9B2A246-8798-42D8-95A0-B4EFB800EE64}"/>
          </ac:inkMkLst>
        </pc:inkChg>
        <pc:inkChg chg="mod">
          <ac:chgData name="Aniket Chhabra" userId="598e0514-bef3-4e71-b6aa-f2edd6441cff" providerId="ADAL" clId="{A0F7D543-B727-034C-88B5-8F838AD07213}" dt="2022-09-10T08:42:16.682" v="1272"/>
          <ac:inkMkLst>
            <pc:docMk/>
            <pc:sldMk cId="2888229444" sldId="297"/>
            <ac:inkMk id="8" creationId="{D2AF157B-4EED-453A-A6C4-AC7C1D1D76FF}"/>
          </ac:inkMkLst>
        </pc:inkChg>
        <pc:inkChg chg="del">
          <ac:chgData name="Aniket Chhabra" userId="598e0514-bef3-4e71-b6aa-f2edd6441cff" providerId="ADAL" clId="{A0F7D543-B727-034C-88B5-8F838AD07213}" dt="2022-09-10T08:42:12.716" v="1255"/>
          <ac:inkMkLst>
            <pc:docMk/>
            <pc:sldMk cId="2888229444" sldId="297"/>
            <ac:inkMk id="9" creationId="{E0A796A0-0718-DDB6-E300-309A8D1510E4}"/>
          </ac:inkMkLst>
        </pc:inkChg>
        <pc:inkChg chg="del mod">
          <ac:chgData name="Aniket Chhabra" userId="598e0514-bef3-4e71-b6aa-f2edd6441cff" providerId="ADAL" clId="{A0F7D543-B727-034C-88B5-8F838AD07213}" dt="2022-09-10T08:42:12.725" v="1263"/>
          <ac:inkMkLst>
            <pc:docMk/>
            <pc:sldMk cId="2888229444" sldId="297"/>
            <ac:inkMk id="10" creationId="{14A30757-8F66-CEE6-64A3-DA58C17E0EF3}"/>
          </ac:inkMkLst>
        </pc:inkChg>
        <pc:inkChg chg="del mod">
          <ac:chgData name="Aniket Chhabra" userId="598e0514-bef3-4e71-b6aa-f2edd6441cff" providerId="ADAL" clId="{A0F7D543-B727-034C-88B5-8F838AD07213}" dt="2022-09-10T08:42:12.725" v="1260"/>
          <ac:inkMkLst>
            <pc:docMk/>
            <pc:sldMk cId="2888229444" sldId="297"/>
            <ac:inkMk id="11" creationId="{B1FB5387-185E-73FC-AB3B-5A4119EA8C28}"/>
          </ac:inkMkLst>
        </pc:inkChg>
        <pc:inkChg chg="del mod">
          <ac:chgData name="Aniket Chhabra" userId="598e0514-bef3-4e71-b6aa-f2edd6441cff" providerId="ADAL" clId="{A0F7D543-B727-034C-88B5-8F838AD07213}" dt="2022-09-10T08:42:12.724" v="1257"/>
          <ac:inkMkLst>
            <pc:docMk/>
            <pc:sldMk cId="2888229444" sldId="297"/>
            <ac:inkMk id="12" creationId="{73C738EE-C633-14C0-96F5-73BA16C6A36E}"/>
          </ac:inkMkLst>
        </pc:inkChg>
        <pc:inkChg chg="del mod">
          <ac:chgData name="Aniket Chhabra" userId="598e0514-bef3-4e71-b6aa-f2edd6441cff" providerId="ADAL" clId="{A0F7D543-B727-034C-88B5-8F838AD07213}" dt="2022-09-10T08:42:12.725" v="1262"/>
          <ac:inkMkLst>
            <pc:docMk/>
            <pc:sldMk cId="2888229444" sldId="297"/>
            <ac:inkMk id="13" creationId="{841E5E36-3FF0-CB3B-A7B2-BE7AD4AAF4DA}"/>
          </ac:inkMkLst>
        </pc:inkChg>
        <pc:inkChg chg="del mod">
          <ac:chgData name="Aniket Chhabra" userId="598e0514-bef3-4e71-b6aa-f2edd6441cff" providerId="ADAL" clId="{A0F7D543-B727-034C-88B5-8F838AD07213}" dt="2022-09-10T08:42:12.725" v="1264"/>
          <ac:inkMkLst>
            <pc:docMk/>
            <pc:sldMk cId="2888229444" sldId="297"/>
            <ac:inkMk id="14" creationId="{3305C724-6013-E6FC-5537-1A60A89B8C8F}"/>
          </ac:inkMkLst>
        </pc:inkChg>
        <pc:inkChg chg="del mod">
          <ac:chgData name="Aniket Chhabra" userId="598e0514-bef3-4e71-b6aa-f2edd6441cff" providerId="ADAL" clId="{A0F7D543-B727-034C-88B5-8F838AD07213}" dt="2022-09-10T08:42:12.724" v="1256"/>
          <ac:inkMkLst>
            <pc:docMk/>
            <pc:sldMk cId="2888229444" sldId="297"/>
            <ac:inkMk id="15" creationId="{08F91440-8E19-B636-5890-5563C37979CD}"/>
          </ac:inkMkLst>
        </pc:inkChg>
        <pc:inkChg chg="del mod">
          <ac:chgData name="Aniket Chhabra" userId="598e0514-bef3-4e71-b6aa-f2edd6441cff" providerId="ADAL" clId="{A0F7D543-B727-034C-88B5-8F838AD07213}" dt="2022-09-10T08:42:12.725" v="1259"/>
          <ac:inkMkLst>
            <pc:docMk/>
            <pc:sldMk cId="2888229444" sldId="297"/>
            <ac:inkMk id="16" creationId="{620F5DBD-9217-7DE6-4212-CB8CBE3387BE}"/>
          </ac:inkMkLst>
        </pc:inkChg>
        <pc:inkChg chg="del mod">
          <ac:chgData name="Aniket Chhabra" userId="598e0514-bef3-4e71-b6aa-f2edd6441cff" providerId="ADAL" clId="{A0F7D543-B727-034C-88B5-8F838AD07213}" dt="2022-09-10T08:42:12.725" v="1258"/>
          <ac:inkMkLst>
            <pc:docMk/>
            <pc:sldMk cId="2888229444" sldId="297"/>
            <ac:inkMk id="17" creationId="{F670CA5C-7745-D324-D152-65DBF30C10C7}"/>
          </ac:inkMkLst>
        </pc:inkChg>
        <pc:inkChg chg="add del mod">
          <ac:chgData name="Aniket Chhabra" userId="598e0514-bef3-4e71-b6aa-f2edd6441cff" providerId="ADAL" clId="{A0F7D543-B727-034C-88B5-8F838AD07213}" dt="2022-09-10T08:42:16.682" v="1272"/>
          <ac:inkMkLst>
            <pc:docMk/>
            <pc:sldMk cId="2888229444" sldId="297"/>
            <ac:inkMk id="19" creationId="{F45E7AAB-8F55-F9E9-F7A7-89458801B69A}"/>
          </ac:inkMkLst>
        </pc:inkChg>
        <pc:inkChg chg="add del">
          <ac:chgData name="Aniket Chhabra" userId="598e0514-bef3-4e71-b6aa-f2edd6441cff" providerId="ADAL" clId="{A0F7D543-B727-034C-88B5-8F838AD07213}" dt="2022-09-10T08:42:16.682" v="1272"/>
          <ac:inkMkLst>
            <pc:docMk/>
            <pc:sldMk cId="2888229444" sldId="297"/>
            <ac:inkMk id="20" creationId="{2DAF2C27-3816-A7D4-C04B-A6FE767CC4AE}"/>
          </ac:inkMkLst>
        </pc:inkChg>
        <pc:inkChg chg="add del">
          <ac:chgData name="Aniket Chhabra" userId="598e0514-bef3-4e71-b6aa-f2edd6441cff" providerId="ADAL" clId="{A0F7D543-B727-034C-88B5-8F838AD07213}" dt="2022-09-10T08:42:29.700" v="1273"/>
          <ac:inkMkLst>
            <pc:docMk/>
            <pc:sldMk cId="2888229444" sldId="297"/>
            <ac:inkMk id="22" creationId="{12C0CEAF-8626-0660-1E64-6C18CAB862AB}"/>
          </ac:inkMkLst>
        </pc:inkChg>
        <pc:inkChg chg="add del">
          <ac:chgData name="Aniket Chhabra" userId="598e0514-bef3-4e71-b6aa-f2edd6441cff" providerId="ADAL" clId="{A0F7D543-B727-034C-88B5-8F838AD07213}" dt="2022-09-10T08:42:12.725" v="1261"/>
          <ac:inkMkLst>
            <pc:docMk/>
            <pc:sldMk cId="2888229444" sldId="297"/>
            <ac:inkMk id="23" creationId="{D99A14E5-F740-9D51-4F7A-8FEFE0F247CF}"/>
          </ac:inkMkLst>
        </pc:inkChg>
        <pc:inkChg chg="add">
          <ac:chgData name="Aniket Chhabra" userId="598e0514-bef3-4e71-b6aa-f2edd6441cff" providerId="ADAL" clId="{A0F7D543-B727-034C-88B5-8F838AD07213}" dt="2022-09-10T08:42:38.746" v="1274" actId="9405"/>
          <ac:inkMkLst>
            <pc:docMk/>
            <pc:sldMk cId="2888229444" sldId="297"/>
            <ac:inkMk id="24" creationId="{106023FB-B61B-8ADA-7834-B98EFFB5FDAE}"/>
          </ac:inkMkLst>
        </pc:inkChg>
        <pc:inkChg chg="add del mod">
          <ac:chgData name="Aniket Chhabra" userId="598e0514-bef3-4e71-b6aa-f2edd6441cff" providerId="ADAL" clId="{A0F7D543-B727-034C-88B5-8F838AD07213}" dt="2022-08-21T06:45:34.285" v="192"/>
          <ac:inkMkLst>
            <pc:docMk/>
            <pc:sldMk cId="2888229444" sldId="297"/>
            <ac:inkMk id="24" creationId="{DC5C7EF9-F43D-5AA3-9741-2349DF69E36A}"/>
          </ac:inkMkLst>
        </pc:inkChg>
        <pc:inkChg chg="add del mod">
          <ac:chgData name="Aniket Chhabra" userId="598e0514-bef3-4e71-b6aa-f2edd6441cff" providerId="ADAL" clId="{A0F7D543-B727-034C-88B5-8F838AD07213}" dt="2022-08-21T06:45:34.284" v="191"/>
          <ac:inkMkLst>
            <pc:docMk/>
            <pc:sldMk cId="2888229444" sldId="297"/>
            <ac:inkMk id="25" creationId="{073DB76A-7DDB-70C2-B072-AFCF63F5A51D}"/>
          </ac:inkMkLst>
        </pc:inkChg>
        <pc:inkChg chg="add">
          <ac:chgData name="Aniket Chhabra" userId="598e0514-bef3-4e71-b6aa-f2edd6441cff" providerId="ADAL" clId="{A0F7D543-B727-034C-88B5-8F838AD07213}" dt="2022-09-10T08:42:39.431" v="1275" actId="9405"/>
          <ac:inkMkLst>
            <pc:docMk/>
            <pc:sldMk cId="2888229444" sldId="297"/>
            <ac:inkMk id="25" creationId="{6E87B664-BB49-0322-E0D3-46B8BC41A9B6}"/>
          </ac:inkMkLst>
        </pc:inkChg>
        <pc:inkChg chg="add">
          <ac:chgData name="Aniket Chhabra" userId="598e0514-bef3-4e71-b6aa-f2edd6441cff" providerId="ADAL" clId="{A0F7D543-B727-034C-88B5-8F838AD07213}" dt="2022-09-10T08:42:41.580" v="1276" actId="9405"/>
          <ac:inkMkLst>
            <pc:docMk/>
            <pc:sldMk cId="2888229444" sldId="297"/>
            <ac:inkMk id="26" creationId="{795F9EF6-41B3-D0AA-C927-79D77DE2E826}"/>
          </ac:inkMkLst>
        </pc:inkChg>
        <pc:inkChg chg="add del">
          <ac:chgData name="Aniket Chhabra" userId="598e0514-bef3-4e71-b6aa-f2edd6441cff" providerId="ADAL" clId="{A0F7D543-B727-034C-88B5-8F838AD07213}" dt="2022-08-21T06:45:33.377" v="190"/>
          <ac:inkMkLst>
            <pc:docMk/>
            <pc:sldMk cId="2888229444" sldId="297"/>
            <ac:inkMk id="27" creationId="{3D8B2654-B544-CFC6-61F5-F632E0B84A3E}"/>
          </ac:inkMkLst>
        </pc:inkChg>
        <pc:inkChg chg="add del">
          <ac:chgData name="Aniket Chhabra" userId="598e0514-bef3-4e71-b6aa-f2edd6441cff" providerId="ADAL" clId="{A0F7D543-B727-034C-88B5-8F838AD07213}" dt="2022-09-10T08:42:51.417" v="1278" actId="9405"/>
          <ac:inkMkLst>
            <pc:docMk/>
            <pc:sldMk cId="2888229444" sldId="297"/>
            <ac:inkMk id="27" creationId="{AE9B167C-7107-1BD7-5A4C-C9F6B9687861}"/>
          </ac:inkMkLst>
        </pc:inkChg>
        <pc:inkChg chg="add">
          <ac:chgData name="Aniket Chhabra" userId="598e0514-bef3-4e71-b6aa-f2edd6441cff" providerId="ADAL" clId="{A0F7D543-B727-034C-88B5-8F838AD07213}" dt="2022-09-10T08:42:58.260" v="1279" actId="9405"/>
          <ac:inkMkLst>
            <pc:docMk/>
            <pc:sldMk cId="2888229444" sldId="297"/>
            <ac:inkMk id="28" creationId="{2E3DE250-3455-F5DD-272B-7F9FA326AEBD}"/>
          </ac:inkMkLst>
        </pc:inkChg>
        <pc:inkChg chg="add del mod">
          <ac:chgData name="Aniket Chhabra" userId="598e0514-bef3-4e71-b6aa-f2edd6441cff" providerId="ADAL" clId="{A0F7D543-B727-034C-88B5-8F838AD07213}" dt="2022-08-21T06:45:34.285" v="193"/>
          <ac:inkMkLst>
            <pc:docMk/>
            <pc:sldMk cId="2888229444" sldId="297"/>
            <ac:inkMk id="28" creationId="{7F4BB700-C364-6657-90D8-6F5BC8E36C41}"/>
          </ac:inkMkLst>
        </pc:inkChg>
        <pc:inkChg chg="add">
          <ac:chgData name="Aniket Chhabra" userId="598e0514-bef3-4e71-b6aa-f2edd6441cff" providerId="ADAL" clId="{A0F7D543-B727-034C-88B5-8F838AD07213}" dt="2022-09-10T08:43:01.572" v="1280" actId="9405"/>
          <ac:inkMkLst>
            <pc:docMk/>
            <pc:sldMk cId="2888229444" sldId="297"/>
            <ac:inkMk id="29" creationId="{C773F4CB-8880-63E6-D5D9-0C3786DF2C44}"/>
          </ac:inkMkLst>
        </pc:inkChg>
        <pc:inkChg chg="add">
          <ac:chgData name="Aniket Chhabra" userId="598e0514-bef3-4e71-b6aa-f2edd6441cff" providerId="ADAL" clId="{A0F7D543-B727-034C-88B5-8F838AD07213}" dt="2022-09-10T08:43:02.348" v="1281" actId="9405"/>
          <ac:inkMkLst>
            <pc:docMk/>
            <pc:sldMk cId="2888229444" sldId="297"/>
            <ac:inkMk id="30" creationId="{96CD3C1D-3BC1-90CD-307B-94EF7C2F2C79}"/>
          </ac:inkMkLst>
        </pc:inkChg>
        <pc:inkChg chg="add del mod">
          <ac:chgData name="Aniket Chhabra" userId="598e0514-bef3-4e71-b6aa-f2edd6441cff" providerId="ADAL" clId="{A0F7D543-B727-034C-88B5-8F838AD07213}" dt="2022-08-21T06:45:35.603" v="195"/>
          <ac:inkMkLst>
            <pc:docMk/>
            <pc:sldMk cId="2888229444" sldId="297"/>
            <ac:inkMk id="30" creationId="{A47452C6-95C6-E4DE-122F-02F8EE21033F}"/>
          </ac:inkMkLst>
        </pc:inkChg>
        <pc:inkChg chg="add mod">
          <ac:chgData name="Aniket Chhabra" userId="598e0514-bef3-4e71-b6aa-f2edd6441cff" providerId="ADAL" clId="{A0F7D543-B727-034C-88B5-8F838AD07213}" dt="2022-09-10T08:43:14.876" v="1299"/>
          <ac:inkMkLst>
            <pc:docMk/>
            <pc:sldMk cId="2888229444" sldId="297"/>
            <ac:inkMk id="31" creationId="{2D89E9D4-2136-DBDC-A85D-60DF62975D88}"/>
          </ac:inkMkLst>
        </pc:inkChg>
        <pc:inkChg chg="add del mod">
          <ac:chgData name="Aniket Chhabra" userId="598e0514-bef3-4e71-b6aa-f2edd6441cff" providerId="ADAL" clId="{A0F7D543-B727-034C-88B5-8F838AD07213}" dt="2022-08-21T06:45:35.602" v="194"/>
          <ac:inkMkLst>
            <pc:docMk/>
            <pc:sldMk cId="2888229444" sldId="297"/>
            <ac:inkMk id="31" creationId="{82827D5F-2AC8-3A6E-CAB6-9923B173707B}"/>
          </ac:inkMkLst>
        </pc:inkChg>
        <pc:inkChg chg="add mod">
          <ac:chgData name="Aniket Chhabra" userId="598e0514-bef3-4e71-b6aa-f2edd6441cff" providerId="ADAL" clId="{A0F7D543-B727-034C-88B5-8F838AD07213}" dt="2022-09-10T08:43:14.876" v="1299"/>
          <ac:inkMkLst>
            <pc:docMk/>
            <pc:sldMk cId="2888229444" sldId="297"/>
            <ac:inkMk id="32" creationId="{AE596FDD-3AC8-CA0E-B353-D53467E1BDF0}"/>
          </ac:inkMkLst>
        </pc:inkChg>
        <pc:inkChg chg="add mod">
          <ac:chgData name="Aniket Chhabra" userId="598e0514-bef3-4e71-b6aa-f2edd6441cff" providerId="ADAL" clId="{A0F7D543-B727-034C-88B5-8F838AD07213}" dt="2022-09-10T08:43:14.876" v="1299"/>
          <ac:inkMkLst>
            <pc:docMk/>
            <pc:sldMk cId="2888229444" sldId="297"/>
            <ac:inkMk id="33" creationId="{6C686F57-D6EF-8DF0-5FD6-CFDE13484AF4}"/>
          </ac:inkMkLst>
        </pc:inkChg>
        <pc:inkChg chg="add del">
          <ac:chgData name="Aniket Chhabra" userId="598e0514-bef3-4e71-b6aa-f2edd6441cff" providerId="ADAL" clId="{A0F7D543-B727-034C-88B5-8F838AD07213}" dt="2022-08-21T06:45:36.118" v="196"/>
          <ac:inkMkLst>
            <pc:docMk/>
            <pc:sldMk cId="2888229444" sldId="297"/>
            <ac:inkMk id="33" creationId="{C30C66CC-1D8A-F8D8-29DC-4C61538F5E32}"/>
          </ac:inkMkLst>
        </pc:inkChg>
        <pc:inkChg chg="add mod">
          <ac:chgData name="Aniket Chhabra" userId="598e0514-bef3-4e71-b6aa-f2edd6441cff" providerId="ADAL" clId="{A0F7D543-B727-034C-88B5-8F838AD07213}" dt="2022-08-21T06:45:42.308" v="199"/>
          <ac:inkMkLst>
            <pc:docMk/>
            <pc:sldMk cId="2888229444" sldId="297"/>
            <ac:inkMk id="34" creationId="{493A5045-B420-0232-2049-788308714317}"/>
          </ac:inkMkLst>
        </pc:inkChg>
        <pc:inkChg chg="add mod">
          <ac:chgData name="Aniket Chhabra" userId="598e0514-bef3-4e71-b6aa-f2edd6441cff" providerId="ADAL" clId="{A0F7D543-B727-034C-88B5-8F838AD07213}" dt="2022-08-21T06:45:42.308" v="199"/>
          <ac:inkMkLst>
            <pc:docMk/>
            <pc:sldMk cId="2888229444" sldId="297"/>
            <ac:inkMk id="35" creationId="{04B50CF7-920E-08C2-C407-8F1E12AC4B71}"/>
          </ac:inkMkLst>
        </pc:inkChg>
        <pc:inkChg chg="add">
          <ac:chgData name="Aniket Chhabra" userId="598e0514-bef3-4e71-b6aa-f2edd6441cff" providerId="ADAL" clId="{A0F7D543-B727-034C-88B5-8F838AD07213}" dt="2022-08-21T06:45:43.706" v="200" actId="9405"/>
          <ac:inkMkLst>
            <pc:docMk/>
            <pc:sldMk cId="2888229444" sldId="297"/>
            <ac:inkMk id="37" creationId="{69A4474F-766B-B545-DD64-158EF828B77F}"/>
          </ac:inkMkLst>
        </pc:inkChg>
        <pc:inkChg chg="add mod">
          <ac:chgData name="Aniket Chhabra" userId="598e0514-bef3-4e71-b6aa-f2edd6441cff" providerId="ADAL" clId="{A0F7D543-B727-034C-88B5-8F838AD07213}" dt="2022-08-21T06:45:47.858" v="203"/>
          <ac:inkMkLst>
            <pc:docMk/>
            <pc:sldMk cId="2888229444" sldId="297"/>
            <ac:inkMk id="38" creationId="{3EC4430C-8339-B3C7-916F-075F3EDDD0A1}"/>
          </ac:inkMkLst>
        </pc:inkChg>
        <pc:inkChg chg="add mod">
          <ac:chgData name="Aniket Chhabra" userId="598e0514-bef3-4e71-b6aa-f2edd6441cff" providerId="ADAL" clId="{A0F7D543-B727-034C-88B5-8F838AD07213}" dt="2022-08-21T06:45:47.858" v="203"/>
          <ac:inkMkLst>
            <pc:docMk/>
            <pc:sldMk cId="2888229444" sldId="297"/>
            <ac:inkMk id="39" creationId="{51BF38DB-7AB0-2058-AF0A-175709F4B89F}"/>
          </ac:inkMkLst>
        </pc:inkChg>
        <pc:inkChg chg="add mod">
          <ac:chgData name="Aniket Chhabra" userId="598e0514-bef3-4e71-b6aa-f2edd6441cff" providerId="ADAL" clId="{A0F7D543-B727-034C-88B5-8F838AD07213}" dt="2022-09-10T08:42:16.682" v="1272"/>
          <ac:inkMkLst>
            <pc:docMk/>
            <pc:sldMk cId="2888229444" sldId="297"/>
            <ac:inkMk id="41" creationId="{FF749210-CBEF-8052-50C2-A2899FB18823}"/>
          </ac:inkMkLst>
        </pc:inkChg>
        <pc:inkChg chg="add mod">
          <ac:chgData name="Aniket Chhabra" userId="598e0514-bef3-4e71-b6aa-f2edd6441cff" providerId="ADAL" clId="{A0F7D543-B727-034C-88B5-8F838AD07213}" dt="2022-09-10T08:42:16.682" v="1272"/>
          <ac:inkMkLst>
            <pc:docMk/>
            <pc:sldMk cId="2888229444" sldId="297"/>
            <ac:inkMk id="42" creationId="{F43A846E-8DDC-71CC-0A5F-3FEB03CD4B08}"/>
          </ac:inkMkLst>
        </pc:inkChg>
        <pc:inkChg chg="add mod">
          <ac:chgData name="Aniket Chhabra" userId="598e0514-bef3-4e71-b6aa-f2edd6441cff" providerId="ADAL" clId="{A0F7D543-B727-034C-88B5-8F838AD07213}" dt="2022-09-10T08:43:14.876" v="1299"/>
          <ac:inkMkLst>
            <pc:docMk/>
            <pc:sldMk cId="2888229444" sldId="297"/>
            <ac:inkMk id="43" creationId="{DE7C7E5E-5B36-E220-1859-1B3E21A019ED}"/>
          </ac:inkMkLst>
        </pc:inkChg>
        <pc:inkChg chg="add del mod">
          <ac:chgData name="Aniket Chhabra" userId="598e0514-bef3-4e71-b6aa-f2edd6441cff" providerId="ADAL" clId="{A0F7D543-B727-034C-88B5-8F838AD07213}" dt="2022-09-10T08:42:16.682" v="1272"/>
          <ac:inkMkLst>
            <pc:docMk/>
            <pc:sldMk cId="2888229444" sldId="297"/>
            <ac:inkMk id="44" creationId="{5D025C50-081A-6CEC-3AB9-C7A33836483F}"/>
          </ac:inkMkLst>
        </pc:inkChg>
        <pc:inkChg chg="add mod">
          <ac:chgData name="Aniket Chhabra" userId="598e0514-bef3-4e71-b6aa-f2edd6441cff" providerId="ADAL" clId="{A0F7D543-B727-034C-88B5-8F838AD07213}" dt="2022-09-10T08:43:14.876" v="1299"/>
          <ac:inkMkLst>
            <pc:docMk/>
            <pc:sldMk cId="2888229444" sldId="297"/>
            <ac:inkMk id="45" creationId="{5BFCD366-33AB-CA0C-501B-DF29D6BA1ECE}"/>
          </ac:inkMkLst>
        </pc:inkChg>
        <pc:inkChg chg="add del mod">
          <ac:chgData name="Aniket Chhabra" userId="598e0514-bef3-4e71-b6aa-f2edd6441cff" providerId="ADAL" clId="{A0F7D543-B727-034C-88B5-8F838AD07213}" dt="2022-09-10T08:42:16.682" v="1272"/>
          <ac:inkMkLst>
            <pc:docMk/>
            <pc:sldMk cId="2888229444" sldId="297"/>
            <ac:inkMk id="46" creationId="{081E8CAE-96F7-7DDE-3EA1-FEE03EEFB6B0}"/>
          </ac:inkMkLst>
        </pc:inkChg>
        <pc:inkChg chg="add mod">
          <ac:chgData name="Aniket Chhabra" userId="598e0514-bef3-4e71-b6aa-f2edd6441cff" providerId="ADAL" clId="{A0F7D543-B727-034C-88B5-8F838AD07213}" dt="2022-08-21T06:46:27.055" v="221"/>
          <ac:inkMkLst>
            <pc:docMk/>
            <pc:sldMk cId="2888229444" sldId="297"/>
            <ac:inkMk id="48" creationId="{5759A00C-92E8-3646-81CE-00997E4417A6}"/>
          </ac:inkMkLst>
        </pc:inkChg>
        <pc:inkChg chg="add mod">
          <ac:chgData name="Aniket Chhabra" userId="598e0514-bef3-4e71-b6aa-f2edd6441cff" providerId="ADAL" clId="{A0F7D543-B727-034C-88B5-8F838AD07213}" dt="2022-08-21T06:46:27.055" v="221"/>
          <ac:inkMkLst>
            <pc:docMk/>
            <pc:sldMk cId="2888229444" sldId="297"/>
            <ac:inkMk id="49" creationId="{9B02EB62-33D3-8EF8-86CA-6F931DAC23DA}"/>
          </ac:inkMkLst>
        </pc:inkChg>
        <pc:inkChg chg="add mod">
          <ac:chgData name="Aniket Chhabra" userId="598e0514-bef3-4e71-b6aa-f2edd6441cff" providerId="ADAL" clId="{A0F7D543-B727-034C-88B5-8F838AD07213}" dt="2022-08-21T06:46:27.055" v="221"/>
          <ac:inkMkLst>
            <pc:docMk/>
            <pc:sldMk cId="2888229444" sldId="297"/>
            <ac:inkMk id="50" creationId="{8DC90F91-B658-2A32-80B5-30285DC0186F}"/>
          </ac:inkMkLst>
        </pc:inkChg>
        <pc:inkChg chg="add mod">
          <ac:chgData name="Aniket Chhabra" userId="598e0514-bef3-4e71-b6aa-f2edd6441cff" providerId="ADAL" clId="{A0F7D543-B727-034C-88B5-8F838AD07213}" dt="2022-08-21T06:46:27.055" v="221"/>
          <ac:inkMkLst>
            <pc:docMk/>
            <pc:sldMk cId="2888229444" sldId="297"/>
            <ac:inkMk id="51" creationId="{DDB19EB7-3647-C0A5-CFBC-970D6AC8AD18}"/>
          </ac:inkMkLst>
        </pc:inkChg>
        <pc:inkChg chg="add mod">
          <ac:chgData name="Aniket Chhabra" userId="598e0514-bef3-4e71-b6aa-f2edd6441cff" providerId="ADAL" clId="{A0F7D543-B727-034C-88B5-8F838AD07213}" dt="2022-08-21T06:46:27.055" v="221"/>
          <ac:inkMkLst>
            <pc:docMk/>
            <pc:sldMk cId="2888229444" sldId="297"/>
            <ac:inkMk id="52" creationId="{95510160-8B27-3755-2BFB-CA7605283605}"/>
          </ac:inkMkLst>
        </pc:inkChg>
        <pc:inkChg chg="add mod">
          <ac:chgData name="Aniket Chhabra" userId="598e0514-bef3-4e71-b6aa-f2edd6441cff" providerId="ADAL" clId="{A0F7D543-B727-034C-88B5-8F838AD07213}" dt="2022-08-21T06:46:27.055" v="221"/>
          <ac:inkMkLst>
            <pc:docMk/>
            <pc:sldMk cId="2888229444" sldId="297"/>
            <ac:inkMk id="53" creationId="{A1A6E802-248A-9F89-C207-DEE5A00B1249}"/>
          </ac:inkMkLst>
        </pc:inkChg>
        <pc:inkChg chg="add mod">
          <ac:chgData name="Aniket Chhabra" userId="598e0514-bef3-4e71-b6aa-f2edd6441cff" providerId="ADAL" clId="{A0F7D543-B727-034C-88B5-8F838AD07213}" dt="2022-08-21T06:46:27.055" v="221"/>
          <ac:inkMkLst>
            <pc:docMk/>
            <pc:sldMk cId="2888229444" sldId="297"/>
            <ac:inkMk id="54" creationId="{23F91324-E010-DE28-E94C-6AA9154C58A8}"/>
          </ac:inkMkLst>
        </pc:inkChg>
        <pc:inkChg chg="add mod">
          <ac:chgData name="Aniket Chhabra" userId="598e0514-bef3-4e71-b6aa-f2edd6441cff" providerId="ADAL" clId="{A0F7D543-B727-034C-88B5-8F838AD07213}" dt="2022-08-21T06:46:27.055" v="221"/>
          <ac:inkMkLst>
            <pc:docMk/>
            <pc:sldMk cId="2888229444" sldId="297"/>
            <ac:inkMk id="55" creationId="{B3C0DF30-23C8-BF35-7B66-5A8D33F937F5}"/>
          </ac:inkMkLst>
        </pc:inkChg>
        <pc:inkChg chg="add mod">
          <ac:chgData name="Aniket Chhabra" userId="598e0514-bef3-4e71-b6aa-f2edd6441cff" providerId="ADAL" clId="{A0F7D543-B727-034C-88B5-8F838AD07213}" dt="2022-08-21T06:46:27.055" v="221"/>
          <ac:inkMkLst>
            <pc:docMk/>
            <pc:sldMk cId="2888229444" sldId="297"/>
            <ac:inkMk id="56" creationId="{930CD53B-998E-6A2B-C683-47B398622780}"/>
          </ac:inkMkLst>
        </pc:inkChg>
        <pc:inkChg chg="add mod">
          <ac:chgData name="Aniket Chhabra" userId="598e0514-bef3-4e71-b6aa-f2edd6441cff" providerId="ADAL" clId="{A0F7D543-B727-034C-88B5-8F838AD07213}" dt="2022-08-21T06:46:27.055" v="221"/>
          <ac:inkMkLst>
            <pc:docMk/>
            <pc:sldMk cId="2888229444" sldId="297"/>
            <ac:inkMk id="57" creationId="{1537C972-F712-4B1B-58F7-0FE8783C1598}"/>
          </ac:inkMkLst>
        </pc:inkChg>
        <pc:inkChg chg="add mod">
          <ac:chgData name="Aniket Chhabra" userId="598e0514-bef3-4e71-b6aa-f2edd6441cff" providerId="ADAL" clId="{A0F7D543-B727-034C-88B5-8F838AD07213}" dt="2022-09-10T08:43:14.876" v="1299"/>
          <ac:inkMkLst>
            <pc:docMk/>
            <pc:sldMk cId="2888229444" sldId="297"/>
            <ac:inkMk id="59" creationId="{EB819432-2567-67C0-B696-41C812692414}"/>
          </ac:inkMkLst>
        </pc:inkChg>
        <pc:inkChg chg="add mod">
          <ac:chgData name="Aniket Chhabra" userId="598e0514-bef3-4e71-b6aa-f2edd6441cff" providerId="ADAL" clId="{A0F7D543-B727-034C-88B5-8F838AD07213}" dt="2022-09-10T08:43:14.876" v="1299"/>
          <ac:inkMkLst>
            <pc:docMk/>
            <pc:sldMk cId="2888229444" sldId="297"/>
            <ac:inkMk id="60" creationId="{6716CB1D-EE24-CE49-6467-C4183A6B7790}"/>
          </ac:inkMkLst>
        </pc:inkChg>
        <pc:inkChg chg="add mod">
          <ac:chgData name="Aniket Chhabra" userId="598e0514-bef3-4e71-b6aa-f2edd6441cff" providerId="ADAL" clId="{A0F7D543-B727-034C-88B5-8F838AD07213}" dt="2022-09-10T08:43:14.876" v="1299"/>
          <ac:inkMkLst>
            <pc:docMk/>
            <pc:sldMk cId="2888229444" sldId="297"/>
            <ac:inkMk id="61" creationId="{D8DE1FDB-E01D-A8BA-4511-D7E6C9AD0DB4}"/>
          </ac:inkMkLst>
        </pc:inkChg>
        <pc:inkChg chg="add mod">
          <ac:chgData name="Aniket Chhabra" userId="598e0514-bef3-4e71-b6aa-f2edd6441cff" providerId="ADAL" clId="{A0F7D543-B727-034C-88B5-8F838AD07213}" dt="2022-09-10T08:43:14.876" v="1299"/>
          <ac:inkMkLst>
            <pc:docMk/>
            <pc:sldMk cId="2888229444" sldId="297"/>
            <ac:inkMk id="62" creationId="{73127FDC-A3C7-EF52-3AD8-07544E0504A2}"/>
          </ac:inkMkLst>
        </pc:inkChg>
        <pc:inkChg chg="add mod">
          <ac:chgData name="Aniket Chhabra" userId="598e0514-bef3-4e71-b6aa-f2edd6441cff" providerId="ADAL" clId="{A0F7D543-B727-034C-88B5-8F838AD07213}" dt="2022-09-10T08:43:14.876" v="1299"/>
          <ac:inkMkLst>
            <pc:docMk/>
            <pc:sldMk cId="2888229444" sldId="297"/>
            <ac:inkMk id="63" creationId="{3B568159-4970-6D4F-5EAB-6FF74D699C2C}"/>
          </ac:inkMkLst>
        </pc:inkChg>
        <pc:inkChg chg="add mod">
          <ac:chgData name="Aniket Chhabra" userId="598e0514-bef3-4e71-b6aa-f2edd6441cff" providerId="ADAL" clId="{A0F7D543-B727-034C-88B5-8F838AD07213}" dt="2022-09-10T08:43:14.876" v="1299"/>
          <ac:inkMkLst>
            <pc:docMk/>
            <pc:sldMk cId="2888229444" sldId="297"/>
            <ac:inkMk id="64" creationId="{49F43C29-EE52-2061-C50A-1EB53C84BA2C}"/>
          </ac:inkMkLst>
        </pc:inkChg>
        <pc:inkChg chg="add mod">
          <ac:chgData name="Aniket Chhabra" userId="598e0514-bef3-4e71-b6aa-f2edd6441cff" providerId="ADAL" clId="{A0F7D543-B727-034C-88B5-8F838AD07213}" dt="2022-09-10T08:43:14.876" v="1299"/>
          <ac:inkMkLst>
            <pc:docMk/>
            <pc:sldMk cId="2888229444" sldId="297"/>
            <ac:inkMk id="65" creationId="{DAC107E2-33DF-5AEB-3778-BA16ED78EFB5}"/>
          </ac:inkMkLst>
        </pc:inkChg>
        <pc:inkChg chg="add mod">
          <ac:chgData name="Aniket Chhabra" userId="598e0514-bef3-4e71-b6aa-f2edd6441cff" providerId="ADAL" clId="{A0F7D543-B727-034C-88B5-8F838AD07213}" dt="2022-09-10T08:43:14.876" v="1299"/>
          <ac:inkMkLst>
            <pc:docMk/>
            <pc:sldMk cId="2888229444" sldId="297"/>
            <ac:inkMk id="66" creationId="{26761D2D-D9A8-43C7-8669-7CF778A4AFA8}"/>
          </ac:inkMkLst>
        </pc:inkChg>
        <pc:inkChg chg="add mod">
          <ac:chgData name="Aniket Chhabra" userId="598e0514-bef3-4e71-b6aa-f2edd6441cff" providerId="ADAL" clId="{A0F7D543-B727-034C-88B5-8F838AD07213}" dt="2022-09-10T08:43:14.876" v="1299"/>
          <ac:inkMkLst>
            <pc:docMk/>
            <pc:sldMk cId="2888229444" sldId="297"/>
            <ac:inkMk id="67" creationId="{03B3848A-2C1A-F24B-7642-FE04D293BDE2}"/>
          </ac:inkMkLst>
        </pc:inkChg>
        <pc:inkChg chg="add mod">
          <ac:chgData name="Aniket Chhabra" userId="598e0514-bef3-4e71-b6aa-f2edd6441cff" providerId="ADAL" clId="{A0F7D543-B727-034C-88B5-8F838AD07213}" dt="2022-09-10T08:43:14.876" v="1299"/>
          <ac:inkMkLst>
            <pc:docMk/>
            <pc:sldMk cId="2888229444" sldId="297"/>
            <ac:inkMk id="68" creationId="{F8B31616-7D28-FDF1-C438-E9A72B10FFB8}"/>
          </ac:inkMkLst>
        </pc:inkChg>
        <pc:inkChg chg="add mod">
          <ac:chgData name="Aniket Chhabra" userId="598e0514-bef3-4e71-b6aa-f2edd6441cff" providerId="ADAL" clId="{A0F7D543-B727-034C-88B5-8F838AD07213}" dt="2022-09-10T08:43:14.876" v="1299"/>
          <ac:inkMkLst>
            <pc:docMk/>
            <pc:sldMk cId="2888229444" sldId="297"/>
            <ac:inkMk id="69" creationId="{EC5405B1-22D3-8362-D1CA-9B069FC6D881}"/>
          </ac:inkMkLst>
        </pc:inkChg>
        <pc:inkChg chg="add mod">
          <ac:chgData name="Aniket Chhabra" userId="598e0514-bef3-4e71-b6aa-f2edd6441cff" providerId="ADAL" clId="{A0F7D543-B727-034C-88B5-8F838AD07213}" dt="2022-09-10T08:43:14.876" v="1299"/>
          <ac:inkMkLst>
            <pc:docMk/>
            <pc:sldMk cId="2888229444" sldId="297"/>
            <ac:inkMk id="70" creationId="{C62E957B-CB69-599A-44A5-3A6F7AB6085B}"/>
          </ac:inkMkLst>
        </pc:inkChg>
        <pc:inkChg chg="add mod">
          <ac:chgData name="Aniket Chhabra" userId="598e0514-bef3-4e71-b6aa-f2edd6441cff" providerId="ADAL" clId="{A0F7D543-B727-034C-88B5-8F838AD07213}" dt="2022-09-10T08:43:23.279" v="1312"/>
          <ac:inkMkLst>
            <pc:docMk/>
            <pc:sldMk cId="2888229444" sldId="297"/>
            <ac:inkMk id="72" creationId="{07188DDA-3A9A-C6E6-BBF1-B5DFBB9FA988}"/>
          </ac:inkMkLst>
        </pc:inkChg>
        <pc:inkChg chg="add mod">
          <ac:chgData name="Aniket Chhabra" userId="598e0514-bef3-4e71-b6aa-f2edd6441cff" providerId="ADAL" clId="{A0F7D543-B727-034C-88B5-8F838AD07213}" dt="2022-09-10T08:43:23.279" v="1312"/>
          <ac:inkMkLst>
            <pc:docMk/>
            <pc:sldMk cId="2888229444" sldId="297"/>
            <ac:inkMk id="73" creationId="{672FD628-C9EE-35BE-1F83-D72EA04DE1C4}"/>
          </ac:inkMkLst>
        </pc:inkChg>
        <pc:inkChg chg="add mod">
          <ac:chgData name="Aniket Chhabra" userId="598e0514-bef3-4e71-b6aa-f2edd6441cff" providerId="ADAL" clId="{A0F7D543-B727-034C-88B5-8F838AD07213}" dt="2022-09-10T08:43:23.279" v="1312"/>
          <ac:inkMkLst>
            <pc:docMk/>
            <pc:sldMk cId="2888229444" sldId="297"/>
            <ac:inkMk id="74" creationId="{01ADF043-E22F-2758-29E1-0E26C4B3981B}"/>
          </ac:inkMkLst>
        </pc:inkChg>
        <pc:inkChg chg="add mod">
          <ac:chgData name="Aniket Chhabra" userId="598e0514-bef3-4e71-b6aa-f2edd6441cff" providerId="ADAL" clId="{A0F7D543-B727-034C-88B5-8F838AD07213}" dt="2022-09-10T08:43:23.279" v="1312"/>
          <ac:inkMkLst>
            <pc:docMk/>
            <pc:sldMk cId="2888229444" sldId="297"/>
            <ac:inkMk id="75" creationId="{BE8B3F6B-80B5-24DC-0086-0BD34E28EF5D}"/>
          </ac:inkMkLst>
        </pc:inkChg>
        <pc:inkChg chg="add del mod">
          <ac:chgData name="Aniket Chhabra" userId="598e0514-bef3-4e71-b6aa-f2edd6441cff" providerId="ADAL" clId="{A0F7D543-B727-034C-88B5-8F838AD07213}" dt="2022-09-10T08:43:21.606" v="1309" actId="9405"/>
          <ac:inkMkLst>
            <pc:docMk/>
            <pc:sldMk cId="2888229444" sldId="297"/>
            <ac:inkMk id="76" creationId="{52478BB7-AA4E-4903-74EC-931DB32774AF}"/>
          </ac:inkMkLst>
        </pc:inkChg>
        <pc:inkChg chg="add del mod">
          <ac:chgData name="Aniket Chhabra" userId="598e0514-bef3-4e71-b6aa-f2edd6441cff" providerId="ADAL" clId="{A0F7D543-B727-034C-88B5-8F838AD07213}" dt="2022-09-10T08:43:20.968" v="1308"/>
          <ac:inkMkLst>
            <pc:docMk/>
            <pc:sldMk cId="2888229444" sldId="297"/>
            <ac:inkMk id="77" creationId="{F26380D5-8D32-14D8-66F5-4F92E53F8981}"/>
          </ac:inkMkLst>
        </pc:inkChg>
        <pc:inkChg chg="add mod">
          <ac:chgData name="Aniket Chhabra" userId="598e0514-bef3-4e71-b6aa-f2edd6441cff" providerId="ADAL" clId="{A0F7D543-B727-034C-88B5-8F838AD07213}" dt="2022-09-10T08:43:23.279" v="1312"/>
          <ac:inkMkLst>
            <pc:docMk/>
            <pc:sldMk cId="2888229444" sldId="297"/>
            <ac:inkMk id="79" creationId="{71314D4C-010E-E7EC-AB60-3720C8F810AF}"/>
          </ac:inkMkLst>
        </pc:inkChg>
        <pc:inkChg chg="add mod">
          <ac:chgData name="Aniket Chhabra" userId="598e0514-bef3-4e71-b6aa-f2edd6441cff" providerId="ADAL" clId="{A0F7D543-B727-034C-88B5-8F838AD07213}" dt="2022-09-10T08:43:23.279" v="1312"/>
          <ac:inkMkLst>
            <pc:docMk/>
            <pc:sldMk cId="2888229444" sldId="297"/>
            <ac:inkMk id="80" creationId="{10FE9531-1FD2-2567-5DDC-EBB35111D07B}"/>
          </ac:inkMkLst>
        </pc:inkChg>
        <pc:inkChg chg="add mod">
          <ac:chgData name="Aniket Chhabra" userId="598e0514-bef3-4e71-b6aa-f2edd6441cff" providerId="ADAL" clId="{A0F7D543-B727-034C-88B5-8F838AD07213}" dt="2022-09-10T08:44:33.434" v="1389"/>
          <ac:inkMkLst>
            <pc:docMk/>
            <pc:sldMk cId="2888229444" sldId="297"/>
            <ac:inkMk id="82" creationId="{0EEA483B-BE51-E052-57D1-98B0DDA2AE71}"/>
          </ac:inkMkLst>
        </pc:inkChg>
        <pc:inkChg chg="add mod">
          <ac:chgData name="Aniket Chhabra" userId="598e0514-bef3-4e71-b6aa-f2edd6441cff" providerId="ADAL" clId="{A0F7D543-B727-034C-88B5-8F838AD07213}" dt="2022-09-10T08:44:33.434" v="1389"/>
          <ac:inkMkLst>
            <pc:docMk/>
            <pc:sldMk cId="2888229444" sldId="297"/>
            <ac:inkMk id="83" creationId="{1C2CDE39-8044-E992-4142-C35BBD4E541D}"/>
          </ac:inkMkLst>
        </pc:inkChg>
        <pc:inkChg chg="add mod">
          <ac:chgData name="Aniket Chhabra" userId="598e0514-bef3-4e71-b6aa-f2edd6441cff" providerId="ADAL" clId="{A0F7D543-B727-034C-88B5-8F838AD07213}" dt="2022-09-10T08:44:33.434" v="1389"/>
          <ac:inkMkLst>
            <pc:docMk/>
            <pc:sldMk cId="2888229444" sldId="297"/>
            <ac:inkMk id="84" creationId="{7F76064A-A93D-9ECA-2FEC-F840A437333E}"/>
          </ac:inkMkLst>
        </pc:inkChg>
        <pc:inkChg chg="add mod">
          <ac:chgData name="Aniket Chhabra" userId="598e0514-bef3-4e71-b6aa-f2edd6441cff" providerId="ADAL" clId="{A0F7D543-B727-034C-88B5-8F838AD07213}" dt="2022-09-10T08:44:33.434" v="1389"/>
          <ac:inkMkLst>
            <pc:docMk/>
            <pc:sldMk cId="2888229444" sldId="297"/>
            <ac:inkMk id="85" creationId="{A85D00CC-8440-59D7-76D0-B3B77E7A3992}"/>
          </ac:inkMkLst>
        </pc:inkChg>
        <pc:inkChg chg="add mod">
          <ac:chgData name="Aniket Chhabra" userId="598e0514-bef3-4e71-b6aa-f2edd6441cff" providerId="ADAL" clId="{A0F7D543-B727-034C-88B5-8F838AD07213}" dt="2022-09-10T08:44:33.434" v="1389"/>
          <ac:inkMkLst>
            <pc:docMk/>
            <pc:sldMk cId="2888229444" sldId="297"/>
            <ac:inkMk id="86" creationId="{65E4DD86-5614-1E5F-67A3-DA66C024D60F}"/>
          </ac:inkMkLst>
        </pc:inkChg>
        <pc:inkChg chg="add mod">
          <ac:chgData name="Aniket Chhabra" userId="598e0514-bef3-4e71-b6aa-f2edd6441cff" providerId="ADAL" clId="{A0F7D543-B727-034C-88B5-8F838AD07213}" dt="2022-09-10T08:44:33.434" v="1389"/>
          <ac:inkMkLst>
            <pc:docMk/>
            <pc:sldMk cId="2888229444" sldId="297"/>
            <ac:inkMk id="87" creationId="{685A1E21-4DAD-8614-3596-8C2565BB8488}"/>
          </ac:inkMkLst>
        </pc:inkChg>
        <pc:inkChg chg="add mod">
          <ac:chgData name="Aniket Chhabra" userId="598e0514-bef3-4e71-b6aa-f2edd6441cff" providerId="ADAL" clId="{A0F7D543-B727-034C-88B5-8F838AD07213}" dt="2022-09-10T08:44:33.434" v="1389"/>
          <ac:inkMkLst>
            <pc:docMk/>
            <pc:sldMk cId="2888229444" sldId="297"/>
            <ac:inkMk id="88" creationId="{5271087D-6EE4-9B49-B169-1402F1F71DF5}"/>
          </ac:inkMkLst>
        </pc:inkChg>
        <pc:inkChg chg="add mod">
          <ac:chgData name="Aniket Chhabra" userId="598e0514-bef3-4e71-b6aa-f2edd6441cff" providerId="ADAL" clId="{A0F7D543-B727-034C-88B5-8F838AD07213}" dt="2022-09-10T08:44:33.434" v="1389"/>
          <ac:inkMkLst>
            <pc:docMk/>
            <pc:sldMk cId="2888229444" sldId="297"/>
            <ac:inkMk id="89" creationId="{B0EBB189-9BAE-6B82-4744-8B7B1838E040}"/>
          </ac:inkMkLst>
        </pc:inkChg>
        <pc:inkChg chg="add mod">
          <ac:chgData name="Aniket Chhabra" userId="598e0514-bef3-4e71-b6aa-f2edd6441cff" providerId="ADAL" clId="{A0F7D543-B727-034C-88B5-8F838AD07213}" dt="2022-09-10T08:44:33.434" v="1389"/>
          <ac:inkMkLst>
            <pc:docMk/>
            <pc:sldMk cId="2888229444" sldId="297"/>
            <ac:inkMk id="91" creationId="{0AA3D3AA-5E8E-A441-7B70-23FF0C1B976A}"/>
          </ac:inkMkLst>
        </pc:inkChg>
        <pc:inkChg chg="add mod">
          <ac:chgData name="Aniket Chhabra" userId="598e0514-bef3-4e71-b6aa-f2edd6441cff" providerId="ADAL" clId="{A0F7D543-B727-034C-88B5-8F838AD07213}" dt="2022-09-10T08:44:33.434" v="1389"/>
          <ac:inkMkLst>
            <pc:docMk/>
            <pc:sldMk cId="2888229444" sldId="297"/>
            <ac:inkMk id="92" creationId="{04B0C9D5-FD4D-C209-521B-598F4E046F34}"/>
          </ac:inkMkLst>
        </pc:inkChg>
        <pc:inkChg chg="add mod">
          <ac:chgData name="Aniket Chhabra" userId="598e0514-bef3-4e71-b6aa-f2edd6441cff" providerId="ADAL" clId="{A0F7D543-B727-034C-88B5-8F838AD07213}" dt="2022-09-10T08:44:33.434" v="1389"/>
          <ac:inkMkLst>
            <pc:docMk/>
            <pc:sldMk cId="2888229444" sldId="297"/>
            <ac:inkMk id="93" creationId="{122AA24F-9707-845B-8B7D-3035C2AEDFF3}"/>
          </ac:inkMkLst>
        </pc:inkChg>
        <pc:inkChg chg="add mod">
          <ac:chgData name="Aniket Chhabra" userId="598e0514-bef3-4e71-b6aa-f2edd6441cff" providerId="ADAL" clId="{A0F7D543-B727-034C-88B5-8F838AD07213}" dt="2022-09-10T08:44:33.434" v="1389"/>
          <ac:inkMkLst>
            <pc:docMk/>
            <pc:sldMk cId="2888229444" sldId="297"/>
            <ac:inkMk id="94" creationId="{9A71576C-8C8F-2872-9DD1-BDE42BFB2E8A}"/>
          </ac:inkMkLst>
        </pc:inkChg>
        <pc:inkChg chg="add mod">
          <ac:chgData name="Aniket Chhabra" userId="598e0514-bef3-4e71-b6aa-f2edd6441cff" providerId="ADAL" clId="{A0F7D543-B727-034C-88B5-8F838AD07213}" dt="2022-09-10T08:44:33.434" v="1389"/>
          <ac:inkMkLst>
            <pc:docMk/>
            <pc:sldMk cId="2888229444" sldId="297"/>
            <ac:inkMk id="95" creationId="{996E689A-0E9B-8D6F-CE78-3E58AAE05379}"/>
          </ac:inkMkLst>
        </pc:inkChg>
        <pc:inkChg chg="add mod">
          <ac:chgData name="Aniket Chhabra" userId="598e0514-bef3-4e71-b6aa-f2edd6441cff" providerId="ADAL" clId="{A0F7D543-B727-034C-88B5-8F838AD07213}" dt="2022-09-10T08:44:33.434" v="1389"/>
          <ac:inkMkLst>
            <pc:docMk/>
            <pc:sldMk cId="2888229444" sldId="297"/>
            <ac:inkMk id="96" creationId="{66B1BDAE-10B5-EB39-3097-A4D175A3D4DA}"/>
          </ac:inkMkLst>
        </pc:inkChg>
        <pc:inkChg chg="add mod">
          <ac:chgData name="Aniket Chhabra" userId="598e0514-bef3-4e71-b6aa-f2edd6441cff" providerId="ADAL" clId="{A0F7D543-B727-034C-88B5-8F838AD07213}" dt="2022-09-10T08:44:33.434" v="1389"/>
          <ac:inkMkLst>
            <pc:docMk/>
            <pc:sldMk cId="2888229444" sldId="297"/>
            <ac:inkMk id="97" creationId="{9DBDB762-D177-5858-FC18-D52D23E8E4C8}"/>
          </ac:inkMkLst>
        </pc:inkChg>
        <pc:inkChg chg="add mod">
          <ac:chgData name="Aniket Chhabra" userId="598e0514-bef3-4e71-b6aa-f2edd6441cff" providerId="ADAL" clId="{A0F7D543-B727-034C-88B5-8F838AD07213}" dt="2022-09-10T08:44:33.434" v="1389"/>
          <ac:inkMkLst>
            <pc:docMk/>
            <pc:sldMk cId="2888229444" sldId="297"/>
            <ac:inkMk id="98" creationId="{4D2323A2-6419-B6A7-7A3C-F4796633833F}"/>
          </ac:inkMkLst>
        </pc:inkChg>
        <pc:inkChg chg="add mod">
          <ac:chgData name="Aniket Chhabra" userId="598e0514-bef3-4e71-b6aa-f2edd6441cff" providerId="ADAL" clId="{A0F7D543-B727-034C-88B5-8F838AD07213}" dt="2022-09-10T08:44:33.434" v="1389"/>
          <ac:inkMkLst>
            <pc:docMk/>
            <pc:sldMk cId="2888229444" sldId="297"/>
            <ac:inkMk id="99" creationId="{8295474B-929E-0CD8-854A-C12EFD72A8B9}"/>
          </ac:inkMkLst>
        </pc:inkChg>
        <pc:inkChg chg="add mod">
          <ac:chgData name="Aniket Chhabra" userId="598e0514-bef3-4e71-b6aa-f2edd6441cff" providerId="ADAL" clId="{A0F7D543-B727-034C-88B5-8F838AD07213}" dt="2022-09-10T08:44:33.434" v="1389"/>
          <ac:inkMkLst>
            <pc:docMk/>
            <pc:sldMk cId="2888229444" sldId="297"/>
            <ac:inkMk id="100" creationId="{BDD283ED-8005-0C50-54D2-EBD7DE645197}"/>
          </ac:inkMkLst>
        </pc:inkChg>
        <pc:inkChg chg="add mod">
          <ac:chgData name="Aniket Chhabra" userId="598e0514-bef3-4e71-b6aa-f2edd6441cff" providerId="ADAL" clId="{A0F7D543-B727-034C-88B5-8F838AD07213}" dt="2022-09-10T08:44:33.434" v="1389"/>
          <ac:inkMkLst>
            <pc:docMk/>
            <pc:sldMk cId="2888229444" sldId="297"/>
            <ac:inkMk id="101" creationId="{5EDB96A7-B2A1-F011-60D8-BC87B7D6638C}"/>
          </ac:inkMkLst>
        </pc:inkChg>
        <pc:inkChg chg="add mod">
          <ac:chgData name="Aniket Chhabra" userId="598e0514-bef3-4e71-b6aa-f2edd6441cff" providerId="ADAL" clId="{A0F7D543-B727-034C-88B5-8F838AD07213}" dt="2022-09-10T08:44:33.434" v="1389"/>
          <ac:inkMkLst>
            <pc:docMk/>
            <pc:sldMk cId="2888229444" sldId="297"/>
            <ac:inkMk id="102" creationId="{5F154623-670D-7E28-8DFB-C9D29DBE8032}"/>
          </ac:inkMkLst>
        </pc:inkChg>
        <pc:inkChg chg="add mod">
          <ac:chgData name="Aniket Chhabra" userId="598e0514-bef3-4e71-b6aa-f2edd6441cff" providerId="ADAL" clId="{A0F7D543-B727-034C-88B5-8F838AD07213}" dt="2022-09-10T08:44:33.434" v="1389"/>
          <ac:inkMkLst>
            <pc:docMk/>
            <pc:sldMk cId="2888229444" sldId="297"/>
            <ac:inkMk id="103" creationId="{529F8B25-DDA4-8383-7A7B-FD6C0B808224}"/>
          </ac:inkMkLst>
        </pc:inkChg>
        <pc:inkChg chg="add mod">
          <ac:chgData name="Aniket Chhabra" userId="598e0514-bef3-4e71-b6aa-f2edd6441cff" providerId="ADAL" clId="{A0F7D543-B727-034C-88B5-8F838AD07213}" dt="2022-09-10T08:44:33.434" v="1389"/>
          <ac:inkMkLst>
            <pc:docMk/>
            <pc:sldMk cId="2888229444" sldId="297"/>
            <ac:inkMk id="104" creationId="{E4F9D1A2-03CC-1AF9-57CA-926D75E4FF6A}"/>
          </ac:inkMkLst>
        </pc:inkChg>
        <pc:inkChg chg="add mod">
          <ac:chgData name="Aniket Chhabra" userId="598e0514-bef3-4e71-b6aa-f2edd6441cff" providerId="ADAL" clId="{A0F7D543-B727-034C-88B5-8F838AD07213}" dt="2022-09-10T08:44:33.434" v="1389"/>
          <ac:inkMkLst>
            <pc:docMk/>
            <pc:sldMk cId="2888229444" sldId="297"/>
            <ac:inkMk id="105" creationId="{4E8B7CDE-6D4B-7538-3E36-A7F011CB447D}"/>
          </ac:inkMkLst>
        </pc:inkChg>
        <pc:inkChg chg="add mod">
          <ac:chgData name="Aniket Chhabra" userId="598e0514-bef3-4e71-b6aa-f2edd6441cff" providerId="ADAL" clId="{A0F7D543-B727-034C-88B5-8F838AD07213}" dt="2022-09-10T08:44:33.434" v="1389"/>
          <ac:inkMkLst>
            <pc:docMk/>
            <pc:sldMk cId="2888229444" sldId="297"/>
            <ac:inkMk id="106" creationId="{CBC09529-E080-1DB8-5F2D-17C647BF1C53}"/>
          </ac:inkMkLst>
        </pc:inkChg>
        <pc:inkChg chg="add mod">
          <ac:chgData name="Aniket Chhabra" userId="598e0514-bef3-4e71-b6aa-f2edd6441cff" providerId="ADAL" clId="{A0F7D543-B727-034C-88B5-8F838AD07213}" dt="2022-09-10T08:44:33.434" v="1389"/>
          <ac:inkMkLst>
            <pc:docMk/>
            <pc:sldMk cId="2888229444" sldId="297"/>
            <ac:inkMk id="107" creationId="{7030C8F8-E825-51D4-EDDF-14BE75F4F868}"/>
          </ac:inkMkLst>
        </pc:inkChg>
        <pc:inkChg chg="add mod">
          <ac:chgData name="Aniket Chhabra" userId="598e0514-bef3-4e71-b6aa-f2edd6441cff" providerId="ADAL" clId="{A0F7D543-B727-034C-88B5-8F838AD07213}" dt="2022-09-10T08:44:33.434" v="1389"/>
          <ac:inkMkLst>
            <pc:docMk/>
            <pc:sldMk cId="2888229444" sldId="297"/>
            <ac:inkMk id="108" creationId="{23685E0F-7260-4039-A9FD-B6DEF0EDE659}"/>
          </ac:inkMkLst>
        </pc:inkChg>
        <pc:inkChg chg="add mod">
          <ac:chgData name="Aniket Chhabra" userId="598e0514-bef3-4e71-b6aa-f2edd6441cff" providerId="ADAL" clId="{A0F7D543-B727-034C-88B5-8F838AD07213}" dt="2022-09-10T08:44:33.434" v="1389"/>
          <ac:inkMkLst>
            <pc:docMk/>
            <pc:sldMk cId="2888229444" sldId="297"/>
            <ac:inkMk id="109" creationId="{047C0776-0C8B-8013-30A4-AF9112256FBF}"/>
          </ac:inkMkLst>
        </pc:inkChg>
        <pc:inkChg chg="add mod">
          <ac:chgData name="Aniket Chhabra" userId="598e0514-bef3-4e71-b6aa-f2edd6441cff" providerId="ADAL" clId="{A0F7D543-B727-034C-88B5-8F838AD07213}" dt="2022-09-10T08:44:33.434" v="1389"/>
          <ac:inkMkLst>
            <pc:docMk/>
            <pc:sldMk cId="2888229444" sldId="297"/>
            <ac:inkMk id="110" creationId="{DD6A6921-45BA-2C71-120E-E0BE4CF2CCD5}"/>
          </ac:inkMkLst>
        </pc:inkChg>
        <pc:inkChg chg="add mod">
          <ac:chgData name="Aniket Chhabra" userId="598e0514-bef3-4e71-b6aa-f2edd6441cff" providerId="ADAL" clId="{A0F7D543-B727-034C-88B5-8F838AD07213}" dt="2022-09-10T08:44:33.434" v="1389"/>
          <ac:inkMkLst>
            <pc:docMk/>
            <pc:sldMk cId="2888229444" sldId="297"/>
            <ac:inkMk id="111" creationId="{2FF91906-DC06-C91B-6C6A-9B97838EF0F3}"/>
          </ac:inkMkLst>
        </pc:inkChg>
        <pc:inkChg chg="add mod">
          <ac:chgData name="Aniket Chhabra" userId="598e0514-bef3-4e71-b6aa-f2edd6441cff" providerId="ADAL" clId="{A0F7D543-B727-034C-88B5-8F838AD07213}" dt="2022-09-10T08:44:33.434" v="1389"/>
          <ac:inkMkLst>
            <pc:docMk/>
            <pc:sldMk cId="2888229444" sldId="297"/>
            <ac:inkMk id="112" creationId="{2B191D2C-3B4A-666F-8B0A-2DE1D5CBBD18}"/>
          </ac:inkMkLst>
        </pc:inkChg>
        <pc:inkChg chg="add mod">
          <ac:chgData name="Aniket Chhabra" userId="598e0514-bef3-4e71-b6aa-f2edd6441cff" providerId="ADAL" clId="{A0F7D543-B727-034C-88B5-8F838AD07213}" dt="2022-09-10T08:44:33.434" v="1389"/>
          <ac:inkMkLst>
            <pc:docMk/>
            <pc:sldMk cId="2888229444" sldId="297"/>
            <ac:inkMk id="113" creationId="{E6BACD37-0D21-0D30-E72C-527C4BF38D46}"/>
          </ac:inkMkLst>
        </pc:inkChg>
        <pc:inkChg chg="add mod">
          <ac:chgData name="Aniket Chhabra" userId="598e0514-bef3-4e71-b6aa-f2edd6441cff" providerId="ADAL" clId="{A0F7D543-B727-034C-88B5-8F838AD07213}" dt="2022-09-10T08:44:33.434" v="1389"/>
          <ac:inkMkLst>
            <pc:docMk/>
            <pc:sldMk cId="2888229444" sldId="297"/>
            <ac:inkMk id="114" creationId="{19518451-E909-9625-22BD-0A5128671516}"/>
          </ac:inkMkLst>
        </pc:inkChg>
        <pc:inkChg chg="add mod">
          <ac:chgData name="Aniket Chhabra" userId="598e0514-bef3-4e71-b6aa-f2edd6441cff" providerId="ADAL" clId="{A0F7D543-B727-034C-88B5-8F838AD07213}" dt="2022-09-10T08:44:33.434" v="1389"/>
          <ac:inkMkLst>
            <pc:docMk/>
            <pc:sldMk cId="2888229444" sldId="297"/>
            <ac:inkMk id="115" creationId="{75DF88B7-AC2D-A6CB-0CBD-DEA7507145F0}"/>
          </ac:inkMkLst>
        </pc:inkChg>
        <pc:inkChg chg="add mod">
          <ac:chgData name="Aniket Chhabra" userId="598e0514-bef3-4e71-b6aa-f2edd6441cff" providerId="ADAL" clId="{A0F7D543-B727-034C-88B5-8F838AD07213}" dt="2022-09-10T08:44:23.196" v="1386"/>
          <ac:inkMkLst>
            <pc:docMk/>
            <pc:sldMk cId="2888229444" sldId="297"/>
            <ac:inkMk id="116" creationId="{388CC10B-791A-8295-E6E0-0EC2C16DAFDE}"/>
          </ac:inkMkLst>
        </pc:inkChg>
        <pc:inkChg chg="add mod">
          <ac:chgData name="Aniket Chhabra" userId="598e0514-bef3-4e71-b6aa-f2edd6441cff" providerId="ADAL" clId="{A0F7D543-B727-034C-88B5-8F838AD07213}" dt="2022-09-10T08:44:23.196" v="1386"/>
          <ac:inkMkLst>
            <pc:docMk/>
            <pc:sldMk cId="2888229444" sldId="297"/>
            <ac:inkMk id="117" creationId="{DE8F03C9-AE90-B352-D5BD-53716AB63AFE}"/>
          </ac:inkMkLst>
        </pc:inkChg>
        <pc:inkChg chg="add mod">
          <ac:chgData name="Aniket Chhabra" userId="598e0514-bef3-4e71-b6aa-f2edd6441cff" providerId="ADAL" clId="{A0F7D543-B727-034C-88B5-8F838AD07213}" dt="2022-09-10T08:44:23.196" v="1386"/>
          <ac:inkMkLst>
            <pc:docMk/>
            <pc:sldMk cId="2888229444" sldId="297"/>
            <ac:inkMk id="118" creationId="{8F2D6CDB-9D98-CE15-2CAF-74FD2FC0A7C5}"/>
          </ac:inkMkLst>
        </pc:inkChg>
        <pc:inkChg chg="add mod">
          <ac:chgData name="Aniket Chhabra" userId="598e0514-bef3-4e71-b6aa-f2edd6441cff" providerId="ADAL" clId="{A0F7D543-B727-034C-88B5-8F838AD07213}" dt="2022-09-10T08:44:23.196" v="1386"/>
          <ac:inkMkLst>
            <pc:docMk/>
            <pc:sldMk cId="2888229444" sldId="297"/>
            <ac:inkMk id="119" creationId="{DA0DBD8B-965A-3492-B1C3-670F5CF956BB}"/>
          </ac:inkMkLst>
        </pc:inkChg>
        <pc:inkChg chg="add mod">
          <ac:chgData name="Aniket Chhabra" userId="598e0514-bef3-4e71-b6aa-f2edd6441cff" providerId="ADAL" clId="{A0F7D543-B727-034C-88B5-8F838AD07213}" dt="2022-09-10T08:44:23.196" v="1386"/>
          <ac:inkMkLst>
            <pc:docMk/>
            <pc:sldMk cId="2888229444" sldId="297"/>
            <ac:inkMk id="120" creationId="{8BAFE066-FDBC-EA88-7AE5-A5FCB34C792C}"/>
          </ac:inkMkLst>
        </pc:inkChg>
        <pc:inkChg chg="add mod">
          <ac:chgData name="Aniket Chhabra" userId="598e0514-bef3-4e71-b6aa-f2edd6441cff" providerId="ADAL" clId="{A0F7D543-B727-034C-88B5-8F838AD07213}" dt="2022-09-10T08:44:23.196" v="1386"/>
          <ac:inkMkLst>
            <pc:docMk/>
            <pc:sldMk cId="2888229444" sldId="297"/>
            <ac:inkMk id="121" creationId="{06B8647F-405A-2A0E-3E03-4BBECF79F73D}"/>
          </ac:inkMkLst>
        </pc:inkChg>
        <pc:inkChg chg="add mod">
          <ac:chgData name="Aniket Chhabra" userId="598e0514-bef3-4e71-b6aa-f2edd6441cff" providerId="ADAL" clId="{A0F7D543-B727-034C-88B5-8F838AD07213}" dt="2022-09-10T08:44:23.196" v="1386"/>
          <ac:inkMkLst>
            <pc:docMk/>
            <pc:sldMk cId="2888229444" sldId="297"/>
            <ac:inkMk id="122" creationId="{09E88B95-8348-CA74-4ABB-0E753FDF505E}"/>
          </ac:inkMkLst>
        </pc:inkChg>
        <pc:inkChg chg="add mod">
          <ac:chgData name="Aniket Chhabra" userId="598e0514-bef3-4e71-b6aa-f2edd6441cff" providerId="ADAL" clId="{A0F7D543-B727-034C-88B5-8F838AD07213}" dt="2022-09-10T08:44:23.196" v="1386"/>
          <ac:inkMkLst>
            <pc:docMk/>
            <pc:sldMk cId="2888229444" sldId="297"/>
            <ac:inkMk id="123" creationId="{696DBEFF-123F-DEC0-5492-3A20C8551D37}"/>
          </ac:inkMkLst>
        </pc:inkChg>
        <pc:inkChg chg="add mod">
          <ac:chgData name="Aniket Chhabra" userId="598e0514-bef3-4e71-b6aa-f2edd6441cff" providerId="ADAL" clId="{A0F7D543-B727-034C-88B5-8F838AD07213}" dt="2022-09-10T08:44:23.196" v="1386"/>
          <ac:inkMkLst>
            <pc:docMk/>
            <pc:sldMk cId="2888229444" sldId="297"/>
            <ac:inkMk id="124" creationId="{D09B80E1-EC1C-6679-F2CB-10B4CB1DEA67}"/>
          </ac:inkMkLst>
        </pc:inkChg>
        <pc:inkChg chg="add mod">
          <ac:chgData name="Aniket Chhabra" userId="598e0514-bef3-4e71-b6aa-f2edd6441cff" providerId="ADAL" clId="{A0F7D543-B727-034C-88B5-8F838AD07213}" dt="2022-09-10T08:44:23.196" v="1386"/>
          <ac:inkMkLst>
            <pc:docMk/>
            <pc:sldMk cId="2888229444" sldId="297"/>
            <ac:inkMk id="125" creationId="{A05A9457-B3FE-58FE-7920-198A534EA372}"/>
          </ac:inkMkLst>
        </pc:inkChg>
        <pc:inkChg chg="add mod">
          <ac:chgData name="Aniket Chhabra" userId="598e0514-bef3-4e71-b6aa-f2edd6441cff" providerId="ADAL" clId="{A0F7D543-B727-034C-88B5-8F838AD07213}" dt="2022-09-10T08:44:23.196" v="1386"/>
          <ac:inkMkLst>
            <pc:docMk/>
            <pc:sldMk cId="2888229444" sldId="297"/>
            <ac:inkMk id="126" creationId="{595118E1-07FF-9D4C-4652-208B3E1EA57C}"/>
          </ac:inkMkLst>
        </pc:inkChg>
        <pc:inkChg chg="add mod">
          <ac:chgData name="Aniket Chhabra" userId="598e0514-bef3-4e71-b6aa-f2edd6441cff" providerId="ADAL" clId="{A0F7D543-B727-034C-88B5-8F838AD07213}" dt="2022-09-10T08:44:23.196" v="1386"/>
          <ac:inkMkLst>
            <pc:docMk/>
            <pc:sldMk cId="2888229444" sldId="297"/>
            <ac:inkMk id="127" creationId="{4D851A54-EF54-0DFF-A8F9-37B5BD390573}"/>
          </ac:inkMkLst>
        </pc:inkChg>
        <pc:inkChg chg="add mod">
          <ac:chgData name="Aniket Chhabra" userId="598e0514-bef3-4e71-b6aa-f2edd6441cff" providerId="ADAL" clId="{A0F7D543-B727-034C-88B5-8F838AD07213}" dt="2022-09-10T08:44:23.196" v="1386"/>
          <ac:inkMkLst>
            <pc:docMk/>
            <pc:sldMk cId="2888229444" sldId="297"/>
            <ac:inkMk id="128" creationId="{7E28224C-EC1C-7707-B454-EFF8B0C8FE44}"/>
          </ac:inkMkLst>
        </pc:inkChg>
        <pc:inkChg chg="add mod">
          <ac:chgData name="Aniket Chhabra" userId="598e0514-bef3-4e71-b6aa-f2edd6441cff" providerId="ADAL" clId="{A0F7D543-B727-034C-88B5-8F838AD07213}" dt="2022-09-10T08:44:23.196" v="1386"/>
          <ac:inkMkLst>
            <pc:docMk/>
            <pc:sldMk cId="2888229444" sldId="297"/>
            <ac:inkMk id="129" creationId="{DF297CB5-EBAD-18F1-F3D0-EAA92F2094D6}"/>
          </ac:inkMkLst>
        </pc:inkChg>
        <pc:inkChg chg="add mod">
          <ac:chgData name="Aniket Chhabra" userId="598e0514-bef3-4e71-b6aa-f2edd6441cff" providerId="ADAL" clId="{A0F7D543-B727-034C-88B5-8F838AD07213}" dt="2022-09-10T08:44:23.196" v="1386"/>
          <ac:inkMkLst>
            <pc:docMk/>
            <pc:sldMk cId="2888229444" sldId="297"/>
            <ac:inkMk id="130" creationId="{041E86B0-F881-80F6-4B56-859749187685}"/>
          </ac:inkMkLst>
        </pc:inkChg>
        <pc:inkChg chg="add mod">
          <ac:chgData name="Aniket Chhabra" userId="598e0514-bef3-4e71-b6aa-f2edd6441cff" providerId="ADAL" clId="{A0F7D543-B727-034C-88B5-8F838AD07213}" dt="2022-09-10T08:44:23.196" v="1386"/>
          <ac:inkMkLst>
            <pc:docMk/>
            <pc:sldMk cId="2888229444" sldId="297"/>
            <ac:inkMk id="131" creationId="{5A23D945-E0F2-7B80-4713-A881565878E6}"/>
          </ac:inkMkLst>
        </pc:inkChg>
        <pc:inkChg chg="add mod">
          <ac:chgData name="Aniket Chhabra" userId="598e0514-bef3-4e71-b6aa-f2edd6441cff" providerId="ADAL" clId="{A0F7D543-B727-034C-88B5-8F838AD07213}" dt="2022-09-10T08:44:23.196" v="1386"/>
          <ac:inkMkLst>
            <pc:docMk/>
            <pc:sldMk cId="2888229444" sldId="297"/>
            <ac:inkMk id="132" creationId="{E472E968-854A-8D1A-FBCF-E239B0CD5DFC}"/>
          </ac:inkMkLst>
        </pc:inkChg>
        <pc:inkChg chg="add mod">
          <ac:chgData name="Aniket Chhabra" userId="598e0514-bef3-4e71-b6aa-f2edd6441cff" providerId="ADAL" clId="{A0F7D543-B727-034C-88B5-8F838AD07213}" dt="2022-09-10T08:44:23.196" v="1386"/>
          <ac:inkMkLst>
            <pc:docMk/>
            <pc:sldMk cId="2888229444" sldId="297"/>
            <ac:inkMk id="133" creationId="{2D3AFF46-E6C3-CB91-64A6-B1D33B88BA68}"/>
          </ac:inkMkLst>
        </pc:inkChg>
        <pc:inkChg chg="add mod">
          <ac:chgData name="Aniket Chhabra" userId="598e0514-bef3-4e71-b6aa-f2edd6441cff" providerId="ADAL" clId="{A0F7D543-B727-034C-88B5-8F838AD07213}" dt="2022-09-10T08:44:23.196" v="1386"/>
          <ac:inkMkLst>
            <pc:docMk/>
            <pc:sldMk cId="2888229444" sldId="297"/>
            <ac:inkMk id="138" creationId="{7A546F95-2D47-D608-D603-A74648113000}"/>
          </ac:inkMkLst>
        </pc:inkChg>
        <pc:inkChg chg="add mod">
          <ac:chgData name="Aniket Chhabra" userId="598e0514-bef3-4e71-b6aa-f2edd6441cff" providerId="ADAL" clId="{A0F7D543-B727-034C-88B5-8F838AD07213}" dt="2022-09-10T08:44:23.196" v="1386"/>
          <ac:inkMkLst>
            <pc:docMk/>
            <pc:sldMk cId="2888229444" sldId="297"/>
            <ac:inkMk id="139" creationId="{3571CDF8-D8F3-F7EA-3E07-44DB354EF658}"/>
          </ac:inkMkLst>
        </pc:inkChg>
        <pc:inkChg chg="add mod">
          <ac:chgData name="Aniket Chhabra" userId="598e0514-bef3-4e71-b6aa-f2edd6441cff" providerId="ADAL" clId="{A0F7D543-B727-034C-88B5-8F838AD07213}" dt="2022-09-10T08:44:23.196" v="1386"/>
          <ac:inkMkLst>
            <pc:docMk/>
            <pc:sldMk cId="2888229444" sldId="297"/>
            <ac:inkMk id="140" creationId="{D6C82D25-D7E1-C8A5-64EA-E4FDD99CDE85}"/>
          </ac:inkMkLst>
        </pc:inkChg>
        <pc:inkChg chg="add mod">
          <ac:chgData name="Aniket Chhabra" userId="598e0514-bef3-4e71-b6aa-f2edd6441cff" providerId="ADAL" clId="{A0F7D543-B727-034C-88B5-8F838AD07213}" dt="2022-09-10T08:44:23.196" v="1386"/>
          <ac:inkMkLst>
            <pc:docMk/>
            <pc:sldMk cId="2888229444" sldId="297"/>
            <ac:inkMk id="141" creationId="{D8CD083E-BAAA-BD4D-4A76-755B98EC58C0}"/>
          </ac:inkMkLst>
        </pc:inkChg>
        <pc:inkChg chg="add mod">
          <ac:chgData name="Aniket Chhabra" userId="598e0514-bef3-4e71-b6aa-f2edd6441cff" providerId="ADAL" clId="{A0F7D543-B727-034C-88B5-8F838AD07213}" dt="2022-09-10T08:44:23.196" v="1386"/>
          <ac:inkMkLst>
            <pc:docMk/>
            <pc:sldMk cId="2888229444" sldId="297"/>
            <ac:inkMk id="142" creationId="{26257703-ACB1-366B-42C0-F5E22F2198B4}"/>
          </ac:inkMkLst>
        </pc:inkChg>
        <pc:inkChg chg="add mod">
          <ac:chgData name="Aniket Chhabra" userId="598e0514-bef3-4e71-b6aa-f2edd6441cff" providerId="ADAL" clId="{A0F7D543-B727-034C-88B5-8F838AD07213}" dt="2022-09-10T08:44:23.196" v="1386"/>
          <ac:inkMkLst>
            <pc:docMk/>
            <pc:sldMk cId="2888229444" sldId="297"/>
            <ac:inkMk id="143" creationId="{2B4C96CC-7291-E4BD-7B2B-42BCAE934D20}"/>
          </ac:inkMkLst>
        </pc:inkChg>
        <pc:inkChg chg="add mod">
          <ac:chgData name="Aniket Chhabra" userId="598e0514-bef3-4e71-b6aa-f2edd6441cff" providerId="ADAL" clId="{A0F7D543-B727-034C-88B5-8F838AD07213}" dt="2022-09-10T08:44:23.196" v="1386"/>
          <ac:inkMkLst>
            <pc:docMk/>
            <pc:sldMk cId="2888229444" sldId="297"/>
            <ac:inkMk id="144" creationId="{AE6AEC65-B045-7A37-D816-68DDFC91A02F}"/>
          </ac:inkMkLst>
        </pc:inkChg>
        <pc:inkChg chg="add mod">
          <ac:chgData name="Aniket Chhabra" userId="598e0514-bef3-4e71-b6aa-f2edd6441cff" providerId="ADAL" clId="{A0F7D543-B727-034C-88B5-8F838AD07213}" dt="2022-09-10T08:44:23.196" v="1386"/>
          <ac:inkMkLst>
            <pc:docMk/>
            <pc:sldMk cId="2888229444" sldId="297"/>
            <ac:inkMk id="145" creationId="{B8A71145-50CF-E779-A92D-DE6762EDC820}"/>
          </ac:inkMkLst>
        </pc:inkChg>
        <pc:inkChg chg="add mod">
          <ac:chgData name="Aniket Chhabra" userId="598e0514-bef3-4e71-b6aa-f2edd6441cff" providerId="ADAL" clId="{A0F7D543-B727-034C-88B5-8F838AD07213}" dt="2022-09-10T08:44:23.196" v="1386"/>
          <ac:inkMkLst>
            <pc:docMk/>
            <pc:sldMk cId="2888229444" sldId="297"/>
            <ac:inkMk id="146" creationId="{924B9EC1-475E-D3B4-5F3E-886A1A1C5AD2}"/>
          </ac:inkMkLst>
        </pc:inkChg>
        <pc:inkChg chg="add mod">
          <ac:chgData name="Aniket Chhabra" userId="598e0514-bef3-4e71-b6aa-f2edd6441cff" providerId="ADAL" clId="{A0F7D543-B727-034C-88B5-8F838AD07213}" dt="2022-09-10T08:44:23.196" v="1386"/>
          <ac:inkMkLst>
            <pc:docMk/>
            <pc:sldMk cId="2888229444" sldId="297"/>
            <ac:inkMk id="147" creationId="{C047FB5F-4838-3A52-E6A3-295525FD9CB3}"/>
          </ac:inkMkLst>
        </pc:inkChg>
        <pc:inkChg chg="add mod">
          <ac:chgData name="Aniket Chhabra" userId="598e0514-bef3-4e71-b6aa-f2edd6441cff" providerId="ADAL" clId="{A0F7D543-B727-034C-88B5-8F838AD07213}" dt="2022-09-10T08:44:23.196" v="1386"/>
          <ac:inkMkLst>
            <pc:docMk/>
            <pc:sldMk cId="2888229444" sldId="297"/>
            <ac:inkMk id="148" creationId="{3CEB30A0-F857-037C-0DA1-EA7A018E0B34}"/>
          </ac:inkMkLst>
        </pc:inkChg>
        <pc:inkChg chg="add mod">
          <ac:chgData name="Aniket Chhabra" userId="598e0514-bef3-4e71-b6aa-f2edd6441cff" providerId="ADAL" clId="{A0F7D543-B727-034C-88B5-8F838AD07213}" dt="2022-09-10T08:44:23.196" v="1386"/>
          <ac:inkMkLst>
            <pc:docMk/>
            <pc:sldMk cId="2888229444" sldId="297"/>
            <ac:inkMk id="150" creationId="{0AB166B6-751D-95C7-9B18-979192780572}"/>
          </ac:inkMkLst>
        </pc:inkChg>
        <pc:inkChg chg="add mod">
          <ac:chgData name="Aniket Chhabra" userId="598e0514-bef3-4e71-b6aa-f2edd6441cff" providerId="ADAL" clId="{A0F7D543-B727-034C-88B5-8F838AD07213}" dt="2022-09-10T08:44:23.196" v="1386"/>
          <ac:inkMkLst>
            <pc:docMk/>
            <pc:sldMk cId="2888229444" sldId="297"/>
            <ac:inkMk id="151" creationId="{F4D61157-641E-6B27-2A3B-4057D5000C46}"/>
          </ac:inkMkLst>
        </pc:inkChg>
        <pc:inkChg chg="add mod">
          <ac:chgData name="Aniket Chhabra" userId="598e0514-bef3-4e71-b6aa-f2edd6441cff" providerId="ADAL" clId="{A0F7D543-B727-034C-88B5-8F838AD07213}" dt="2022-09-10T08:44:23.196" v="1386"/>
          <ac:inkMkLst>
            <pc:docMk/>
            <pc:sldMk cId="2888229444" sldId="297"/>
            <ac:inkMk id="152" creationId="{BA0F2B1D-1A17-DD12-206C-CAF0869DE4D1}"/>
          </ac:inkMkLst>
        </pc:inkChg>
        <pc:inkChg chg="add mod">
          <ac:chgData name="Aniket Chhabra" userId="598e0514-bef3-4e71-b6aa-f2edd6441cff" providerId="ADAL" clId="{A0F7D543-B727-034C-88B5-8F838AD07213}" dt="2022-09-10T08:44:23.196" v="1386"/>
          <ac:inkMkLst>
            <pc:docMk/>
            <pc:sldMk cId="2888229444" sldId="297"/>
            <ac:inkMk id="153" creationId="{3340125B-24FB-B90D-0C64-461CF347E278}"/>
          </ac:inkMkLst>
        </pc:inkChg>
        <pc:inkChg chg="add mod">
          <ac:chgData name="Aniket Chhabra" userId="598e0514-bef3-4e71-b6aa-f2edd6441cff" providerId="ADAL" clId="{A0F7D543-B727-034C-88B5-8F838AD07213}" dt="2022-09-10T08:44:23.196" v="1386"/>
          <ac:inkMkLst>
            <pc:docMk/>
            <pc:sldMk cId="2888229444" sldId="297"/>
            <ac:inkMk id="154" creationId="{6D27FB02-8BCF-D91A-9086-90A517416E56}"/>
          </ac:inkMkLst>
        </pc:inkChg>
        <pc:inkChg chg="add mod">
          <ac:chgData name="Aniket Chhabra" userId="598e0514-bef3-4e71-b6aa-f2edd6441cff" providerId="ADAL" clId="{A0F7D543-B727-034C-88B5-8F838AD07213}" dt="2022-09-10T08:44:23.196" v="1386"/>
          <ac:inkMkLst>
            <pc:docMk/>
            <pc:sldMk cId="2888229444" sldId="297"/>
            <ac:inkMk id="155" creationId="{FE0A9300-99C7-B090-B829-DE2DA045749A}"/>
          </ac:inkMkLst>
        </pc:inkChg>
        <pc:inkChg chg="add mod">
          <ac:chgData name="Aniket Chhabra" userId="598e0514-bef3-4e71-b6aa-f2edd6441cff" providerId="ADAL" clId="{A0F7D543-B727-034C-88B5-8F838AD07213}" dt="2022-09-10T08:44:23.196" v="1386"/>
          <ac:inkMkLst>
            <pc:docMk/>
            <pc:sldMk cId="2888229444" sldId="297"/>
            <ac:inkMk id="157" creationId="{C69BAA19-FE45-930B-84FF-EF1CBCA472E8}"/>
          </ac:inkMkLst>
        </pc:inkChg>
        <pc:inkChg chg="add">
          <ac:chgData name="Aniket Chhabra" userId="598e0514-bef3-4e71-b6aa-f2edd6441cff" providerId="ADAL" clId="{A0F7D543-B727-034C-88B5-8F838AD07213}" dt="2022-09-10T08:44:23.741" v="1387" actId="9405"/>
          <ac:inkMkLst>
            <pc:docMk/>
            <pc:sldMk cId="2888229444" sldId="297"/>
            <ac:inkMk id="159" creationId="{9BDC8013-022B-57C5-4508-9B09B0E68E40}"/>
          </ac:inkMkLst>
        </pc:inkChg>
        <pc:inkChg chg="add mod">
          <ac:chgData name="Aniket Chhabra" userId="598e0514-bef3-4e71-b6aa-f2edd6441cff" providerId="ADAL" clId="{A0F7D543-B727-034C-88B5-8F838AD07213}" dt="2022-09-10T08:44:33.434" v="1389"/>
          <ac:inkMkLst>
            <pc:docMk/>
            <pc:sldMk cId="2888229444" sldId="297"/>
            <ac:inkMk id="160" creationId="{2F0BEBF6-04BF-6F49-02A0-D6DCC093786C}"/>
          </ac:inkMkLst>
        </pc:inkChg>
      </pc:sldChg>
      <pc:sldChg chg="addSp delSp modSp mod">
        <pc:chgData name="Aniket Chhabra" userId="598e0514-bef3-4e71-b6aa-f2edd6441cff" providerId="ADAL" clId="{A0F7D543-B727-034C-88B5-8F838AD07213}" dt="2022-09-10T08:45:21.926" v="1412"/>
        <pc:sldMkLst>
          <pc:docMk/>
          <pc:sldMk cId="3185156791" sldId="298"/>
        </pc:sldMkLst>
        <pc:grpChg chg="mod">
          <ac:chgData name="Aniket Chhabra" userId="598e0514-bef3-4e71-b6aa-f2edd6441cff" providerId="ADAL" clId="{A0F7D543-B727-034C-88B5-8F838AD07213}" dt="2022-08-21T06:46:47.482" v="224"/>
          <ac:grpSpMkLst>
            <pc:docMk/>
            <pc:sldMk cId="3185156791" sldId="298"/>
            <ac:grpSpMk id="56" creationId="{71F8989E-7728-B1BF-3022-F2F87E1F3CE3}"/>
          </ac:grpSpMkLst>
        </pc:grpChg>
        <pc:grpChg chg="mod">
          <ac:chgData name="Aniket Chhabra" userId="598e0514-bef3-4e71-b6aa-f2edd6441cff" providerId="ADAL" clId="{A0F7D543-B727-034C-88B5-8F838AD07213}" dt="2022-09-10T08:45:11.110" v="1399"/>
          <ac:grpSpMkLst>
            <pc:docMk/>
            <pc:sldMk cId="3185156791" sldId="298"/>
            <ac:grpSpMk id="60" creationId="{9D47CE45-DB24-D9F9-11F5-55AB4C453154}"/>
          </ac:grpSpMkLst>
        </pc:grpChg>
        <pc:grpChg chg="mod">
          <ac:chgData name="Aniket Chhabra" userId="598e0514-bef3-4e71-b6aa-f2edd6441cff" providerId="ADAL" clId="{A0F7D543-B727-034C-88B5-8F838AD07213}" dt="2022-08-21T06:46:52.102" v="232"/>
          <ac:grpSpMkLst>
            <pc:docMk/>
            <pc:sldMk cId="3185156791" sldId="298"/>
            <ac:grpSpMk id="68" creationId="{9DF8EEB2-BE3B-6CB7-C51E-A4EB34662BD2}"/>
          </ac:grpSpMkLst>
        </pc:grpChg>
        <pc:grpChg chg="mod">
          <ac:chgData name="Aniket Chhabra" userId="598e0514-bef3-4e71-b6aa-f2edd6441cff" providerId="ADAL" clId="{A0F7D543-B727-034C-88B5-8F838AD07213}" dt="2022-09-10T08:45:08.536" v="1396"/>
          <ac:grpSpMkLst>
            <pc:docMk/>
            <pc:sldMk cId="3185156791" sldId="298"/>
            <ac:grpSpMk id="76" creationId="{47CD77CD-EDA5-1ADB-1035-EA46A42A80EE}"/>
          </ac:grpSpMkLst>
        </pc:grpChg>
        <pc:grpChg chg="mod">
          <ac:chgData name="Aniket Chhabra" userId="598e0514-bef3-4e71-b6aa-f2edd6441cff" providerId="ADAL" clId="{A0F7D543-B727-034C-88B5-8F838AD07213}" dt="2022-09-10T08:45:21.926" v="1412"/>
          <ac:grpSpMkLst>
            <pc:docMk/>
            <pc:sldMk cId="3185156791" sldId="298"/>
            <ac:grpSpMk id="89" creationId="{C99CAA38-2BC1-41EC-6F5F-B63AD688DB0D}"/>
          </ac:grpSpMkLst>
        </pc:grpChg>
        <pc:inkChg chg="mod">
          <ac:chgData name="Aniket Chhabra" userId="598e0514-bef3-4e71-b6aa-f2edd6441cff" providerId="ADAL" clId="{A0F7D543-B727-034C-88B5-8F838AD07213}" dt="2022-09-10T08:45:11.110" v="1399"/>
          <ac:inkMkLst>
            <pc:docMk/>
            <pc:sldMk cId="3185156791" sldId="298"/>
            <ac:inkMk id="17" creationId="{82C29E33-21AF-E50A-4403-0AFFFB4C3AC0}"/>
          </ac:inkMkLst>
        </pc:inkChg>
        <pc:inkChg chg="mod">
          <ac:chgData name="Aniket Chhabra" userId="598e0514-bef3-4e71-b6aa-f2edd6441cff" providerId="ADAL" clId="{A0F7D543-B727-034C-88B5-8F838AD07213}" dt="2022-09-10T08:45:11.110" v="1399"/>
          <ac:inkMkLst>
            <pc:docMk/>
            <pc:sldMk cId="3185156791" sldId="298"/>
            <ac:inkMk id="18" creationId="{45CE4ED1-3D6C-1A62-3807-BC56EE36525A}"/>
          </ac:inkMkLst>
        </pc:inkChg>
        <pc:inkChg chg="add mod">
          <ac:chgData name="Aniket Chhabra" userId="598e0514-bef3-4e71-b6aa-f2edd6441cff" providerId="ADAL" clId="{A0F7D543-B727-034C-88B5-8F838AD07213}" dt="2022-08-21T06:46:47.482" v="224"/>
          <ac:inkMkLst>
            <pc:docMk/>
            <pc:sldMk cId="3185156791" sldId="298"/>
            <ac:inkMk id="19" creationId="{85D1F4A4-6646-C45B-DDED-8E395CF2DB9F}"/>
          </ac:inkMkLst>
        </pc:inkChg>
        <pc:inkChg chg="add mod">
          <ac:chgData name="Aniket Chhabra" userId="598e0514-bef3-4e71-b6aa-f2edd6441cff" providerId="ADAL" clId="{A0F7D543-B727-034C-88B5-8F838AD07213}" dt="2022-08-21T06:46:47.482" v="224"/>
          <ac:inkMkLst>
            <pc:docMk/>
            <pc:sldMk cId="3185156791" sldId="298"/>
            <ac:inkMk id="35" creationId="{6A6491C8-38BB-B5BA-A61A-E534EAC2C6A8}"/>
          </ac:inkMkLst>
        </pc:inkChg>
        <pc:inkChg chg="mod">
          <ac:chgData name="Aniket Chhabra" userId="598e0514-bef3-4e71-b6aa-f2edd6441cff" providerId="ADAL" clId="{A0F7D543-B727-034C-88B5-8F838AD07213}" dt="2022-09-10T08:45:11.110" v="1399"/>
          <ac:inkMkLst>
            <pc:docMk/>
            <pc:sldMk cId="3185156791" sldId="298"/>
            <ac:inkMk id="55" creationId="{E9D6801D-E81E-3412-C986-BBBA6A6739E4}"/>
          </ac:inkMkLst>
        </pc:inkChg>
        <pc:inkChg chg="del">
          <ac:chgData name="Aniket Chhabra" userId="598e0514-bef3-4e71-b6aa-f2edd6441cff" providerId="ADAL" clId="{A0F7D543-B727-034C-88B5-8F838AD07213}" dt="2022-09-10T08:45:11.110" v="1397"/>
          <ac:inkMkLst>
            <pc:docMk/>
            <pc:sldMk cId="3185156791" sldId="298"/>
            <ac:inkMk id="57" creationId="{9DBFE116-377E-ED5C-2D81-29BD333C4AA6}"/>
          </ac:inkMkLst>
        </pc:inkChg>
        <pc:inkChg chg="del mod">
          <ac:chgData name="Aniket Chhabra" userId="598e0514-bef3-4e71-b6aa-f2edd6441cff" providerId="ADAL" clId="{A0F7D543-B727-034C-88B5-8F838AD07213}" dt="2022-09-10T08:45:11.110" v="1399"/>
          <ac:inkMkLst>
            <pc:docMk/>
            <pc:sldMk cId="3185156791" sldId="298"/>
            <ac:inkMk id="58" creationId="{7874300E-E334-69F0-9619-D3984854664E}"/>
          </ac:inkMkLst>
        </pc:inkChg>
        <pc:inkChg chg="del mod">
          <ac:chgData name="Aniket Chhabra" userId="598e0514-bef3-4e71-b6aa-f2edd6441cff" providerId="ADAL" clId="{A0F7D543-B727-034C-88B5-8F838AD07213}" dt="2022-09-10T08:45:11.110" v="1398"/>
          <ac:inkMkLst>
            <pc:docMk/>
            <pc:sldMk cId="3185156791" sldId="298"/>
            <ac:inkMk id="59" creationId="{6CFF0536-EF3F-A392-1367-C74BD2ED9B18}"/>
          </ac:inkMkLst>
        </pc:inkChg>
        <pc:inkChg chg="add mod">
          <ac:chgData name="Aniket Chhabra" userId="598e0514-bef3-4e71-b6aa-f2edd6441cff" providerId="ADAL" clId="{A0F7D543-B727-034C-88B5-8F838AD07213}" dt="2022-08-21T06:46:52.102" v="232"/>
          <ac:inkMkLst>
            <pc:docMk/>
            <pc:sldMk cId="3185156791" sldId="298"/>
            <ac:inkMk id="61" creationId="{70AC1795-0695-77F0-69AD-5FD9C9FF8B94}"/>
          </ac:inkMkLst>
        </pc:inkChg>
        <pc:inkChg chg="add mod">
          <ac:chgData name="Aniket Chhabra" userId="598e0514-bef3-4e71-b6aa-f2edd6441cff" providerId="ADAL" clId="{A0F7D543-B727-034C-88B5-8F838AD07213}" dt="2022-08-21T06:46:52.102" v="232"/>
          <ac:inkMkLst>
            <pc:docMk/>
            <pc:sldMk cId="3185156791" sldId="298"/>
            <ac:inkMk id="62" creationId="{8A6C1365-80A9-E3D0-3818-DF5B945CFE46}"/>
          </ac:inkMkLst>
        </pc:inkChg>
        <pc:inkChg chg="add mod">
          <ac:chgData name="Aniket Chhabra" userId="598e0514-bef3-4e71-b6aa-f2edd6441cff" providerId="ADAL" clId="{A0F7D543-B727-034C-88B5-8F838AD07213}" dt="2022-08-21T06:46:52.102" v="232"/>
          <ac:inkMkLst>
            <pc:docMk/>
            <pc:sldMk cId="3185156791" sldId="298"/>
            <ac:inkMk id="63" creationId="{6D341D63-9E04-B04E-5C04-B352BDAE4CA8}"/>
          </ac:inkMkLst>
        </pc:inkChg>
        <pc:inkChg chg="add mod">
          <ac:chgData name="Aniket Chhabra" userId="598e0514-bef3-4e71-b6aa-f2edd6441cff" providerId="ADAL" clId="{A0F7D543-B727-034C-88B5-8F838AD07213}" dt="2022-08-21T06:46:52.102" v="232"/>
          <ac:inkMkLst>
            <pc:docMk/>
            <pc:sldMk cId="3185156791" sldId="298"/>
            <ac:inkMk id="64" creationId="{DEA86434-27B4-9BA4-FE74-52391350DB4C}"/>
          </ac:inkMkLst>
        </pc:inkChg>
        <pc:inkChg chg="add mod">
          <ac:chgData name="Aniket Chhabra" userId="598e0514-bef3-4e71-b6aa-f2edd6441cff" providerId="ADAL" clId="{A0F7D543-B727-034C-88B5-8F838AD07213}" dt="2022-08-21T06:46:52.102" v="232"/>
          <ac:inkMkLst>
            <pc:docMk/>
            <pc:sldMk cId="3185156791" sldId="298"/>
            <ac:inkMk id="65" creationId="{D140B60B-98E4-606E-7F8A-1A08178CB48B}"/>
          </ac:inkMkLst>
        </pc:inkChg>
        <pc:inkChg chg="add">
          <ac:chgData name="Aniket Chhabra" userId="598e0514-bef3-4e71-b6aa-f2edd6441cff" providerId="ADAL" clId="{A0F7D543-B727-034C-88B5-8F838AD07213}" dt="2022-08-21T06:46:51.073" v="230" actId="9405"/>
          <ac:inkMkLst>
            <pc:docMk/>
            <pc:sldMk cId="3185156791" sldId="298"/>
            <ac:inkMk id="66" creationId="{43B663A7-CF86-3E23-4238-9AD655C4AEB4}"/>
          </ac:inkMkLst>
        </pc:inkChg>
        <pc:inkChg chg="add">
          <ac:chgData name="Aniket Chhabra" userId="598e0514-bef3-4e71-b6aa-f2edd6441cff" providerId="ADAL" clId="{A0F7D543-B727-034C-88B5-8F838AD07213}" dt="2022-08-21T06:46:51.245" v="231" actId="9405"/>
          <ac:inkMkLst>
            <pc:docMk/>
            <pc:sldMk cId="3185156791" sldId="298"/>
            <ac:inkMk id="67" creationId="{47DAB679-5C6B-F162-127F-F7619C5BB533}"/>
          </ac:inkMkLst>
        </pc:inkChg>
        <pc:inkChg chg="add">
          <ac:chgData name="Aniket Chhabra" userId="598e0514-bef3-4e71-b6aa-f2edd6441cff" providerId="ADAL" clId="{A0F7D543-B727-034C-88B5-8F838AD07213}" dt="2022-08-21T06:47:33.091" v="233" actId="9405"/>
          <ac:inkMkLst>
            <pc:docMk/>
            <pc:sldMk cId="3185156791" sldId="298"/>
            <ac:inkMk id="69" creationId="{0DBF42D9-2813-A7FB-3BAF-53A40E7EE9C0}"/>
          </ac:inkMkLst>
        </pc:inkChg>
        <pc:inkChg chg="add mod">
          <ac:chgData name="Aniket Chhabra" userId="598e0514-bef3-4e71-b6aa-f2edd6441cff" providerId="ADAL" clId="{A0F7D543-B727-034C-88B5-8F838AD07213}" dt="2022-09-10T08:45:08.536" v="1396"/>
          <ac:inkMkLst>
            <pc:docMk/>
            <pc:sldMk cId="3185156791" sldId="298"/>
            <ac:inkMk id="70" creationId="{A50ABF4A-7D27-B88F-ABA9-800359DC4B12}"/>
          </ac:inkMkLst>
        </pc:inkChg>
        <pc:inkChg chg="add mod">
          <ac:chgData name="Aniket Chhabra" userId="598e0514-bef3-4e71-b6aa-f2edd6441cff" providerId="ADAL" clId="{A0F7D543-B727-034C-88B5-8F838AD07213}" dt="2022-09-10T08:45:08.536" v="1396"/>
          <ac:inkMkLst>
            <pc:docMk/>
            <pc:sldMk cId="3185156791" sldId="298"/>
            <ac:inkMk id="71" creationId="{488AABC1-7347-623D-DBC2-041C1A72B8D2}"/>
          </ac:inkMkLst>
        </pc:inkChg>
        <pc:inkChg chg="add mod">
          <ac:chgData name="Aniket Chhabra" userId="598e0514-bef3-4e71-b6aa-f2edd6441cff" providerId="ADAL" clId="{A0F7D543-B727-034C-88B5-8F838AD07213}" dt="2022-09-10T08:45:08.536" v="1396"/>
          <ac:inkMkLst>
            <pc:docMk/>
            <pc:sldMk cId="3185156791" sldId="298"/>
            <ac:inkMk id="72" creationId="{3A8D91B0-EA66-7CEB-D698-8728219A4A4C}"/>
          </ac:inkMkLst>
        </pc:inkChg>
        <pc:inkChg chg="add mod">
          <ac:chgData name="Aniket Chhabra" userId="598e0514-bef3-4e71-b6aa-f2edd6441cff" providerId="ADAL" clId="{A0F7D543-B727-034C-88B5-8F838AD07213}" dt="2022-09-10T08:45:08.536" v="1396"/>
          <ac:inkMkLst>
            <pc:docMk/>
            <pc:sldMk cId="3185156791" sldId="298"/>
            <ac:inkMk id="73" creationId="{3B16F65E-E76E-9603-798C-AE7D5FA728ED}"/>
          </ac:inkMkLst>
        </pc:inkChg>
        <pc:inkChg chg="add mod">
          <ac:chgData name="Aniket Chhabra" userId="598e0514-bef3-4e71-b6aa-f2edd6441cff" providerId="ADAL" clId="{A0F7D543-B727-034C-88B5-8F838AD07213}" dt="2022-09-10T08:45:08.536" v="1396"/>
          <ac:inkMkLst>
            <pc:docMk/>
            <pc:sldMk cId="3185156791" sldId="298"/>
            <ac:inkMk id="74" creationId="{63384CBD-8641-79E7-24FE-BBAC2F9F585D}"/>
          </ac:inkMkLst>
        </pc:inkChg>
        <pc:inkChg chg="add mod">
          <ac:chgData name="Aniket Chhabra" userId="598e0514-bef3-4e71-b6aa-f2edd6441cff" providerId="ADAL" clId="{A0F7D543-B727-034C-88B5-8F838AD07213}" dt="2022-09-10T08:45:08.536" v="1396"/>
          <ac:inkMkLst>
            <pc:docMk/>
            <pc:sldMk cId="3185156791" sldId="298"/>
            <ac:inkMk id="75" creationId="{42E3D02A-FE96-8B25-4DCE-E62DEFE9FD5D}"/>
          </ac:inkMkLst>
        </pc:inkChg>
        <pc:inkChg chg="add mod">
          <ac:chgData name="Aniket Chhabra" userId="598e0514-bef3-4e71-b6aa-f2edd6441cff" providerId="ADAL" clId="{A0F7D543-B727-034C-88B5-8F838AD07213}" dt="2022-09-10T08:45:21.926" v="1412"/>
          <ac:inkMkLst>
            <pc:docMk/>
            <pc:sldMk cId="3185156791" sldId="298"/>
            <ac:inkMk id="77" creationId="{296284B0-AB84-8C7A-8060-4FBC2FEAB86C}"/>
          </ac:inkMkLst>
        </pc:inkChg>
        <pc:inkChg chg="add mod">
          <ac:chgData name="Aniket Chhabra" userId="598e0514-bef3-4e71-b6aa-f2edd6441cff" providerId="ADAL" clId="{A0F7D543-B727-034C-88B5-8F838AD07213}" dt="2022-09-10T08:45:21.926" v="1412"/>
          <ac:inkMkLst>
            <pc:docMk/>
            <pc:sldMk cId="3185156791" sldId="298"/>
            <ac:inkMk id="78" creationId="{97E89503-7A3E-600A-EECE-14A14FF19D2C}"/>
          </ac:inkMkLst>
        </pc:inkChg>
        <pc:inkChg chg="add mod">
          <ac:chgData name="Aniket Chhabra" userId="598e0514-bef3-4e71-b6aa-f2edd6441cff" providerId="ADAL" clId="{A0F7D543-B727-034C-88B5-8F838AD07213}" dt="2022-09-10T08:45:21.926" v="1412"/>
          <ac:inkMkLst>
            <pc:docMk/>
            <pc:sldMk cId="3185156791" sldId="298"/>
            <ac:inkMk id="79" creationId="{1A517405-6D8B-63D4-49F0-6A7DC46E0866}"/>
          </ac:inkMkLst>
        </pc:inkChg>
        <pc:inkChg chg="add mod">
          <ac:chgData name="Aniket Chhabra" userId="598e0514-bef3-4e71-b6aa-f2edd6441cff" providerId="ADAL" clId="{A0F7D543-B727-034C-88B5-8F838AD07213}" dt="2022-09-10T08:45:21.926" v="1412"/>
          <ac:inkMkLst>
            <pc:docMk/>
            <pc:sldMk cId="3185156791" sldId="298"/>
            <ac:inkMk id="80" creationId="{65BB6883-2001-87FA-E4DC-439178DE7B93}"/>
          </ac:inkMkLst>
        </pc:inkChg>
        <pc:inkChg chg="add mod">
          <ac:chgData name="Aniket Chhabra" userId="598e0514-bef3-4e71-b6aa-f2edd6441cff" providerId="ADAL" clId="{A0F7D543-B727-034C-88B5-8F838AD07213}" dt="2022-09-10T08:45:21.926" v="1412"/>
          <ac:inkMkLst>
            <pc:docMk/>
            <pc:sldMk cId="3185156791" sldId="298"/>
            <ac:inkMk id="81" creationId="{0E58C08D-6925-5EB5-E8CF-C976839C74BE}"/>
          </ac:inkMkLst>
        </pc:inkChg>
        <pc:inkChg chg="add mod">
          <ac:chgData name="Aniket Chhabra" userId="598e0514-bef3-4e71-b6aa-f2edd6441cff" providerId="ADAL" clId="{A0F7D543-B727-034C-88B5-8F838AD07213}" dt="2022-09-10T08:45:21.926" v="1412"/>
          <ac:inkMkLst>
            <pc:docMk/>
            <pc:sldMk cId="3185156791" sldId="298"/>
            <ac:inkMk id="82" creationId="{B2730962-88EC-0909-8702-83F87DEB9F93}"/>
          </ac:inkMkLst>
        </pc:inkChg>
        <pc:inkChg chg="add mod">
          <ac:chgData name="Aniket Chhabra" userId="598e0514-bef3-4e71-b6aa-f2edd6441cff" providerId="ADAL" clId="{A0F7D543-B727-034C-88B5-8F838AD07213}" dt="2022-09-10T08:45:21.926" v="1412"/>
          <ac:inkMkLst>
            <pc:docMk/>
            <pc:sldMk cId="3185156791" sldId="298"/>
            <ac:inkMk id="83" creationId="{CC7A885A-C646-7B50-D13B-B218311593F1}"/>
          </ac:inkMkLst>
        </pc:inkChg>
        <pc:inkChg chg="add mod">
          <ac:chgData name="Aniket Chhabra" userId="598e0514-bef3-4e71-b6aa-f2edd6441cff" providerId="ADAL" clId="{A0F7D543-B727-034C-88B5-8F838AD07213}" dt="2022-09-10T08:45:21.926" v="1412"/>
          <ac:inkMkLst>
            <pc:docMk/>
            <pc:sldMk cId="3185156791" sldId="298"/>
            <ac:inkMk id="84" creationId="{E3A0A8BC-94CE-5581-8025-CBE3EDEE8D7B}"/>
          </ac:inkMkLst>
        </pc:inkChg>
        <pc:inkChg chg="add mod">
          <ac:chgData name="Aniket Chhabra" userId="598e0514-bef3-4e71-b6aa-f2edd6441cff" providerId="ADAL" clId="{A0F7D543-B727-034C-88B5-8F838AD07213}" dt="2022-09-10T08:45:21.926" v="1412"/>
          <ac:inkMkLst>
            <pc:docMk/>
            <pc:sldMk cId="3185156791" sldId="298"/>
            <ac:inkMk id="85" creationId="{FE5B92E7-5127-ED5A-4545-F6683B7888BB}"/>
          </ac:inkMkLst>
        </pc:inkChg>
        <pc:inkChg chg="add mod">
          <ac:chgData name="Aniket Chhabra" userId="598e0514-bef3-4e71-b6aa-f2edd6441cff" providerId="ADAL" clId="{A0F7D543-B727-034C-88B5-8F838AD07213}" dt="2022-09-10T08:45:21.926" v="1412"/>
          <ac:inkMkLst>
            <pc:docMk/>
            <pc:sldMk cId="3185156791" sldId="298"/>
            <ac:inkMk id="86" creationId="{37DA23CB-B943-FEE2-CDAF-1476F59BF151}"/>
          </ac:inkMkLst>
        </pc:inkChg>
        <pc:inkChg chg="add mod">
          <ac:chgData name="Aniket Chhabra" userId="598e0514-bef3-4e71-b6aa-f2edd6441cff" providerId="ADAL" clId="{A0F7D543-B727-034C-88B5-8F838AD07213}" dt="2022-09-10T08:45:21.926" v="1412"/>
          <ac:inkMkLst>
            <pc:docMk/>
            <pc:sldMk cId="3185156791" sldId="298"/>
            <ac:inkMk id="87" creationId="{76028A06-0482-7070-4971-484596B0F824}"/>
          </ac:inkMkLst>
        </pc:inkChg>
        <pc:inkChg chg="add mod">
          <ac:chgData name="Aniket Chhabra" userId="598e0514-bef3-4e71-b6aa-f2edd6441cff" providerId="ADAL" clId="{A0F7D543-B727-034C-88B5-8F838AD07213}" dt="2022-09-10T08:45:21.926" v="1412"/>
          <ac:inkMkLst>
            <pc:docMk/>
            <pc:sldMk cId="3185156791" sldId="298"/>
            <ac:inkMk id="88" creationId="{4BE51084-F597-51D6-F02A-ABADB8640375}"/>
          </ac:inkMkLst>
        </pc:inkChg>
      </pc:sldChg>
      <pc:sldChg chg="addSp modSp mod">
        <pc:chgData name="Aniket Chhabra" userId="598e0514-bef3-4e71-b6aa-f2edd6441cff" providerId="ADAL" clId="{A0F7D543-B727-034C-88B5-8F838AD07213}" dt="2022-08-21T06:48:51.878" v="236"/>
        <pc:sldMkLst>
          <pc:docMk/>
          <pc:sldMk cId="2251539055" sldId="299"/>
        </pc:sldMkLst>
        <pc:grpChg chg="mod">
          <ac:chgData name="Aniket Chhabra" userId="598e0514-bef3-4e71-b6aa-f2edd6441cff" providerId="ADAL" clId="{A0F7D543-B727-034C-88B5-8F838AD07213}" dt="2022-08-21T06:48:51.878" v="236"/>
          <ac:grpSpMkLst>
            <pc:docMk/>
            <pc:sldMk cId="2251539055" sldId="299"/>
            <ac:grpSpMk id="7" creationId="{FA7200A6-428B-2FA9-6B09-ABB8333E46F4}"/>
          </ac:grpSpMkLst>
        </pc:grpChg>
        <pc:inkChg chg="add mod">
          <ac:chgData name="Aniket Chhabra" userId="598e0514-bef3-4e71-b6aa-f2edd6441cff" providerId="ADAL" clId="{A0F7D543-B727-034C-88B5-8F838AD07213}" dt="2022-08-21T06:48:51.878" v="236"/>
          <ac:inkMkLst>
            <pc:docMk/>
            <pc:sldMk cId="2251539055" sldId="299"/>
            <ac:inkMk id="4" creationId="{77B8C637-D983-D6F0-C70E-DB120AD2A164}"/>
          </ac:inkMkLst>
        </pc:inkChg>
        <pc:inkChg chg="add mod">
          <ac:chgData name="Aniket Chhabra" userId="598e0514-bef3-4e71-b6aa-f2edd6441cff" providerId="ADAL" clId="{A0F7D543-B727-034C-88B5-8F838AD07213}" dt="2022-08-21T06:48:51.878" v="236"/>
          <ac:inkMkLst>
            <pc:docMk/>
            <pc:sldMk cId="2251539055" sldId="299"/>
            <ac:inkMk id="6" creationId="{EBCBBB1B-DD25-8DD7-811F-882B74DB26CB}"/>
          </ac:inkMkLst>
        </pc:inkChg>
      </pc:sldChg>
      <pc:sldChg chg="addSp delSp modSp mod">
        <pc:chgData name="Aniket Chhabra" userId="598e0514-bef3-4e71-b6aa-f2edd6441cff" providerId="ADAL" clId="{A0F7D543-B727-034C-88B5-8F838AD07213}" dt="2022-09-10T08:48:05.849" v="1423" actId="9405"/>
        <pc:sldMkLst>
          <pc:docMk/>
          <pc:sldMk cId="3478359748" sldId="301"/>
        </pc:sldMkLst>
        <pc:grpChg chg="del mod">
          <ac:chgData name="Aniket Chhabra" userId="598e0514-bef3-4e71-b6aa-f2edd6441cff" providerId="ADAL" clId="{A0F7D543-B727-034C-88B5-8F838AD07213}" dt="2022-09-10T08:45:58.631" v="1415"/>
          <ac:grpSpMkLst>
            <pc:docMk/>
            <pc:sldMk cId="3478359748" sldId="301"/>
            <ac:grpSpMk id="52" creationId="{03FB38E7-3898-4AE7-ACAB-294F1C59F0CD}"/>
          </ac:grpSpMkLst>
        </pc:grpChg>
        <pc:inkChg chg="mod">
          <ac:chgData name="Aniket Chhabra" userId="598e0514-bef3-4e71-b6aa-f2edd6441cff" providerId="ADAL" clId="{A0F7D543-B727-034C-88B5-8F838AD07213}" dt="2022-09-10T08:45:59.089" v="1418"/>
          <ac:inkMkLst>
            <pc:docMk/>
            <pc:sldMk cId="3478359748" sldId="301"/>
            <ac:inkMk id="2" creationId="{DF21E9CB-F10A-4563-8DF0-6C1922E5312F}"/>
          </ac:inkMkLst>
        </pc:inkChg>
        <pc:inkChg chg="add">
          <ac:chgData name="Aniket Chhabra" userId="598e0514-bef3-4e71-b6aa-f2edd6441cff" providerId="ADAL" clId="{A0F7D543-B727-034C-88B5-8F838AD07213}" dt="2022-09-10T08:46:07.574" v="1419" actId="9405"/>
          <ac:inkMkLst>
            <pc:docMk/>
            <pc:sldMk cId="3478359748" sldId="301"/>
            <ac:inkMk id="6" creationId="{AC2BC7D0-A0CE-7809-0C88-3C69D6715CAF}"/>
          </ac:inkMkLst>
        </pc:inkChg>
        <pc:inkChg chg="add">
          <ac:chgData name="Aniket Chhabra" userId="598e0514-bef3-4e71-b6aa-f2edd6441cff" providerId="ADAL" clId="{A0F7D543-B727-034C-88B5-8F838AD07213}" dt="2022-09-10T08:47:02.844" v="1421" actId="9405"/>
          <ac:inkMkLst>
            <pc:docMk/>
            <pc:sldMk cId="3478359748" sldId="301"/>
            <ac:inkMk id="7" creationId="{6F78FFF1-0960-7408-6BEA-D67A58FE8D1C}"/>
          </ac:inkMkLst>
        </pc:inkChg>
        <pc:inkChg chg="add">
          <ac:chgData name="Aniket Chhabra" userId="598e0514-bef3-4e71-b6aa-f2edd6441cff" providerId="ADAL" clId="{A0F7D543-B727-034C-88B5-8F838AD07213}" dt="2022-09-10T08:47:03.958" v="1422" actId="9405"/>
          <ac:inkMkLst>
            <pc:docMk/>
            <pc:sldMk cId="3478359748" sldId="301"/>
            <ac:inkMk id="8" creationId="{B239329E-C869-DE93-8BE5-F832772D03FA}"/>
          </ac:inkMkLst>
        </pc:inkChg>
        <pc:inkChg chg="add">
          <ac:chgData name="Aniket Chhabra" userId="598e0514-bef3-4e71-b6aa-f2edd6441cff" providerId="ADAL" clId="{A0F7D543-B727-034C-88B5-8F838AD07213}" dt="2022-09-10T08:48:05.849" v="1423" actId="9405"/>
          <ac:inkMkLst>
            <pc:docMk/>
            <pc:sldMk cId="3478359748" sldId="301"/>
            <ac:inkMk id="9" creationId="{73BCDB27-419D-CBED-B79C-C007F3544ED7}"/>
          </ac:inkMkLst>
        </pc:inkChg>
        <pc:inkChg chg="del">
          <ac:chgData name="Aniket Chhabra" userId="598e0514-bef3-4e71-b6aa-f2edd6441cff" providerId="ADAL" clId="{A0F7D543-B727-034C-88B5-8F838AD07213}" dt="2022-09-10T08:45:58.631" v="1416"/>
          <ac:inkMkLst>
            <pc:docMk/>
            <pc:sldMk cId="3478359748" sldId="301"/>
            <ac:inkMk id="49" creationId="{70931968-1D2D-42A6-A25A-280E42455AC0}"/>
          </ac:inkMkLst>
        </pc:inkChg>
        <pc:inkChg chg="del">
          <ac:chgData name="Aniket Chhabra" userId="598e0514-bef3-4e71-b6aa-f2edd6441cff" providerId="ADAL" clId="{A0F7D543-B727-034C-88B5-8F838AD07213}" dt="2022-09-10T08:45:58.631" v="1415"/>
          <ac:inkMkLst>
            <pc:docMk/>
            <pc:sldMk cId="3478359748" sldId="301"/>
            <ac:inkMk id="50" creationId="{DB508AA2-D1D0-4EF0-8BE3-8937C8B71C56}"/>
          </ac:inkMkLst>
        </pc:inkChg>
        <pc:inkChg chg="mod">
          <ac:chgData name="Aniket Chhabra" userId="598e0514-bef3-4e71-b6aa-f2edd6441cff" providerId="ADAL" clId="{A0F7D543-B727-034C-88B5-8F838AD07213}" dt="2022-09-10T08:45:58.631" v="1415"/>
          <ac:inkMkLst>
            <pc:docMk/>
            <pc:sldMk cId="3478359748" sldId="301"/>
            <ac:inkMk id="51" creationId="{F3D44F98-EA14-45D3-BB3D-7D56080D091D}"/>
          </ac:inkMkLst>
        </pc:inkChg>
        <pc:inkChg chg="del">
          <ac:chgData name="Aniket Chhabra" userId="598e0514-bef3-4e71-b6aa-f2edd6441cff" providerId="ADAL" clId="{A0F7D543-B727-034C-88B5-8F838AD07213}" dt="2022-09-10T08:45:58.629" v="1413"/>
          <ac:inkMkLst>
            <pc:docMk/>
            <pc:sldMk cId="3478359748" sldId="301"/>
            <ac:inkMk id="166" creationId="{E3498A10-AF00-40D5-B3DF-7C0215A3C7E6}"/>
          </ac:inkMkLst>
        </pc:inkChg>
        <pc:inkChg chg="del">
          <ac:chgData name="Aniket Chhabra" userId="598e0514-bef3-4e71-b6aa-f2edd6441cff" providerId="ADAL" clId="{A0F7D543-B727-034C-88B5-8F838AD07213}" dt="2022-09-10T08:45:58.631" v="1417"/>
          <ac:inkMkLst>
            <pc:docMk/>
            <pc:sldMk cId="3478359748" sldId="301"/>
            <ac:inkMk id="169" creationId="{8379E051-038A-483C-99D3-75B1652E6880}"/>
          </ac:inkMkLst>
        </pc:inkChg>
      </pc:sldChg>
      <pc:sldChg chg="addSp mod">
        <pc:chgData name="Aniket Chhabra" userId="598e0514-bef3-4e71-b6aa-f2edd6441cff" providerId="ADAL" clId="{A0F7D543-B727-034C-88B5-8F838AD07213}" dt="2022-09-10T08:46:44.917" v="1420" actId="9405"/>
        <pc:sldMkLst>
          <pc:docMk/>
          <pc:sldMk cId="1086956494" sldId="303"/>
        </pc:sldMkLst>
        <pc:inkChg chg="add">
          <ac:chgData name="Aniket Chhabra" userId="598e0514-bef3-4e71-b6aa-f2edd6441cff" providerId="ADAL" clId="{A0F7D543-B727-034C-88B5-8F838AD07213}" dt="2022-08-21T06:56:50.115" v="237" actId="9405"/>
          <ac:inkMkLst>
            <pc:docMk/>
            <pc:sldMk cId="1086956494" sldId="303"/>
            <ac:inkMk id="2" creationId="{3E7F05E8-6B66-BD24-6289-82FA86A366D2}"/>
          </ac:inkMkLst>
        </pc:inkChg>
        <pc:inkChg chg="add">
          <ac:chgData name="Aniket Chhabra" userId="598e0514-bef3-4e71-b6aa-f2edd6441cff" providerId="ADAL" clId="{A0F7D543-B727-034C-88B5-8F838AD07213}" dt="2022-08-21T06:56:53.794" v="238" actId="9405"/>
          <ac:inkMkLst>
            <pc:docMk/>
            <pc:sldMk cId="1086956494" sldId="303"/>
            <ac:inkMk id="3" creationId="{045A9DF9-2BBE-B4F9-7100-BAFEFA477BD7}"/>
          </ac:inkMkLst>
        </pc:inkChg>
        <pc:inkChg chg="add">
          <ac:chgData name="Aniket Chhabra" userId="598e0514-bef3-4e71-b6aa-f2edd6441cff" providerId="ADAL" clId="{A0F7D543-B727-034C-88B5-8F838AD07213}" dt="2022-09-10T08:46:44.917" v="1420" actId="9405"/>
          <ac:inkMkLst>
            <pc:docMk/>
            <pc:sldMk cId="1086956494" sldId="303"/>
            <ac:inkMk id="5" creationId="{FDF840E0-702E-5C4C-5733-B5942FDF6DFD}"/>
          </ac:inkMkLst>
        </pc:inkChg>
      </pc:sldChg>
      <pc:sldChg chg="addSp delSp modSp mod">
        <pc:chgData name="Aniket Chhabra" userId="598e0514-bef3-4e71-b6aa-f2edd6441cff" providerId="ADAL" clId="{A0F7D543-B727-034C-88B5-8F838AD07213}" dt="2022-09-24T06:22:26.641" v="1865"/>
        <pc:sldMkLst>
          <pc:docMk/>
          <pc:sldMk cId="2717547441" sldId="304"/>
        </pc:sldMkLst>
        <pc:grpChg chg="add del mod">
          <ac:chgData name="Aniket Chhabra" userId="598e0514-bef3-4e71-b6aa-f2edd6441cff" providerId="ADAL" clId="{A0F7D543-B727-034C-88B5-8F838AD07213}" dt="2022-09-10T08:48:25.509" v="1449"/>
          <ac:grpSpMkLst>
            <pc:docMk/>
            <pc:sldMk cId="2717547441" sldId="304"/>
            <ac:grpSpMk id="8" creationId="{FB237433-3F8D-74C9-5EA0-13175829E12D}"/>
          </ac:grpSpMkLst>
        </pc:grpChg>
        <pc:grpChg chg="mod">
          <ac:chgData name="Aniket Chhabra" userId="598e0514-bef3-4e71-b6aa-f2edd6441cff" providerId="ADAL" clId="{A0F7D543-B727-034C-88B5-8F838AD07213}" dt="2022-09-24T06:22:26.639" v="1859"/>
          <ac:grpSpMkLst>
            <pc:docMk/>
            <pc:sldMk cId="2717547441" sldId="304"/>
            <ac:grpSpMk id="36" creationId="{B7D25229-36B3-49AD-A336-06672983A02E}"/>
          </ac:grpSpMkLst>
        </pc:grpChg>
        <pc:grpChg chg="del mod">
          <ac:chgData name="Aniket Chhabra" userId="598e0514-bef3-4e71-b6aa-f2edd6441cff" providerId="ADAL" clId="{A0F7D543-B727-034C-88B5-8F838AD07213}" dt="2022-09-10T08:48:25.510" v="1460"/>
          <ac:grpSpMkLst>
            <pc:docMk/>
            <pc:sldMk cId="2717547441" sldId="304"/>
            <ac:grpSpMk id="55" creationId="{A1829B0F-048F-A025-E673-56B0419D5CB0}"/>
          </ac:grpSpMkLst>
        </pc:grpChg>
        <pc:grpChg chg="mod">
          <ac:chgData name="Aniket Chhabra" userId="598e0514-bef3-4e71-b6aa-f2edd6441cff" providerId="ADAL" clId="{A0F7D543-B727-034C-88B5-8F838AD07213}" dt="2022-08-21T06:59:40.007" v="267"/>
          <ac:grpSpMkLst>
            <pc:docMk/>
            <pc:sldMk cId="2717547441" sldId="304"/>
            <ac:grpSpMk id="64" creationId="{1F783214-428C-A65D-61D6-842E31FAA076}"/>
          </ac:grpSpMkLst>
        </pc:grpChg>
        <pc:grpChg chg="mod">
          <ac:chgData name="Aniket Chhabra" userId="598e0514-bef3-4e71-b6aa-f2edd6441cff" providerId="ADAL" clId="{A0F7D543-B727-034C-88B5-8F838AD07213}" dt="2022-09-24T06:22:26.641" v="1865"/>
          <ac:grpSpMkLst>
            <pc:docMk/>
            <pc:sldMk cId="2717547441" sldId="304"/>
            <ac:grpSpMk id="71" creationId="{BF9C8024-444A-4AB3-85F9-F6BDECC3F47F}"/>
          </ac:grpSpMkLst>
        </pc:grpChg>
        <pc:grpChg chg="mod">
          <ac:chgData name="Aniket Chhabra" userId="598e0514-bef3-4e71-b6aa-f2edd6441cff" providerId="ADAL" clId="{A0F7D543-B727-034C-88B5-8F838AD07213}" dt="2022-09-24T06:22:26.640" v="1863"/>
          <ac:grpSpMkLst>
            <pc:docMk/>
            <pc:sldMk cId="2717547441" sldId="304"/>
            <ac:grpSpMk id="81" creationId="{9506A430-D46B-4BCB-B01D-991B0D26E028}"/>
          </ac:grpSpMkLst>
        </pc:grpChg>
        <pc:grpChg chg="del mod">
          <ac:chgData name="Aniket Chhabra" userId="598e0514-bef3-4e71-b6aa-f2edd6441cff" providerId="ADAL" clId="{A0F7D543-B727-034C-88B5-8F838AD07213}" dt="2022-09-24T06:22:25.231" v="1856"/>
          <ac:grpSpMkLst>
            <pc:docMk/>
            <pc:sldMk cId="2717547441" sldId="304"/>
            <ac:grpSpMk id="112" creationId="{A7118208-B319-4074-1D53-3AA5F9EA1A04}"/>
          </ac:grpSpMkLst>
        </pc:grpChg>
        <pc:grpChg chg="del mod">
          <ac:chgData name="Aniket Chhabra" userId="598e0514-bef3-4e71-b6aa-f2edd6441cff" providerId="ADAL" clId="{A0F7D543-B727-034C-88B5-8F838AD07213}" dt="2022-09-10T08:50:38.528" v="1476"/>
          <ac:grpSpMkLst>
            <pc:docMk/>
            <pc:sldMk cId="2717547441" sldId="304"/>
            <ac:grpSpMk id="122" creationId="{25BC1909-FC5D-2610-AC13-5FEF0B68C76E}"/>
          </ac:grpSpMkLst>
        </pc:grpChg>
        <pc:grpChg chg="del mod">
          <ac:chgData name="Aniket Chhabra" userId="598e0514-bef3-4e71-b6aa-f2edd6441cff" providerId="ADAL" clId="{A0F7D543-B727-034C-88B5-8F838AD07213}" dt="2022-09-10T08:50:58.190" v="1480"/>
          <ac:grpSpMkLst>
            <pc:docMk/>
            <pc:sldMk cId="2717547441" sldId="304"/>
            <ac:grpSpMk id="134" creationId="{4ED84F38-6FEB-A2E6-F1F0-C5D7117E93EF}"/>
          </ac:grpSpMkLst>
        </pc:grpChg>
        <pc:grpChg chg="del mod">
          <ac:chgData name="Aniket Chhabra" userId="598e0514-bef3-4e71-b6aa-f2edd6441cff" providerId="ADAL" clId="{A0F7D543-B727-034C-88B5-8F838AD07213}" dt="2022-09-10T08:51:01.067" v="1482"/>
          <ac:grpSpMkLst>
            <pc:docMk/>
            <pc:sldMk cId="2717547441" sldId="304"/>
            <ac:grpSpMk id="148" creationId="{D1456FE2-4FF0-1F13-CEB9-7F140C3E5A85}"/>
          </ac:grpSpMkLst>
        </pc:grpChg>
        <pc:grpChg chg="add del mod">
          <ac:chgData name="Aniket Chhabra" userId="598e0514-bef3-4e71-b6aa-f2edd6441cff" providerId="ADAL" clId="{A0F7D543-B727-034C-88B5-8F838AD07213}" dt="2022-09-10T08:51:59.753" v="1517"/>
          <ac:grpSpMkLst>
            <pc:docMk/>
            <pc:sldMk cId="2717547441" sldId="304"/>
            <ac:grpSpMk id="150" creationId="{11713551-6738-39BC-3E35-69BCC2BC92F5}"/>
          </ac:grpSpMkLst>
        </pc:grpChg>
        <pc:grpChg chg="mod">
          <ac:chgData name="Aniket Chhabra" userId="598e0514-bef3-4e71-b6aa-f2edd6441cff" providerId="ADAL" clId="{A0F7D543-B727-034C-88B5-8F838AD07213}" dt="2022-09-10T08:51:09.895" v="1486"/>
          <ac:grpSpMkLst>
            <pc:docMk/>
            <pc:sldMk cId="2717547441" sldId="304"/>
            <ac:grpSpMk id="152" creationId="{FE53DD76-1C6C-1861-1838-8E017A011918}"/>
          </ac:grpSpMkLst>
        </pc:grpChg>
        <pc:grpChg chg="del mod">
          <ac:chgData name="Aniket Chhabra" userId="598e0514-bef3-4e71-b6aa-f2edd6441cff" providerId="ADAL" clId="{A0F7D543-B727-034C-88B5-8F838AD07213}" dt="2022-09-10T08:51:36.166" v="1496"/>
          <ac:grpSpMkLst>
            <pc:docMk/>
            <pc:sldMk cId="2717547441" sldId="304"/>
            <ac:grpSpMk id="160" creationId="{5435056F-75A9-A1CB-28E0-DEE4713AC10C}"/>
          </ac:grpSpMkLst>
        </pc:grpChg>
        <pc:grpChg chg="del mod">
          <ac:chgData name="Aniket Chhabra" userId="598e0514-bef3-4e71-b6aa-f2edd6441cff" providerId="ADAL" clId="{A0F7D543-B727-034C-88B5-8F838AD07213}" dt="2022-09-10T08:51:40.306" v="1503"/>
          <ac:grpSpMkLst>
            <pc:docMk/>
            <pc:sldMk cId="2717547441" sldId="304"/>
            <ac:grpSpMk id="162" creationId="{F0010035-81FC-1F2F-3A37-DB74D7593252}"/>
          </ac:grpSpMkLst>
        </pc:grpChg>
        <pc:grpChg chg="del mod">
          <ac:chgData name="Aniket Chhabra" userId="598e0514-bef3-4e71-b6aa-f2edd6441cff" providerId="ADAL" clId="{A0F7D543-B727-034C-88B5-8F838AD07213}" dt="2022-09-10T08:51:49.051" v="1513"/>
          <ac:grpSpMkLst>
            <pc:docMk/>
            <pc:sldMk cId="2717547441" sldId="304"/>
            <ac:grpSpMk id="169" creationId="{BC598FBB-520B-32BD-E2A4-9F4C641AE5E0}"/>
          </ac:grpSpMkLst>
        </pc:grpChg>
        <pc:grpChg chg="del mod">
          <ac:chgData name="Aniket Chhabra" userId="598e0514-bef3-4e71-b6aa-f2edd6441cff" providerId="ADAL" clId="{A0F7D543-B727-034C-88B5-8F838AD07213}" dt="2022-09-10T08:52:43.187" v="1526"/>
          <ac:grpSpMkLst>
            <pc:docMk/>
            <pc:sldMk cId="2717547441" sldId="304"/>
            <ac:grpSpMk id="179" creationId="{E4F7606E-16EF-2931-2A3A-21EEA73E1B67}"/>
          </ac:grpSpMkLst>
        </pc:grpChg>
        <pc:grpChg chg="del mod">
          <ac:chgData name="Aniket Chhabra" userId="598e0514-bef3-4e71-b6aa-f2edd6441cff" providerId="ADAL" clId="{A0F7D543-B727-034C-88B5-8F838AD07213}" dt="2022-09-10T08:52:43.187" v="1526"/>
          <ac:grpSpMkLst>
            <pc:docMk/>
            <pc:sldMk cId="2717547441" sldId="304"/>
            <ac:grpSpMk id="181" creationId="{85B209E4-BE38-23F8-67D8-B661B014ACC4}"/>
          </ac:grpSpMkLst>
        </pc:grpChg>
        <pc:grpChg chg="del mod">
          <ac:chgData name="Aniket Chhabra" userId="598e0514-bef3-4e71-b6aa-f2edd6441cff" providerId="ADAL" clId="{A0F7D543-B727-034C-88B5-8F838AD07213}" dt="2022-09-10T08:52:04.463" v="1519"/>
          <ac:grpSpMkLst>
            <pc:docMk/>
            <pc:sldMk cId="2717547441" sldId="304"/>
            <ac:grpSpMk id="183" creationId="{CCC71AA1-E8FD-0599-4D50-82D81D355AB5}"/>
          </ac:grpSpMkLst>
        </pc:grpChg>
        <pc:grpChg chg="del mod">
          <ac:chgData name="Aniket Chhabra" userId="598e0514-bef3-4e71-b6aa-f2edd6441cff" providerId="ADAL" clId="{A0F7D543-B727-034C-88B5-8F838AD07213}" dt="2022-09-10T08:52:17.673" v="1521"/>
          <ac:grpSpMkLst>
            <pc:docMk/>
            <pc:sldMk cId="2717547441" sldId="304"/>
            <ac:grpSpMk id="185" creationId="{43AC0168-BD06-B5D1-5CC4-AF49EA0D3CD2}"/>
          </ac:grpSpMkLst>
        </pc:grpChg>
        <pc:grpChg chg="del mod">
          <ac:chgData name="Aniket Chhabra" userId="598e0514-bef3-4e71-b6aa-f2edd6441cff" providerId="ADAL" clId="{A0F7D543-B727-034C-88B5-8F838AD07213}" dt="2022-09-10T08:52:43.187" v="1526"/>
          <ac:grpSpMkLst>
            <pc:docMk/>
            <pc:sldMk cId="2717547441" sldId="304"/>
            <ac:grpSpMk id="187" creationId="{EA3FC29F-B4DC-B21C-E328-7208FDA4DA73}"/>
          </ac:grpSpMkLst>
        </pc:grpChg>
        <pc:grpChg chg="del mod">
          <ac:chgData name="Aniket Chhabra" userId="598e0514-bef3-4e71-b6aa-f2edd6441cff" providerId="ADAL" clId="{A0F7D543-B727-034C-88B5-8F838AD07213}" dt="2022-09-10T08:52:45.601" v="1528"/>
          <ac:grpSpMkLst>
            <pc:docMk/>
            <pc:sldMk cId="2717547441" sldId="304"/>
            <ac:grpSpMk id="192" creationId="{003F821C-8C4C-A891-6885-A220E176C52B}"/>
          </ac:grpSpMkLst>
        </pc:grpChg>
        <pc:grpChg chg="del mod">
          <ac:chgData name="Aniket Chhabra" userId="598e0514-bef3-4e71-b6aa-f2edd6441cff" providerId="ADAL" clId="{A0F7D543-B727-034C-88B5-8F838AD07213}" dt="2022-09-24T06:22:20.875" v="1841"/>
          <ac:grpSpMkLst>
            <pc:docMk/>
            <pc:sldMk cId="2717547441" sldId="304"/>
            <ac:grpSpMk id="194" creationId="{91861E97-07BD-17D7-B264-78921DE91FBE}"/>
          </ac:grpSpMkLst>
        </pc:grpChg>
        <pc:grpChg chg="del mod">
          <ac:chgData name="Aniket Chhabra" userId="598e0514-bef3-4e71-b6aa-f2edd6441cff" providerId="ADAL" clId="{A0F7D543-B727-034C-88B5-8F838AD07213}" dt="2022-09-24T06:22:20.876" v="1846"/>
          <ac:grpSpMkLst>
            <pc:docMk/>
            <pc:sldMk cId="2717547441" sldId="304"/>
            <ac:grpSpMk id="196" creationId="{7D4BE1F5-4DE9-D250-E463-D4DB1F8D9CE3}"/>
          </ac:grpSpMkLst>
        </pc:grpChg>
        <pc:inkChg chg="mod">
          <ac:chgData name="Aniket Chhabra" userId="598e0514-bef3-4e71-b6aa-f2edd6441cff" providerId="ADAL" clId="{A0F7D543-B727-034C-88B5-8F838AD07213}" dt="2022-09-10T08:48:37.655" v="1470"/>
          <ac:inkMkLst>
            <pc:docMk/>
            <pc:sldMk cId="2717547441" sldId="304"/>
            <ac:inkMk id="2" creationId="{9001987A-2CF7-4550-8045-C9438CB837FF}"/>
          </ac:inkMkLst>
        </pc:inkChg>
        <pc:inkChg chg="add del">
          <ac:chgData name="Aniket Chhabra" userId="598e0514-bef3-4e71-b6aa-f2edd6441cff" providerId="ADAL" clId="{A0F7D543-B727-034C-88B5-8F838AD07213}" dt="2022-09-10T08:48:25.510" v="1457"/>
          <ac:inkMkLst>
            <pc:docMk/>
            <pc:sldMk cId="2717547441" sldId="304"/>
            <ac:inkMk id="3" creationId="{922E6E62-5690-65AB-C43D-6A34BE098D5F}"/>
          </ac:inkMkLst>
        </pc:inkChg>
        <pc:inkChg chg="add del mod">
          <ac:chgData name="Aniket Chhabra" userId="598e0514-bef3-4e71-b6aa-f2edd6441cff" providerId="ADAL" clId="{A0F7D543-B727-034C-88B5-8F838AD07213}" dt="2022-09-10T08:48:25.509" v="1449"/>
          <ac:inkMkLst>
            <pc:docMk/>
            <pc:sldMk cId="2717547441" sldId="304"/>
            <ac:inkMk id="5" creationId="{B8B4C443-9685-24C0-8A39-B4D5B4535D98}"/>
          </ac:inkMkLst>
        </pc:inkChg>
        <pc:inkChg chg="add del mod">
          <ac:chgData name="Aniket Chhabra" userId="598e0514-bef3-4e71-b6aa-f2edd6441cff" providerId="ADAL" clId="{A0F7D543-B727-034C-88B5-8F838AD07213}" dt="2022-09-10T08:48:25.509" v="1454"/>
          <ac:inkMkLst>
            <pc:docMk/>
            <pc:sldMk cId="2717547441" sldId="304"/>
            <ac:inkMk id="7" creationId="{92EDFEC9-C25E-0A1E-84B5-6816BF91BF08}"/>
          </ac:inkMkLst>
        </pc:inkChg>
        <pc:inkChg chg="add del mod">
          <ac:chgData name="Aniket Chhabra" userId="598e0514-bef3-4e71-b6aa-f2edd6441cff" providerId="ADAL" clId="{A0F7D543-B727-034C-88B5-8F838AD07213}" dt="2022-09-10T08:48:25.509" v="1451"/>
          <ac:inkMkLst>
            <pc:docMk/>
            <pc:sldMk cId="2717547441" sldId="304"/>
            <ac:inkMk id="9" creationId="{A1F03CCC-CCD6-7281-B1A0-3C3C65E0D90E}"/>
          </ac:inkMkLst>
        </pc:inkChg>
        <pc:inkChg chg="add del mod">
          <ac:chgData name="Aniket Chhabra" userId="598e0514-bef3-4e71-b6aa-f2edd6441cff" providerId="ADAL" clId="{A0F7D543-B727-034C-88B5-8F838AD07213}" dt="2022-09-10T08:48:25.510" v="1455"/>
          <ac:inkMkLst>
            <pc:docMk/>
            <pc:sldMk cId="2717547441" sldId="304"/>
            <ac:inkMk id="11" creationId="{186F6174-D2E3-C79A-B45F-26A77B8770C1}"/>
          </ac:inkMkLst>
        </pc:inkChg>
        <pc:inkChg chg="add del mod">
          <ac:chgData name="Aniket Chhabra" userId="598e0514-bef3-4e71-b6aa-f2edd6441cff" providerId="ADAL" clId="{A0F7D543-B727-034C-88B5-8F838AD07213}" dt="2022-09-10T08:48:25.510" v="1459"/>
          <ac:inkMkLst>
            <pc:docMk/>
            <pc:sldMk cId="2717547441" sldId="304"/>
            <ac:inkMk id="12" creationId="{DA7AB335-AF7B-5225-71B3-2F2CF66B309B}"/>
          </ac:inkMkLst>
        </pc:inkChg>
        <pc:inkChg chg="add del mod">
          <ac:chgData name="Aniket Chhabra" userId="598e0514-bef3-4e71-b6aa-f2edd6441cff" providerId="ADAL" clId="{A0F7D543-B727-034C-88B5-8F838AD07213}" dt="2022-09-10T08:48:25.510" v="1458"/>
          <ac:inkMkLst>
            <pc:docMk/>
            <pc:sldMk cId="2717547441" sldId="304"/>
            <ac:inkMk id="13" creationId="{8CA497AE-EDCA-0DC7-2556-AC010051DA33}"/>
          </ac:inkMkLst>
        </pc:inkChg>
        <pc:inkChg chg="mod">
          <ac:chgData name="Aniket Chhabra" userId="598e0514-bef3-4e71-b6aa-f2edd6441cff" providerId="ADAL" clId="{A0F7D543-B727-034C-88B5-8F838AD07213}" dt="2022-09-24T06:22:26.639" v="1859"/>
          <ac:inkMkLst>
            <pc:docMk/>
            <pc:sldMk cId="2717547441" sldId="304"/>
            <ac:inkMk id="14" creationId="{C5592FCC-2A05-4EC2-90DC-66D9D6CE77E2}"/>
          </ac:inkMkLst>
        </pc:inkChg>
        <pc:inkChg chg="mod">
          <ac:chgData name="Aniket Chhabra" userId="598e0514-bef3-4e71-b6aa-f2edd6441cff" providerId="ADAL" clId="{A0F7D543-B727-034C-88B5-8F838AD07213}" dt="2022-09-24T06:22:26.639" v="1859"/>
          <ac:inkMkLst>
            <pc:docMk/>
            <pc:sldMk cId="2717547441" sldId="304"/>
            <ac:inkMk id="15" creationId="{5A430E64-8BCD-437E-8266-0E78248236A4}"/>
          </ac:inkMkLst>
        </pc:inkChg>
        <pc:inkChg chg="mod">
          <ac:chgData name="Aniket Chhabra" userId="598e0514-bef3-4e71-b6aa-f2edd6441cff" providerId="ADAL" clId="{A0F7D543-B727-034C-88B5-8F838AD07213}" dt="2022-09-24T06:22:26.639" v="1859"/>
          <ac:inkMkLst>
            <pc:docMk/>
            <pc:sldMk cId="2717547441" sldId="304"/>
            <ac:inkMk id="16" creationId="{26B99BF6-28FB-4D16-AA10-42FDDAC3280C}"/>
          </ac:inkMkLst>
        </pc:inkChg>
        <pc:inkChg chg="add del mod">
          <ac:chgData name="Aniket Chhabra" userId="598e0514-bef3-4e71-b6aa-f2edd6441cff" providerId="ADAL" clId="{A0F7D543-B727-034C-88B5-8F838AD07213}" dt="2022-09-10T08:48:25.508" v="1444"/>
          <ac:inkMkLst>
            <pc:docMk/>
            <pc:sldMk cId="2717547441" sldId="304"/>
            <ac:inkMk id="17" creationId="{586D632C-3537-FF5D-AC96-059C13F1EE20}"/>
          </ac:inkMkLst>
        </pc:inkChg>
        <pc:inkChg chg="mod">
          <ac:chgData name="Aniket Chhabra" userId="598e0514-bef3-4e71-b6aa-f2edd6441cff" providerId="ADAL" clId="{A0F7D543-B727-034C-88B5-8F838AD07213}" dt="2022-09-24T06:22:26.639" v="1859"/>
          <ac:inkMkLst>
            <pc:docMk/>
            <pc:sldMk cId="2717547441" sldId="304"/>
            <ac:inkMk id="18" creationId="{2AD07AC0-CF00-42D1-B184-616EFBDF7203}"/>
          </ac:inkMkLst>
        </pc:inkChg>
        <pc:inkChg chg="mod">
          <ac:chgData name="Aniket Chhabra" userId="598e0514-bef3-4e71-b6aa-f2edd6441cff" providerId="ADAL" clId="{A0F7D543-B727-034C-88B5-8F838AD07213}" dt="2022-09-24T06:22:26.639" v="1859"/>
          <ac:inkMkLst>
            <pc:docMk/>
            <pc:sldMk cId="2717547441" sldId="304"/>
            <ac:inkMk id="19" creationId="{84144BAD-3D1A-4FBA-A7CB-D2EB2E77572E}"/>
          </ac:inkMkLst>
        </pc:inkChg>
        <pc:inkChg chg="mod">
          <ac:chgData name="Aniket Chhabra" userId="598e0514-bef3-4e71-b6aa-f2edd6441cff" providerId="ADAL" clId="{A0F7D543-B727-034C-88B5-8F838AD07213}" dt="2022-09-24T06:22:26.639" v="1859"/>
          <ac:inkMkLst>
            <pc:docMk/>
            <pc:sldMk cId="2717547441" sldId="304"/>
            <ac:inkMk id="20" creationId="{D21765A7-BA6A-42D2-8DA9-2A3CDB4686DC}"/>
          </ac:inkMkLst>
        </pc:inkChg>
        <pc:inkChg chg="mod">
          <ac:chgData name="Aniket Chhabra" userId="598e0514-bef3-4e71-b6aa-f2edd6441cff" providerId="ADAL" clId="{A0F7D543-B727-034C-88B5-8F838AD07213}" dt="2022-09-24T06:22:26.639" v="1859"/>
          <ac:inkMkLst>
            <pc:docMk/>
            <pc:sldMk cId="2717547441" sldId="304"/>
            <ac:inkMk id="21" creationId="{8B6869E3-A8FE-4479-B9C1-971BAB13AFAE}"/>
          </ac:inkMkLst>
        </pc:inkChg>
        <pc:inkChg chg="mod">
          <ac:chgData name="Aniket Chhabra" userId="598e0514-bef3-4e71-b6aa-f2edd6441cff" providerId="ADAL" clId="{A0F7D543-B727-034C-88B5-8F838AD07213}" dt="2022-09-24T06:22:26.639" v="1859"/>
          <ac:inkMkLst>
            <pc:docMk/>
            <pc:sldMk cId="2717547441" sldId="304"/>
            <ac:inkMk id="22" creationId="{3FAB5ECE-E8EC-4A26-B0B5-15C3F2AE90C1}"/>
          </ac:inkMkLst>
        </pc:inkChg>
        <pc:inkChg chg="mod">
          <ac:chgData name="Aniket Chhabra" userId="598e0514-bef3-4e71-b6aa-f2edd6441cff" providerId="ADAL" clId="{A0F7D543-B727-034C-88B5-8F838AD07213}" dt="2022-09-24T06:22:26.639" v="1859"/>
          <ac:inkMkLst>
            <pc:docMk/>
            <pc:sldMk cId="2717547441" sldId="304"/>
            <ac:inkMk id="23" creationId="{A70BDCE8-4464-468B-8D30-B926B28C268F}"/>
          </ac:inkMkLst>
        </pc:inkChg>
        <pc:inkChg chg="mod">
          <ac:chgData name="Aniket Chhabra" userId="598e0514-bef3-4e71-b6aa-f2edd6441cff" providerId="ADAL" clId="{A0F7D543-B727-034C-88B5-8F838AD07213}" dt="2022-09-24T06:22:26.639" v="1859"/>
          <ac:inkMkLst>
            <pc:docMk/>
            <pc:sldMk cId="2717547441" sldId="304"/>
            <ac:inkMk id="24" creationId="{A9F66C1E-EFA0-49DE-9A3B-A1500B168520}"/>
          </ac:inkMkLst>
        </pc:inkChg>
        <pc:inkChg chg="add del mod">
          <ac:chgData name="Aniket Chhabra" userId="598e0514-bef3-4e71-b6aa-f2edd6441cff" providerId="ADAL" clId="{A0F7D543-B727-034C-88B5-8F838AD07213}" dt="2022-09-10T08:48:25.507" v="1442"/>
          <ac:inkMkLst>
            <pc:docMk/>
            <pc:sldMk cId="2717547441" sldId="304"/>
            <ac:inkMk id="25" creationId="{217784D0-A123-B247-7D87-38CD499EF1D1}"/>
          </ac:inkMkLst>
        </pc:inkChg>
        <pc:inkChg chg="add del mod">
          <ac:chgData name="Aniket Chhabra" userId="598e0514-bef3-4e71-b6aa-f2edd6441cff" providerId="ADAL" clId="{A0F7D543-B727-034C-88B5-8F838AD07213}" dt="2022-09-10T08:48:25.507" v="1441"/>
          <ac:inkMkLst>
            <pc:docMk/>
            <pc:sldMk cId="2717547441" sldId="304"/>
            <ac:inkMk id="26" creationId="{E13BC296-AB93-9593-BDBA-890C68514C77}"/>
          </ac:inkMkLst>
        </pc:inkChg>
        <pc:inkChg chg="add del mod">
          <ac:chgData name="Aniket Chhabra" userId="598e0514-bef3-4e71-b6aa-f2edd6441cff" providerId="ADAL" clId="{A0F7D543-B727-034C-88B5-8F838AD07213}" dt="2022-09-10T08:48:25.508" v="1446"/>
          <ac:inkMkLst>
            <pc:docMk/>
            <pc:sldMk cId="2717547441" sldId="304"/>
            <ac:inkMk id="27" creationId="{A287AEFA-3F05-88E2-2196-C6F3157D0437}"/>
          </ac:inkMkLst>
        </pc:inkChg>
        <pc:inkChg chg="add del mod">
          <ac:chgData name="Aniket Chhabra" userId="598e0514-bef3-4e71-b6aa-f2edd6441cff" providerId="ADAL" clId="{A0F7D543-B727-034C-88B5-8F838AD07213}" dt="2022-09-10T08:48:25.507" v="1440"/>
          <ac:inkMkLst>
            <pc:docMk/>
            <pc:sldMk cId="2717547441" sldId="304"/>
            <ac:inkMk id="28" creationId="{44618F37-8C94-03F9-9DDC-7B106AE4CED8}"/>
          </ac:inkMkLst>
        </pc:inkChg>
        <pc:inkChg chg="mod">
          <ac:chgData name="Aniket Chhabra" userId="598e0514-bef3-4e71-b6aa-f2edd6441cff" providerId="ADAL" clId="{A0F7D543-B727-034C-88B5-8F838AD07213}" dt="2022-09-24T06:22:26.639" v="1859"/>
          <ac:inkMkLst>
            <pc:docMk/>
            <pc:sldMk cId="2717547441" sldId="304"/>
            <ac:inkMk id="29" creationId="{68F25129-1DE8-4B25-AF44-8CFD2C349C31}"/>
          </ac:inkMkLst>
        </pc:inkChg>
        <pc:inkChg chg="mod">
          <ac:chgData name="Aniket Chhabra" userId="598e0514-bef3-4e71-b6aa-f2edd6441cff" providerId="ADAL" clId="{A0F7D543-B727-034C-88B5-8F838AD07213}" dt="2022-09-24T06:22:26.639" v="1859"/>
          <ac:inkMkLst>
            <pc:docMk/>
            <pc:sldMk cId="2717547441" sldId="304"/>
            <ac:inkMk id="30" creationId="{D0F44C70-65F1-4042-90CB-B8696A42915B}"/>
          </ac:inkMkLst>
        </pc:inkChg>
        <pc:inkChg chg="mod">
          <ac:chgData name="Aniket Chhabra" userId="598e0514-bef3-4e71-b6aa-f2edd6441cff" providerId="ADAL" clId="{A0F7D543-B727-034C-88B5-8F838AD07213}" dt="2022-09-24T06:22:26.639" v="1859"/>
          <ac:inkMkLst>
            <pc:docMk/>
            <pc:sldMk cId="2717547441" sldId="304"/>
            <ac:inkMk id="31" creationId="{1D714042-4A83-4A2F-A8F0-775DDAEDDF83}"/>
          </ac:inkMkLst>
        </pc:inkChg>
        <pc:inkChg chg="add del mod">
          <ac:chgData name="Aniket Chhabra" userId="598e0514-bef3-4e71-b6aa-f2edd6441cff" providerId="ADAL" clId="{A0F7D543-B727-034C-88B5-8F838AD07213}" dt="2022-09-10T08:48:25.509" v="1453"/>
          <ac:inkMkLst>
            <pc:docMk/>
            <pc:sldMk cId="2717547441" sldId="304"/>
            <ac:inkMk id="32" creationId="{E45681D6-E4F2-C7D7-1F25-B2AFCEDEFADF}"/>
          </ac:inkMkLst>
        </pc:inkChg>
        <pc:inkChg chg="mod">
          <ac:chgData name="Aniket Chhabra" userId="598e0514-bef3-4e71-b6aa-f2edd6441cff" providerId="ADAL" clId="{A0F7D543-B727-034C-88B5-8F838AD07213}" dt="2022-09-24T06:22:26.639" v="1859"/>
          <ac:inkMkLst>
            <pc:docMk/>
            <pc:sldMk cId="2717547441" sldId="304"/>
            <ac:inkMk id="33" creationId="{A8C055EA-F68A-452A-80D8-56497CFF21D2}"/>
          </ac:inkMkLst>
        </pc:inkChg>
        <pc:inkChg chg="del">
          <ac:chgData name="Aniket Chhabra" userId="598e0514-bef3-4e71-b6aa-f2edd6441cff" providerId="ADAL" clId="{A0F7D543-B727-034C-88B5-8F838AD07213}" dt="2022-09-24T06:22:26.639" v="1859"/>
          <ac:inkMkLst>
            <pc:docMk/>
            <pc:sldMk cId="2717547441" sldId="304"/>
            <ac:inkMk id="34" creationId="{C6DC6F88-ED51-412E-A33A-E27B7D3497D1}"/>
          </ac:inkMkLst>
        </pc:inkChg>
        <pc:inkChg chg="mod">
          <ac:chgData name="Aniket Chhabra" userId="598e0514-bef3-4e71-b6aa-f2edd6441cff" providerId="ADAL" clId="{A0F7D543-B727-034C-88B5-8F838AD07213}" dt="2022-09-24T06:22:26.639" v="1859"/>
          <ac:inkMkLst>
            <pc:docMk/>
            <pc:sldMk cId="2717547441" sldId="304"/>
            <ac:inkMk id="35" creationId="{94C512B9-DA62-4019-89A9-2AA68AAE8742}"/>
          </ac:inkMkLst>
        </pc:inkChg>
        <pc:inkChg chg="mod">
          <ac:chgData name="Aniket Chhabra" userId="598e0514-bef3-4e71-b6aa-f2edd6441cff" providerId="ADAL" clId="{A0F7D543-B727-034C-88B5-8F838AD07213}" dt="2022-09-24T06:22:26.641" v="1865"/>
          <ac:inkMkLst>
            <pc:docMk/>
            <pc:sldMk cId="2717547441" sldId="304"/>
            <ac:inkMk id="37" creationId="{5F654781-2180-42CB-9FFF-94F132434C37}"/>
          </ac:inkMkLst>
        </pc:inkChg>
        <pc:inkChg chg="mod">
          <ac:chgData name="Aniket Chhabra" userId="598e0514-bef3-4e71-b6aa-f2edd6441cff" providerId="ADAL" clId="{A0F7D543-B727-034C-88B5-8F838AD07213}" dt="2022-09-24T06:22:26.641" v="1865"/>
          <ac:inkMkLst>
            <pc:docMk/>
            <pc:sldMk cId="2717547441" sldId="304"/>
            <ac:inkMk id="38" creationId="{F6C31097-41EC-4E72-9C84-AAFD1BD3F99C}"/>
          </ac:inkMkLst>
        </pc:inkChg>
        <pc:inkChg chg="mod">
          <ac:chgData name="Aniket Chhabra" userId="598e0514-bef3-4e71-b6aa-f2edd6441cff" providerId="ADAL" clId="{A0F7D543-B727-034C-88B5-8F838AD07213}" dt="2022-09-24T06:22:26.641" v="1865"/>
          <ac:inkMkLst>
            <pc:docMk/>
            <pc:sldMk cId="2717547441" sldId="304"/>
            <ac:inkMk id="39" creationId="{FBE6176D-8764-472A-B563-329D7A293123}"/>
          </ac:inkMkLst>
        </pc:inkChg>
        <pc:inkChg chg="mod">
          <ac:chgData name="Aniket Chhabra" userId="598e0514-bef3-4e71-b6aa-f2edd6441cff" providerId="ADAL" clId="{A0F7D543-B727-034C-88B5-8F838AD07213}" dt="2022-09-24T06:22:26.641" v="1865"/>
          <ac:inkMkLst>
            <pc:docMk/>
            <pc:sldMk cId="2717547441" sldId="304"/>
            <ac:inkMk id="40" creationId="{8A488183-A866-40D6-AE9A-E11A0711F74A}"/>
          </ac:inkMkLst>
        </pc:inkChg>
        <pc:inkChg chg="mod">
          <ac:chgData name="Aniket Chhabra" userId="598e0514-bef3-4e71-b6aa-f2edd6441cff" providerId="ADAL" clId="{A0F7D543-B727-034C-88B5-8F838AD07213}" dt="2022-09-24T06:22:26.641" v="1865"/>
          <ac:inkMkLst>
            <pc:docMk/>
            <pc:sldMk cId="2717547441" sldId="304"/>
            <ac:inkMk id="41" creationId="{A643213A-A332-45EE-85F9-8D1AC58F0D19}"/>
          </ac:inkMkLst>
        </pc:inkChg>
        <pc:inkChg chg="mod">
          <ac:chgData name="Aniket Chhabra" userId="598e0514-bef3-4e71-b6aa-f2edd6441cff" providerId="ADAL" clId="{A0F7D543-B727-034C-88B5-8F838AD07213}" dt="2022-09-24T06:22:26.641" v="1865"/>
          <ac:inkMkLst>
            <pc:docMk/>
            <pc:sldMk cId="2717547441" sldId="304"/>
            <ac:inkMk id="42" creationId="{830B5BDA-3D5D-4E18-873E-036D6942912C}"/>
          </ac:inkMkLst>
        </pc:inkChg>
        <pc:inkChg chg="mod">
          <ac:chgData name="Aniket Chhabra" userId="598e0514-bef3-4e71-b6aa-f2edd6441cff" providerId="ADAL" clId="{A0F7D543-B727-034C-88B5-8F838AD07213}" dt="2022-09-24T06:22:26.641" v="1865"/>
          <ac:inkMkLst>
            <pc:docMk/>
            <pc:sldMk cId="2717547441" sldId="304"/>
            <ac:inkMk id="43" creationId="{CBEE13FC-B0F4-43BE-9FEE-282B9FAACA05}"/>
          </ac:inkMkLst>
        </pc:inkChg>
        <pc:inkChg chg="mod">
          <ac:chgData name="Aniket Chhabra" userId="598e0514-bef3-4e71-b6aa-f2edd6441cff" providerId="ADAL" clId="{A0F7D543-B727-034C-88B5-8F838AD07213}" dt="2022-09-24T06:22:26.641" v="1865"/>
          <ac:inkMkLst>
            <pc:docMk/>
            <pc:sldMk cId="2717547441" sldId="304"/>
            <ac:inkMk id="44" creationId="{E3D1271B-080B-4CA7-9961-2FD6E26DC285}"/>
          </ac:inkMkLst>
        </pc:inkChg>
        <pc:inkChg chg="add del mod">
          <ac:chgData name="Aniket Chhabra" userId="598e0514-bef3-4e71-b6aa-f2edd6441cff" providerId="ADAL" clId="{A0F7D543-B727-034C-88B5-8F838AD07213}" dt="2022-09-10T08:48:25.508" v="1443"/>
          <ac:inkMkLst>
            <pc:docMk/>
            <pc:sldMk cId="2717547441" sldId="304"/>
            <ac:inkMk id="45" creationId="{EC8A3729-EAEA-BCBE-D7BA-45F0E1AF4771}"/>
          </ac:inkMkLst>
        </pc:inkChg>
        <pc:inkChg chg="add del mod">
          <ac:chgData name="Aniket Chhabra" userId="598e0514-bef3-4e71-b6aa-f2edd6441cff" providerId="ADAL" clId="{A0F7D543-B727-034C-88B5-8F838AD07213}" dt="2022-09-10T08:48:25.509" v="1450"/>
          <ac:inkMkLst>
            <pc:docMk/>
            <pc:sldMk cId="2717547441" sldId="304"/>
            <ac:inkMk id="46" creationId="{601377C7-C569-B108-AB0E-309137170B6D}"/>
          </ac:inkMkLst>
        </pc:inkChg>
        <pc:inkChg chg="add del mod">
          <ac:chgData name="Aniket Chhabra" userId="598e0514-bef3-4e71-b6aa-f2edd6441cff" providerId="ADAL" clId="{A0F7D543-B727-034C-88B5-8F838AD07213}" dt="2022-09-10T08:48:25.510" v="1460"/>
          <ac:inkMkLst>
            <pc:docMk/>
            <pc:sldMk cId="2717547441" sldId="304"/>
            <ac:inkMk id="47" creationId="{5FCDBCE9-B91F-CC1F-8E59-863BAB2AFF37}"/>
          </ac:inkMkLst>
        </pc:inkChg>
        <pc:inkChg chg="add del mod">
          <ac:chgData name="Aniket Chhabra" userId="598e0514-bef3-4e71-b6aa-f2edd6441cff" providerId="ADAL" clId="{A0F7D543-B727-034C-88B5-8F838AD07213}" dt="2022-09-10T08:48:25.510" v="1461"/>
          <ac:inkMkLst>
            <pc:docMk/>
            <pc:sldMk cId="2717547441" sldId="304"/>
            <ac:inkMk id="48" creationId="{214A0ABE-B1DF-39B4-A3CF-1EE50F0A4D5A}"/>
          </ac:inkMkLst>
        </pc:inkChg>
        <pc:inkChg chg="add del mod">
          <ac:chgData name="Aniket Chhabra" userId="598e0514-bef3-4e71-b6aa-f2edd6441cff" providerId="ADAL" clId="{A0F7D543-B727-034C-88B5-8F838AD07213}" dt="2022-09-10T08:48:25.508" v="1448"/>
          <ac:inkMkLst>
            <pc:docMk/>
            <pc:sldMk cId="2717547441" sldId="304"/>
            <ac:inkMk id="49" creationId="{B8E2B6E6-82A1-ECC4-5098-5E568B342EC1}"/>
          </ac:inkMkLst>
        </pc:inkChg>
        <pc:inkChg chg="add del mod">
          <ac:chgData name="Aniket Chhabra" userId="598e0514-bef3-4e71-b6aa-f2edd6441cff" providerId="ADAL" clId="{A0F7D543-B727-034C-88B5-8F838AD07213}" dt="2022-09-10T08:48:25.508" v="1447"/>
          <ac:inkMkLst>
            <pc:docMk/>
            <pc:sldMk cId="2717547441" sldId="304"/>
            <ac:inkMk id="50" creationId="{7EC01577-0D92-3F75-36E7-9284DEAD3E26}"/>
          </ac:inkMkLst>
        </pc:inkChg>
        <pc:inkChg chg="mod">
          <ac:chgData name="Aniket Chhabra" userId="598e0514-bef3-4e71-b6aa-f2edd6441cff" providerId="ADAL" clId="{A0F7D543-B727-034C-88B5-8F838AD07213}" dt="2022-09-24T06:22:26.641" v="1865"/>
          <ac:inkMkLst>
            <pc:docMk/>
            <pc:sldMk cId="2717547441" sldId="304"/>
            <ac:inkMk id="51" creationId="{CE508274-50BF-4AEC-9C67-BFF42599B94F}"/>
          </ac:inkMkLst>
        </pc:inkChg>
        <pc:inkChg chg="add del mod">
          <ac:chgData name="Aniket Chhabra" userId="598e0514-bef3-4e71-b6aa-f2edd6441cff" providerId="ADAL" clId="{A0F7D543-B727-034C-88B5-8F838AD07213}" dt="2022-09-10T08:48:25.510" v="1456"/>
          <ac:inkMkLst>
            <pc:docMk/>
            <pc:sldMk cId="2717547441" sldId="304"/>
            <ac:inkMk id="52" creationId="{7A40CA01-7B32-68E0-A635-FAAB2BD89A50}"/>
          </ac:inkMkLst>
        </pc:inkChg>
        <pc:inkChg chg="add del mod">
          <ac:chgData name="Aniket Chhabra" userId="598e0514-bef3-4e71-b6aa-f2edd6441cff" providerId="ADAL" clId="{A0F7D543-B727-034C-88B5-8F838AD07213}" dt="2022-09-10T08:48:25.509" v="1452"/>
          <ac:inkMkLst>
            <pc:docMk/>
            <pc:sldMk cId="2717547441" sldId="304"/>
            <ac:inkMk id="53" creationId="{376EDAA3-E61C-F2DF-3333-F725D6F73674}"/>
          </ac:inkMkLst>
        </pc:inkChg>
        <pc:inkChg chg="add del mod">
          <ac:chgData name="Aniket Chhabra" userId="598e0514-bef3-4e71-b6aa-f2edd6441cff" providerId="ADAL" clId="{A0F7D543-B727-034C-88B5-8F838AD07213}" dt="2022-09-10T08:48:25.508" v="1445"/>
          <ac:inkMkLst>
            <pc:docMk/>
            <pc:sldMk cId="2717547441" sldId="304"/>
            <ac:inkMk id="54" creationId="{4542497B-AE9D-15BB-159E-FF90DC667886}"/>
          </ac:inkMkLst>
        </pc:inkChg>
        <pc:inkChg chg="mod">
          <ac:chgData name="Aniket Chhabra" userId="598e0514-bef3-4e71-b6aa-f2edd6441cff" providerId="ADAL" clId="{A0F7D543-B727-034C-88B5-8F838AD07213}" dt="2022-09-24T06:22:26.641" v="1865"/>
          <ac:inkMkLst>
            <pc:docMk/>
            <pc:sldMk cId="2717547441" sldId="304"/>
            <ac:inkMk id="56" creationId="{9430891D-3333-40B6-A475-04864E2EC211}"/>
          </ac:inkMkLst>
        </pc:inkChg>
        <pc:inkChg chg="mod">
          <ac:chgData name="Aniket Chhabra" userId="598e0514-bef3-4e71-b6aa-f2edd6441cff" providerId="ADAL" clId="{A0F7D543-B727-034C-88B5-8F838AD07213}" dt="2022-09-24T06:22:26.641" v="1865"/>
          <ac:inkMkLst>
            <pc:docMk/>
            <pc:sldMk cId="2717547441" sldId="304"/>
            <ac:inkMk id="57" creationId="{0C09E339-927C-41EA-99B3-9E85BB1DAE94}"/>
          </ac:inkMkLst>
        </pc:inkChg>
        <pc:inkChg chg="del">
          <ac:chgData name="Aniket Chhabra" userId="598e0514-bef3-4e71-b6aa-f2edd6441cff" providerId="ADAL" clId="{A0F7D543-B727-034C-88B5-8F838AD07213}" dt="2022-09-24T06:22:26.640" v="1860"/>
          <ac:inkMkLst>
            <pc:docMk/>
            <pc:sldMk cId="2717547441" sldId="304"/>
            <ac:inkMk id="58" creationId="{4B8398DD-C62F-402D-A635-9E965CF4299E}"/>
          </ac:inkMkLst>
        </pc:inkChg>
        <pc:inkChg chg="del mod">
          <ac:chgData name="Aniket Chhabra" userId="598e0514-bef3-4e71-b6aa-f2edd6441cff" providerId="ADAL" clId="{A0F7D543-B727-034C-88B5-8F838AD07213}" dt="2022-09-24T06:22:26.640" v="1862"/>
          <ac:inkMkLst>
            <pc:docMk/>
            <pc:sldMk cId="2717547441" sldId="304"/>
            <ac:inkMk id="59" creationId="{BD35945B-E76C-44F2-9234-5CE14A32AA28}"/>
          </ac:inkMkLst>
        </pc:inkChg>
        <pc:inkChg chg="del mod">
          <ac:chgData name="Aniket Chhabra" userId="598e0514-bef3-4e71-b6aa-f2edd6441cff" providerId="ADAL" clId="{A0F7D543-B727-034C-88B5-8F838AD07213}" dt="2022-09-24T06:22:26.641" v="1865"/>
          <ac:inkMkLst>
            <pc:docMk/>
            <pc:sldMk cId="2717547441" sldId="304"/>
            <ac:inkMk id="60" creationId="{FE0B3302-928F-483F-9556-3D1E602C67E0}"/>
          </ac:inkMkLst>
        </pc:inkChg>
        <pc:inkChg chg="mod">
          <ac:chgData name="Aniket Chhabra" userId="598e0514-bef3-4e71-b6aa-f2edd6441cff" providerId="ADAL" clId="{A0F7D543-B727-034C-88B5-8F838AD07213}" dt="2022-09-24T06:22:26.641" v="1865"/>
          <ac:inkMkLst>
            <pc:docMk/>
            <pc:sldMk cId="2717547441" sldId="304"/>
            <ac:inkMk id="61" creationId="{208BCFD0-F1F0-4CDE-94B3-388BA07A7788}"/>
          </ac:inkMkLst>
        </pc:inkChg>
        <pc:inkChg chg="add del mod">
          <ac:chgData name="Aniket Chhabra" userId="598e0514-bef3-4e71-b6aa-f2edd6441cff" providerId="ADAL" clId="{A0F7D543-B727-034C-88B5-8F838AD07213}" dt="2022-09-10T08:48:26.847" v="1463"/>
          <ac:inkMkLst>
            <pc:docMk/>
            <pc:sldMk cId="2717547441" sldId="304"/>
            <ac:inkMk id="62" creationId="{157EF0D1-DB61-2C46-15ED-1876D3E563D4}"/>
          </ac:inkMkLst>
        </pc:inkChg>
        <pc:inkChg chg="add del mod">
          <ac:chgData name="Aniket Chhabra" userId="598e0514-bef3-4e71-b6aa-f2edd6441cff" providerId="ADAL" clId="{A0F7D543-B727-034C-88B5-8F838AD07213}" dt="2022-08-21T06:59:40.007" v="267"/>
          <ac:inkMkLst>
            <pc:docMk/>
            <pc:sldMk cId="2717547441" sldId="304"/>
            <ac:inkMk id="63" creationId="{122A9531-4FC2-AA69-4D45-29A5010F5A43}"/>
          </ac:inkMkLst>
        </pc:inkChg>
        <pc:inkChg chg="add del">
          <ac:chgData name="Aniket Chhabra" userId="598e0514-bef3-4e71-b6aa-f2edd6441cff" providerId="ADAL" clId="{A0F7D543-B727-034C-88B5-8F838AD07213}" dt="2022-09-24T06:22:20.875" v="1838"/>
          <ac:inkMkLst>
            <pc:docMk/>
            <pc:sldMk cId="2717547441" sldId="304"/>
            <ac:inkMk id="63" creationId="{C53E25BB-DB75-36F6-C52C-D03DC51B682A}"/>
          </ac:inkMkLst>
        </pc:inkChg>
        <pc:inkChg chg="add del mod">
          <ac:chgData name="Aniket Chhabra" userId="598e0514-bef3-4e71-b6aa-f2edd6441cff" providerId="ADAL" clId="{A0F7D543-B727-034C-88B5-8F838AD07213}" dt="2022-09-24T06:22:25.229" v="1848"/>
          <ac:inkMkLst>
            <pc:docMk/>
            <pc:sldMk cId="2717547441" sldId="304"/>
            <ac:inkMk id="64" creationId="{42CE2E7A-7432-EF12-2A68-7735074F4A83}"/>
          </ac:inkMkLst>
        </pc:inkChg>
        <pc:inkChg chg="add del">
          <ac:chgData name="Aniket Chhabra" userId="598e0514-bef3-4e71-b6aa-f2edd6441cff" providerId="ADAL" clId="{A0F7D543-B727-034C-88B5-8F838AD07213}" dt="2022-09-10T08:48:26.848" v="1464"/>
          <ac:inkMkLst>
            <pc:docMk/>
            <pc:sldMk cId="2717547441" sldId="304"/>
            <ac:inkMk id="65" creationId="{E31C84A7-29E8-AD6B-A20B-1FCA831E1668}"/>
          </ac:inkMkLst>
        </pc:inkChg>
        <pc:inkChg chg="mod">
          <ac:chgData name="Aniket Chhabra" userId="598e0514-bef3-4e71-b6aa-f2edd6441cff" providerId="ADAL" clId="{A0F7D543-B727-034C-88B5-8F838AD07213}" dt="2022-09-24T06:22:26.640" v="1863"/>
          <ac:inkMkLst>
            <pc:docMk/>
            <pc:sldMk cId="2717547441" sldId="304"/>
            <ac:inkMk id="72" creationId="{CAC979A3-A595-4D7E-AAFC-A7507151F8A8}"/>
          </ac:inkMkLst>
        </pc:inkChg>
        <pc:inkChg chg="mod">
          <ac:chgData name="Aniket Chhabra" userId="598e0514-bef3-4e71-b6aa-f2edd6441cff" providerId="ADAL" clId="{A0F7D543-B727-034C-88B5-8F838AD07213}" dt="2022-09-24T06:22:26.640" v="1863"/>
          <ac:inkMkLst>
            <pc:docMk/>
            <pc:sldMk cId="2717547441" sldId="304"/>
            <ac:inkMk id="73" creationId="{EF35AEFE-4032-47D2-869E-06EC36AE9B97}"/>
          </ac:inkMkLst>
        </pc:inkChg>
        <pc:inkChg chg="del mod">
          <ac:chgData name="Aniket Chhabra" userId="598e0514-bef3-4e71-b6aa-f2edd6441cff" providerId="ADAL" clId="{A0F7D543-B727-034C-88B5-8F838AD07213}" dt="2022-09-24T06:22:26.640" v="1863"/>
          <ac:inkMkLst>
            <pc:docMk/>
            <pc:sldMk cId="2717547441" sldId="304"/>
            <ac:inkMk id="74" creationId="{A7E8D3F4-E490-4827-884C-EB7366A5CFBB}"/>
          </ac:inkMkLst>
        </pc:inkChg>
        <pc:inkChg chg="del">
          <ac:chgData name="Aniket Chhabra" userId="598e0514-bef3-4e71-b6aa-f2edd6441cff" providerId="ADAL" clId="{A0F7D543-B727-034C-88B5-8F838AD07213}" dt="2022-09-24T06:22:26.640" v="1861"/>
          <ac:inkMkLst>
            <pc:docMk/>
            <pc:sldMk cId="2717547441" sldId="304"/>
            <ac:inkMk id="75" creationId="{FA62F651-B8EC-43B6-B53C-07DE7B814B3F}"/>
          </ac:inkMkLst>
        </pc:inkChg>
        <pc:inkChg chg="mod">
          <ac:chgData name="Aniket Chhabra" userId="598e0514-bef3-4e71-b6aa-f2edd6441cff" providerId="ADAL" clId="{A0F7D543-B727-034C-88B5-8F838AD07213}" dt="2022-09-24T06:22:26.640" v="1863"/>
          <ac:inkMkLst>
            <pc:docMk/>
            <pc:sldMk cId="2717547441" sldId="304"/>
            <ac:inkMk id="76" creationId="{82EA67B2-B0A2-404F-A650-76B6EA7F787E}"/>
          </ac:inkMkLst>
        </pc:inkChg>
        <pc:inkChg chg="mod">
          <ac:chgData name="Aniket Chhabra" userId="598e0514-bef3-4e71-b6aa-f2edd6441cff" providerId="ADAL" clId="{A0F7D543-B727-034C-88B5-8F838AD07213}" dt="2022-09-24T06:22:26.640" v="1863"/>
          <ac:inkMkLst>
            <pc:docMk/>
            <pc:sldMk cId="2717547441" sldId="304"/>
            <ac:inkMk id="77" creationId="{24F32F59-FE3E-4F6E-8C90-C3AD2B3A1E61}"/>
          </ac:inkMkLst>
        </pc:inkChg>
        <pc:inkChg chg="mod">
          <ac:chgData name="Aniket Chhabra" userId="598e0514-bef3-4e71-b6aa-f2edd6441cff" providerId="ADAL" clId="{A0F7D543-B727-034C-88B5-8F838AD07213}" dt="2022-09-24T06:22:26.640" v="1863"/>
          <ac:inkMkLst>
            <pc:docMk/>
            <pc:sldMk cId="2717547441" sldId="304"/>
            <ac:inkMk id="78" creationId="{183B7C80-9E0C-4AED-94F7-3EF9A46901C9}"/>
          </ac:inkMkLst>
        </pc:inkChg>
        <pc:inkChg chg="mod">
          <ac:chgData name="Aniket Chhabra" userId="598e0514-bef3-4e71-b6aa-f2edd6441cff" providerId="ADAL" clId="{A0F7D543-B727-034C-88B5-8F838AD07213}" dt="2022-09-24T06:22:26.640" v="1863"/>
          <ac:inkMkLst>
            <pc:docMk/>
            <pc:sldMk cId="2717547441" sldId="304"/>
            <ac:inkMk id="79" creationId="{7F91534A-A94C-462A-AD78-44B38416FC23}"/>
          </ac:inkMkLst>
        </pc:inkChg>
        <pc:inkChg chg="mod">
          <ac:chgData name="Aniket Chhabra" userId="598e0514-bef3-4e71-b6aa-f2edd6441cff" providerId="ADAL" clId="{A0F7D543-B727-034C-88B5-8F838AD07213}" dt="2022-09-24T06:22:26.640" v="1863"/>
          <ac:inkMkLst>
            <pc:docMk/>
            <pc:sldMk cId="2717547441" sldId="304"/>
            <ac:inkMk id="80" creationId="{C0780ED6-79EA-4AF0-8606-355632A86890}"/>
          </ac:inkMkLst>
        </pc:inkChg>
        <pc:inkChg chg="add del">
          <ac:chgData name="Aniket Chhabra" userId="598e0514-bef3-4e71-b6aa-f2edd6441cff" providerId="ADAL" clId="{A0F7D543-B727-034C-88B5-8F838AD07213}" dt="2022-09-10T08:48:34.825" v="1467"/>
          <ac:inkMkLst>
            <pc:docMk/>
            <pc:sldMk cId="2717547441" sldId="304"/>
            <ac:inkMk id="107" creationId="{18CE27D8-4E84-CE82-4AF2-E0E2C0A4837E}"/>
          </ac:inkMkLst>
        </pc:inkChg>
        <pc:inkChg chg="add mod">
          <ac:chgData name="Aniket Chhabra" userId="598e0514-bef3-4e71-b6aa-f2edd6441cff" providerId="ADAL" clId="{A0F7D543-B727-034C-88B5-8F838AD07213}" dt="2022-09-24T06:22:25.231" v="1856"/>
          <ac:inkMkLst>
            <pc:docMk/>
            <pc:sldMk cId="2717547441" sldId="304"/>
            <ac:inkMk id="110" creationId="{9EFB8B09-BAF4-C050-26BC-1283E590E030}"/>
          </ac:inkMkLst>
        </pc:inkChg>
        <pc:inkChg chg="add del mod">
          <ac:chgData name="Aniket Chhabra" userId="598e0514-bef3-4e71-b6aa-f2edd6441cff" providerId="ADAL" clId="{A0F7D543-B727-034C-88B5-8F838AD07213}" dt="2022-09-24T06:22:25.231" v="1856"/>
          <ac:inkMkLst>
            <pc:docMk/>
            <pc:sldMk cId="2717547441" sldId="304"/>
            <ac:inkMk id="111" creationId="{3D37B1C4-FE35-2222-2E64-5A03B19D37E3}"/>
          </ac:inkMkLst>
        </pc:inkChg>
        <pc:inkChg chg="add del">
          <ac:chgData name="Aniket Chhabra" userId="598e0514-bef3-4e71-b6aa-f2edd6441cff" providerId="ADAL" clId="{A0F7D543-B727-034C-88B5-8F838AD07213}" dt="2022-09-10T08:48:34.825" v="1468"/>
          <ac:inkMkLst>
            <pc:docMk/>
            <pc:sldMk cId="2717547441" sldId="304"/>
            <ac:inkMk id="113" creationId="{82BD7760-2387-FB24-DC71-D9B5145D2684}"/>
          </ac:inkMkLst>
        </pc:inkChg>
        <pc:inkChg chg="add del">
          <ac:chgData name="Aniket Chhabra" userId="598e0514-bef3-4e71-b6aa-f2edd6441cff" providerId="ADAL" clId="{A0F7D543-B727-034C-88B5-8F838AD07213}" dt="2022-09-10T08:48:34.825" v="1466"/>
          <ac:inkMkLst>
            <pc:docMk/>
            <pc:sldMk cId="2717547441" sldId="304"/>
            <ac:inkMk id="114" creationId="{71012479-C608-C8CA-365F-6C0222BEA031}"/>
          </ac:inkMkLst>
        </pc:inkChg>
        <pc:inkChg chg="add del mod">
          <ac:chgData name="Aniket Chhabra" userId="598e0514-bef3-4e71-b6aa-f2edd6441cff" providerId="ADAL" clId="{A0F7D543-B727-034C-88B5-8F838AD07213}" dt="2022-09-24T06:22:25.230" v="1852"/>
          <ac:inkMkLst>
            <pc:docMk/>
            <pc:sldMk cId="2717547441" sldId="304"/>
            <ac:inkMk id="121" creationId="{4DA8D9C6-D7BE-4D5D-6ADD-E748F6C582D6}"/>
          </ac:inkMkLst>
        </pc:inkChg>
        <pc:inkChg chg="add mod">
          <ac:chgData name="Aniket Chhabra" userId="598e0514-bef3-4e71-b6aa-f2edd6441cff" providerId="ADAL" clId="{A0F7D543-B727-034C-88B5-8F838AD07213}" dt="2022-09-10T08:52:45.601" v="1528"/>
          <ac:inkMkLst>
            <pc:docMk/>
            <pc:sldMk cId="2717547441" sldId="304"/>
            <ac:inkMk id="124" creationId="{37C26012-6F70-0347-3011-80F14FEC00FE}"/>
          </ac:inkMkLst>
        </pc:inkChg>
        <pc:inkChg chg="add del">
          <ac:chgData name="Aniket Chhabra" userId="598e0514-bef3-4e71-b6aa-f2edd6441cff" providerId="ADAL" clId="{A0F7D543-B727-034C-88B5-8F838AD07213}" dt="2022-09-24T06:22:26.640" v="1864"/>
          <ac:inkMkLst>
            <pc:docMk/>
            <pc:sldMk cId="2717547441" sldId="304"/>
            <ac:inkMk id="141" creationId="{8F4A7AA8-3A8F-0CC6-89B5-3AE4627E5D80}"/>
          </ac:inkMkLst>
        </pc:inkChg>
        <pc:inkChg chg="add del">
          <ac:chgData name="Aniket Chhabra" userId="598e0514-bef3-4e71-b6aa-f2edd6441cff" providerId="ADAL" clId="{A0F7D543-B727-034C-88B5-8F838AD07213}" dt="2022-09-24T06:22:20.875" v="1842"/>
          <ac:inkMkLst>
            <pc:docMk/>
            <pc:sldMk cId="2717547441" sldId="304"/>
            <ac:inkMk id="146" creationId="{2440092C-D8D6-C7B4-FCE0-8B531492FAEE}"/>
          </ac:inkMkLst>
        </pc:inkChg>
        <pc:inkChg chg="add del mod">
          <ac:chgData name="Aniket Chhabra" userId="598e0514-bef3-4e71-b6aa-f2edd6441cff" providerId="ADAL" clId="{A0F7D543-B727-034C-88B5-8F838AD07213}" dt="2022-09-24T06:22:25.230" v="1854"/>
          <ac:inkMkLst>
            <pc:docMk/>
            <pc:sldMk cId="2717547441" sldId="304"/>
            <ac:inkMk id="147" creationId="{4F68239E-88B2-2EA7-1220-AF5B3C13AF15}"/>
          </ac:inkMkLst>
        </pc:inkChg>
        <pc:inkChg chg="add del mod">
          <ac:chgData name="Aniket Chhabra" userId="598e0514-bef3-4e71-b6aa-f2edd6441cff" providerId="ADAL" clId="{A0F7D543-B727-034C-88B5-8F838AD07213}" dt="2022-09-24T06:22:25.231" v="1857"/>
          <ac:inkMkLst>
            <pc:docMk/>
            <pc:sldMk cId="2717547441" sldId="304"/>
            <ac:inkMk id="149" creationId="{31C22C00-A44A-E5E6-6333-51D59E7EC09C}"/>
          </ac:inkMkLst>
        </pc:inkChg>
        <pc:inkChg chg="add del mod">
          <ac:chgData name="Aniket Chhabra" userId="598e0514-bef3-4e71-b6aa-f2edd6441cff" providerId="ADAL" clId="{A0F7D543-B727-034C-88B5-8F838AD07213}" dt="2022-09-10T08:51:09.895" v="1486"/>
          <ac:inkMkLst>
            <pc:docMk/>
            <pc:sldMk cId="2717547441" sldId="304"/>
            <ac:inkMk id="151" creationId="{70D06A16-5964-2013-5338-3329B268FAFC}"/>
          </ac:inkMkLst>
        </pc:inkChg>
        <pc:inkChg chg="add del">
          <ac:chgData name="Aniket Chhabra" userId="598e0514-bef3-4e71-b6aa-f2edd6441cff" providerId="ADAL" clId="{A0F7D543-B727-034C-88B5-8F838AD07213}" dt="2022-09-24T06:22:20.874" v="1835"/>
          <ac:inkMkLst>
            <pc:docMk/>
            <pc:sldMk cId="2717547441" sldId="304"/>
            <ac:inkMk id="153" creationId="{F58731A8-5B60-1610-A4EF-680BEAF9A1B8}"/>
          </ac:inkMkLst>
        </pc:inkChg>
        <pc:inkChg chg="add del mod">
          <ac:chgData name="Aniket Chhabra" userId="598e0514-bef3-4e71-b6aa-f2edd6441cff" providerId="ADAL" clId="{A0F7D543-B727-034C-88B5-8F838AD07213}" dt="2022-09-24T06:22:20.876" v="1844"/>
          <ac:inkMkLst>
            <pc:docMk/>
            <pc:sldMk cId="2717547441" sldId="304"/>
            <ac:inkMk id="154" creationId="{E13C9F22-57F3-7920-612C-26F9BA217BE0}"/>
          </ac:inkMkLst>
        </pc:inkChg>
        <pc:inkChg chg="add mod">
          <ac:chgData name="Aniket Chhabra" userId="598e0514-bef3-4e71-b6aa-f2edd6441cff" providerId="ADAL" clId="{A0F7D543-B727-034C-88B5-8F838AD07213}" dt="2022-09-10T08:52:45.601" v="1528"/>
          <ac:inkMkLst>
            <pc:docMk/>
            <pc:sldMk cId="2717547441" sldId="304"/>
            <ac:inkMk id="155" creationId="{321D5CA3-9C39-07A1-C64E-CE5BF1134E62}"/>
          </ac:inkMkLst>
        </pc:inkChg>
        <pc:inkChg chg="add mod">
          <ac:chgData name="Aniket Chhabra" userId="598e0514-bef3-4e71-b6aa-f2edd6441cff" providerId="ADAL" clId="{A0F7D543-B727-034C-88B5-8F838AD07213}" dt="2022-09-10T08:52:45.601" v="1528"/>
          <ac:inkMkLst>
            <pc:docMk/>
            <pc:sldMk cId="2717547441" sldId="304"/>
            <ac:inkMk id="156" creationId="{EBC32C2D-E446-151F-0453-4F2ADA5A7576}"/>
          </ac:inkMkLst>
        </pc:inkChg>
        <pc:inkChg chg="add del mod">
          <ac:chgData name="Aniket Chhabra" userId="598e0514-bef3-4e71-b6aa-f2edd6441cff" providerId="ADAL" clId="{A0F7D543-B727-034C-88B5-8F838AD07213}" dt="2022-09-24T06:22:20.873" v="1832"/>
          <ac:inkMkLst>
            <pc:docMk/>
            <pc:sldMk cId="2717547441" sldId="304"/>
            <ac:inkMk id="157" creationId="{2F916732-08BB-C4D7-F221-B78B4AE1C63D}"/>
          </ac:inkMkLst>
        </pc:inkChg>
        <pc:inkChg chg="add del mod">
          <ac:chgData name="Aniket Chhabra" userId="598e0514-bef3-4e71-b6aa-f2edd6441cff" providerId="ADAL" clId="{A0F7D543-B727-034C-88B5-8F838AD07213}" dt="2022-09-24T06:22:20.876" v="1845"/>
          <ac:inkMkLst>
            <pc:docMk/>
            <pc:sldMk cId="2717547441" sldId="304"/>
            <ac:inkMk id="158" creationId="{60FEA476-BAE4-58B0-4307-4FE8D009835A}"/>
          </ac:inkMkLst>
        </pc:inkChg>
        <pc:inkChg chg="add del mod">
          <ac:chgData name="Aniket Chhabra" userId="598e0514-bef3-4e71-b6aa-f2edd6441cff" providerId="ADAL" clId="{A0F7D543-B727-034C-88B5-8F838AD07213}" dt="2022-09-24T06:22:20.867" v="1822"/>
          <ac:inkMkLst>
            <pc:docMk/>
            <pc:sldMk cId="2717547441" sldId="304"/>
            <ac:inkMk id="159" creationId="{D1F1690C-F018-9A13-38DE-819C6F06AE80}"/>
          </ac:inkMkLst>
        </pc:inkChg>
        <pc:inkChg chg="add del mod">
          <ac:chgData name="Aniket Chhabra" userId="598e0514-bef3-4e71-b6aa-f2edd6441cff" providerId="ADAL" clId="{A0F7D543-B727-034C-88B5-8F838AD07213}" dt="2022-09-24T06:22:20.873" v="1830"/>
          <ac:inkMkLst>
            <pc:docMk/>
            <pc:sldMk cId="2717547441" sldId="304"/>
            <ac:inkMk id="161" creationId="{0FB4B905-4A77-6B0F-381D-315787C3E1D8}"/>
          </ac:inkMkLst>
        </pc:inkChg>
        <pc:inkChg chg="add del mod">
          <ac:chgData name="Aniket Chhabra" userId="598e0514-bef3-4e71-b6aa-f2edd6441cff" providerId="ADAL" clId="{A0F7D543-B727-034C-88B5-8F838AD07213}" dt="2022-09-24T06:22:20.876" v="1847"/>
          <ac:inkMkLst>
            <pc:docMk/>
            <pc:sldMk cId="2717547441" sldId="304"/>
            <ac:inkMk id="163" creationId="{33CCB19E-377E-CA4A-31A5-C3718FB3FC79}"/>
          </ac:inkMkLst>
        </pc:inkChg>
        <pc:inkChg chg="add del mod">
          <ac:chgData name="Aniket Chhabra" userId="598e0514-bef3-4e71-b6aa-f2edd6441cff" providerId="ADAL" clId="{A0F7D543-B727-034C-88B5-8F838AD07213}" dt="2022-09-24T06:22:20.873" v="1829"/>
          <ac:inkMkLst>
            <pc:docMk/>
            <pc:sldMk cId="2717547441" sldId="304"/>
            <ac:inkMk id="164" creationId="{E5CDDC23-7E79-4822-A746-089AC3595CFD}"/>
          </ac:inkMkLst>
        </pc:inkChg>
        <pc:inkChg chg="add del mod">
          <ac:chgData name="Aniket Chhabra" userId="598e0514-bef3-4e71-b6aa-f2edd6441cff" providerId="ADAL" clId="{A0F7D543-B727-034C-88B5-8F838AD07213}" dt="2022-09-24T06:22:20.874" v="1833"/>
          <ac:inkMkLst>
            <pc:docMk/>
            <pc:sldMk cId="2717547441" sldId="304"/>
            <ac:inkMk id="165" creationId="{93FAE01A-6E6A-505A-60C5-98015A3DD441}"/>
          </ac:inkMkLst>
        </pc:inkChg>
        <pc:inkChg chg="add del mod">
          <ac:chgData name="Aniket Chhabra" userId="598e0514-bef3-4e71-b6aa-f2edd6441cff" providerId="ADAL" clId="{A0F7D543-B727-034C-88B5-8F838AD07213}" dt="2022-09-24T06:22:20.871" v="1823"/>
          <ac:inkMkLst>
            <pc:docMk/>
            <pc:sldMk cId="2717547441" sldId="304"/>
            <ac:inkMk id="166" creationId="{A1A79CA8-B939-30E7-86A3-C923905C4D59}"/>
          </ac:inkMkLst>
        </pc:inkChg>
        <pc:inkChg chg="add del mod">
          <ac:chgData name="Aniket Chhabra" userId="598e0514-bef3-4e71-b6aa-f2edd6441cff" providerId="ADAL" clId="{A0F7D543-B727-034C-88B5-8F838AD07213}" dt="2022-09-24T06:22:20.874" v="1837"/>
          <ac:inkMkLst>
            <pc:docMk/>
            <pc:sldMk cId="2717547441" sldId="304"/>
            <ac:inkMk id="167" creationId="{BD1C0483-ABBB-3472-1629-1357F7D803E0}"/>
          </ac:inkMkLst>
        </pc:inkChg>
        <pc:inkChg chg="add del mod">
          <ac:chgData name="Aniket Chhabra" userId="598e0514-bef3-4e71-b6aa-f2edd6441cff" providerId="ADAL" clId="{A0F7D543-B727-034C-88B5-8F838AD07213}" dt="2022-09-24T06:22:20.872" v="1826"/>
          <ac:inkMkLst>
            <pc:docMk/>
            <pc:sldMk cId="2717547441" sldId="304"/>
            <ac:inkMk id="168" creationId="{49D1CB7A-DA96-D020-CA31-98B8BCF867E3}"/>
          </ac:inkMkLst>
        </pc:inkChg>
        <pc:inkChg chg="add del mod">
          <ac:chgData name="Aniket Chhabra" userId="598e0514-bef3-4e71-b6aa-f2edd6441cff" providerId="ADAL" clId="{A0F7D543-B727-034C-88B5-8F838AD07213}" dt="2022-09-24T06:22:20.876" v="1843"/>
          <ac:inkMkLst>
            <pc:docMk/>
            <pc:sldMk cId="2717547441" sldId="304"/>
            <ac:inkMk id="170" creationId="{70F32CF8-4F01-548C-60CE-3C0FFFAB80F6}"/>
          </ac:inkMkLst>
        </pc:inkChg>
        <pc:inkChg chg="add del mod">
          <ac:chgData name="Aniket Chhabra" userId="598e0514-bef3-4e71-b6aa-f2edd6441cff" providerId="ADAL" clId="{A0F7D543-B727-034C-88B5-8F838AD07213}" dt="2022-09-24T06:22:20.871" v="1824"/>
          <ac:inkMkLst>
            <pc:docMk/>
            <pc:sldMk cId="2717547441" sldId="304"/>
            <ac:inkMk id="171" creationId="{13C4EBD3-19D9-1BC0-27B3-C6B77B474EBC}"/>
          </ac:inkMkLst>
        </pc:inkChg>
        <pc:inkChg chg="add del mod">
          <ac:chgData name="Aniket Chhabra" userId="598e0514-bef3-4e71-b6aa-f2edd6441cff" providerId="ADAL" clId="{A0F7D543-B727-034C-88B5-8F838AD07213}" dt="2022-09-24T06:22:20.876" v="1846"/>
          <ac:inkMkLst>
            <pc:docMk/>
            <pc:sldMk cId="2717547441" sldId="304"/>
            <ac:inkMk id="172" creationId="{72549EF5-F78E-E2E6-E937-4B8D9309B727}"/>
          </ac:inkMkLst>
        </pc:inkChg>
        <pc:inkChg chg="add del mod">
          <ac:chgData name="Aniket Chhabra" userId="598e0514-bef3-4e71-b6aa-f2edd6441cff" providerId="ADAL" clId="{A0F7D543-B727-034C-88B5-8F838AD07213}" dt="2022-09-24T06:22:20.874" v="1836"/>
          <ac:inkMkLst>
            <pc:docMk/>
            <pc:sldMk cId="2717547441" sldId="304"/>
            <ac:inkMk id="173" creationId="{B6BECBE4-DF22-4656-FCE6-500B1FFB9C09}"/>
          </ac:inkMkLst>
        </pc:inkChg>
        <pc:inkChg chg="add del mod">
          <ac:chgData name="Aniket Chhabra" userId="598e0514-bef3-4e71-b6aa-f2edd6441cff" providerId="ADAL" clId="{A0F7D543-B727-034C-88B5-8F838AD07213}" dt="2022-09-24T06:22:20.873" v="1831"/>
          <ac:inkMkLst>
            <pc:docMk/>
            <pc:sldMk cId="2717547441" sldId="304"/>
            <ac:inkMk id="174" creationId="{B221B0AF-D3DE-7BC8-05B7-7D9763C8D82C}"/>
          </ac:inkMkLst>
        </pc:inkChg>
        <pc:inkChg chg="add del mod">
          <ac:chgData name="Aniket Chhabra" userId="598e0514-bef3-4e71-b6aa-f2edd6441cff" providerId="ADAL" clId="{A0F7D543-B727-034C-88B5-8F838AD07213}" dt="2022-09-24T06:22:25.231" v="1855"/>
          <ac:inkMkLst>
            <pc:docMk/>
            <pc:sldMk cId="2717547441" sldId="304"/>
            <ac:inkMk id="175" creationId="{9BFA5595-0C81-88A9-1BF0-DE8B870A559E}"/>
          </ac:inkMkLst>
        </pc:inkChg>
        <pc:inkChg chg="add del mod">
          <ac:chgData name="Aniket Chhabra" userId="598e0514-bef3-4e71-b6aa-f2edd6441cff" providerId="ADAL" clId="{A0F7D543-B727-034C-88B5-8F838AD07213}" dt="2022-09-24T06:22:20.875" v="1840"/>
          <ac:inkMkLst>
            <pc:docMk/>
            <pc:sldMk cId="2717547441" sldId="304"/>
            <ac:inkMk id="176" creationId="{120591C7-2336-50DF-3B6B-82C26D7F4CBC}"/>
          </ac:inkMkLst>
        </pc:inkChg>
        <pc:inkChg chg="add del mod">
          <ac:chgData name="Aniket Chhabra" userId="598e0514-bef3-4e71-b6aa-f2edd6441cff" providerId="ADAL" clId="{A0F7D543-B727-034C-88B5-8F838AD07213}" dt="2022-09-24T06:22:20.875" v="1839"/>
          <ac:inkMkLst>
            <pc:docMk/>
            <pc:sldMk cId="2717547441" sldId="304"/>
            <ac:inkMk id="177" creationId="{9FE10F52-6D12-910A-FB5E-6B400328DF58}"/>
          </ac:inkMkLst>
        </pc:inkChg>
        <pc:inkChg chg="add del mod">
          <ac:chgData name="Aniket Chhabra" userId="598e0514-bef3-4e71-b6aa-f2edd6441cff" providerId="ADAL" clId="{A0F7D543-B727-034C-88B5-8F838AD07213}" dt="2022-09-24T06:22:20.874" v="1834"/>
          <ac:inkMkLst>
            <pc:docMk/>
            <pc:sldMk cId="2717547441" sldId="304"/>
            <ac:inkMk id="178" creationId="{C32BCC78-6AD6-8B1E-B6CE-F8C85269A5EF}"/>
          </ac:inkMkLst>
        </pc:inkChg>
        <pc:inkChg chg="add del mod">
          <ac:chgData name="Aniket Chhabra" userId="598e0514-bef3-4e71-b6aa-f2edd6441cff" providerId="ADAL" clId="{A0F7D543-B727-034C-88B5-8F838AD07213}" dt="2022-09-24T06:22:20.872" v="1827"/>
          <ac:inkMkLst>
            <pc:docMk/>
            <pc:sldMk cId="2717547441" sldId="304"/>
            <ac:inkMk id="180" creationId="{B415BEDF-5785-F89A-19DF-5AF632D6AB6C}"/>
          </ac:inkMkLst>
        </pc:inkChg>
        <pc:inkChg chg="add del mod">
          <ac:chgData name="Aniket Chhabra" userId="598e0514-bef3-4e71-b6aa-f2edd6441cff" providerId="ADAL" clId="{A0F7D543-B727-034C-88B5-8F838AD07213}" dt="2022-09-24T06:22:25.229" v="1849"/>
          <ac:inkMkLst>
            <pc:docMk/>
            <pc:sldMk cId="2717547441" sldId="304"/>
            <ac:inkMk id="182" creationId="{1D9DC9FA-10E8-0150-E56D-93409BB2E257}"/>
          </ac:inkMkLst>
        </pc:inkChg>
        <pc:inkChg chg="add del mod">
          <ac:chgData name="Aniket Chhabra" userId="598e0514-bef3-4e71-b6aa-f2edd6441cff" providerId="ADAL" clId="{A0F7D543-B727-034C-88B5-8F838AD07213}" dt="2022-09-24T06:22:25.230" v="1853"/>
          <ac:inkMkLst>
            <pc:docMk/>
            <pc:sldMk cId="2717547441" sldId="304"/>
            <ac:inkMk id="184" creationId="{930CBEB0-1EB1-6DA1-423F-4BB433826FF9}"/>
          </ac:inkMkLst>
        </pc:inkChg>
        <pc:inkChg chg="add del mod">
          <ac:chgData name="Aniket Chhabra" userId="598e0514-bef3-4e71-b6aa-f2edd6441cff" providerId="ADAL" clId="{A0F7D543-B727-034C-88B5-8F838AD07213}" dt="2022-09-24T06:22:25.230" v="1850"/>
          <ac:inkMkLst>
            <pc:docMk/>
            <pc:sldMk cId="2717547441" sldId="304"/>
            <ac:inkMk id="186" creationId="{2C68B059-5211-7BFD-BD35-0E85879742D1}"/>
          </ac:inkMkLst>
        </pc:inkChg>
        <pc:inkChg chg="add">
          <ac:chgData name="Aniket Chhabra" userId="598e0514-bef3-4e71-b6aa-f2edd6441cff" providerId="ADAL" clId="{A0F7D543-B727-034C-88B5-8F838AD07213}" dt="2022-09-10T08:52:18.754" v="1522" actId="9405"/>
          <ac:inkMkLst>
            <pc:docMk/>
            <pc:sldMk cId="2717547441" sldId="304"/>
            <ac:inkMk id="188" creationId="{5E76B3EB-A2ED-8C3C-47EA-7FC6A9C9B6C4}"/>
          </ac:inkMkLst>
        </pc:inkChg>
        <pc:inkChg chg="add del">
          <ac:chgData name="Aniket Chhabra" userId="598e0514-bef3-4e71-b6aa-f2edd6441cff" providerId="ADAL" clId="{A0F7D543-B727-034C-88B5-8F838AD07213}" dt="2022-09-24T06:22:26.639" v="1858"/>
          <ac:inkMkLst>
            <pc:docMk/>
            <pc:sldMk cId="2717547441" sldId="304"/>
            <ac:inkMk id="189" creationId="{B06BA5FA-F88E-2A3B-C817-4448AEC35AD8}"/>
          </ac:inkMkLst>
        </pc:inkChg>
        <pc:inkChg chg="add del">
          <ac:chgData name="Aniket Chhabra" userId="598e0514-bef3-4e71-b6aa-f2edd6441cff" providerId="ADAL" clId="{A0F7D543-B727-034C-88B5-8F838AD07213}" dt="2022-09-24T06:22:25.230" v="1851"/>
          <ac:inkMkLst>
            <pc:docMk/>
            <pc:sldMk cId="2717547441" sldId="304"/>
            <ac:inkMk id="190" creationId="{B0C60958-0008-7C50-82FB-3D8D01808970}"/>
          </ac:inkMkLst>
        </pc:inkChg>
        <pc:inkChg chg="add del mod">
          <ac:chgData name="Aniket Chhabra" userId="598e0514-bef3-4e71-b6aa-f2edd6441cff" providerId="ADAL" clId="{A0F7D543-B727-034C-88B5-8F838AD07213}" dt="2022-09-24T06:22:20.872" v="1828"/>
          <ac:inkMkLst>
            <pc:docMk/>
            <pc:sldMk cId="2717547441" sldId="304"/>
            <ac:inkMk id="191" creationId="{524C79A8-5418-47D2-50F3-BB96DE57D667}"/>
          </ac:inkMkLst>
        </pc:inkChg>
        <pc:inkChg chg="add del mod">
          <ac:chgData name="Aniket Chhabra" userId="598e0514-bef3-4e71-b6aa-f2edd6441cff" providerId="ADAL" clId="{A0F7D543-B727-034C-88B5-8F838AD07213}" dt="2022-09-24T06:22:20.875" v="1841"/>
          <ac:inkMkLst>
            <pc:docMk/>
            <pc:sldMk cId="2717547441" sldId="304"/>
            <ac:inkMk id="193" creationId="{A524A570-5905-9AED-C610-E020A986FED4}"/>
          </ac:inkMkLst>
        </pc:inkChg>
        <pc:inkChg chg="add del mod">
          <ac:chgData name="Aniket Chhabra" userId="598e0514-bef3-4e71-b6aa-f2edd6441cff" providerId="ADAL" clId="{A0F7D543-B727-034C-88B5-8F838AD07213}" dt="2022-09-24T06:22:20.872" v="1825"/>
          <ac:inkMkLst>
            <pc:docMk/>
            <pc:sldMk cId="2717547441" sldId="304"/>
            <ac:inkMk id="195" creationId="{FB712580-961D-94F4-0BC6-9281EA352D1B}"/>
          </ac:inkMkLst>
        </pc:inkChg>
      </pc:sldChg>
      <pc:sldChg chg="addSp delSp modSp mod">
        <pc:chgData name="Aniket Chhabra" userId="598e0514-bef3-4e71-b6aa-f2edd6441cff" providerId="ADAL" clId="{A0F7D543-B727-034C-88B5-8F838AD07213}" dt="2022-09-10T08:53:13.779" v="1539" actId="9405"/>
        <pc:sldMkLst>
          <pc:docMk/>
          <pc:sldMk cId="2661879559" sldId="305"/>
        </pc:sldMkLst>
        <pc:grpChg chg="mod">
          <ac:chgData name="Aniket Chhabra" userId="598e0514-bef3-4e71-b6aa-f2edd6441cff" providerId="ADAL" clId="{A0F7D543-B727-034C-88B5-8F838AD07213}" dt="2022-08-21T07:01:27.889" v="277"/>
          <ac:grpSpMkLst>
            <pc:docMk/>
            <pc:sldMk cId="2661879559" sldId="305"/>
            <ac:grpSpMk id="4" creationId="{19620C70-615A-9C9A-92F3-1EC34CE91C82}"/>
          </ac:grpSpMkLst>
        </pc:grpChg>
        <pc:grpChg chg="mod">
          <ac:chgData name="Aniket Chhabra" userId="598e0514-bef3-4e71-b6aa-f2edd6441cff" providerId="ADAL" clId="{A0F7D543-B727-034C-88B5-8F838AD07213}" dt="2022-09-10T08:52:54.041" v="1534"/>
          <ac:grpSpMkLst>
            <pc:docMk/>
            <pc:sldMk cId="2661879559" sldId="305"/>
            <ac:grpSpMk id="10" creationId="{F2E9311A-2BBD-4E54-76B9-B2D70041E659}"/>
          </ac:grpSpMkLst>
        </pc:grpChg>
        <pc:grpChg chg="mod">
          <ac:chgData name="Aniket Chhabra" userId="598e0514-bef3-4e71-b6aa-f2edd6441cff" providerId="ADAL" clId="{A0F7D543-B727-034C-88B5-8F838AD07213}" dt="2022-09-10T08:52:55.838" v="1537"/>
          <ac:grpSpMkLst>
            <pc:docMk/>
            <pc:sldMk cId="2661879559" sldId="305"/>
            <ac:grpSpMk id="14" creationId="{D711BEF9-8182-EEDC-22CC-CBF43B73F152}"/>
          </ac:grpSpMkLst>
        </pc:grpChg>
        <pc:inkChg chg="add mod">
          <ac:chgData name="Aniket Chhabra" userId="598e0514-bef3-4e71-b6aa-f2edd6441cff" providerId="ADAL" clId="{A0F7D543-B727-034C-88B5-8F838AD07213}" dt="2022-08-21T07:01:27.889" v="277"/>
          <ac:inkMkLst>
            <pc:docMk/>
            <pc:sldMk cId="2661879559" sldId="305"/>
            <ac:inkMk id="2" creationId="{BB88631A-3C33-7EB9-5BA6-07D1AB97D0EC}"/>
          </ac:inkMkLst>
        </pc:inkChg>
        <pc:inkChg chg="add mod">
          <ac:chgData name="Aniket Chhabra" userId="598e0514-bef3-4e71-b6aa-f2edd6441cff" providerId="ADAL" clId="{A0F7D543-B727-034C-88B5-8F838AD07213}" dt="2022-08-21T07:01:27.889" v="277"/>
          <ac:inkMkLst>
            <pc:docMk/>
            <pc:sldMk cId="2661879559" sldId="305"/>
            <ac:inkMk id="3" creationId="{841ABD1C-DB3E-012E-8B8F-474A0E6FD4C9}"/>
          </ac:inkMkLst>
        </pc:inkChg>
        <pc:inkChg chg="add mod">
          <ac:chgData name="Aniket Chhabra" userId="598e0514-bef3-4e71-b6aa-f2edd6441cff" providerId="ADAL" clId="{A0F7D543-B727-034C-88B5-8F838AD07213}" dt="2022-09-10T08:52:54.041" v="1534"/>
          <ac:inkMkLst>
            <pc:docMk/>
            <pc:sldMk cId="2661879559" sldId="305"/>
            <ac:inkMk id="5" creationId="{F6C350AA-B2AD-04E3-F8CC-71EBE79B14D0}"/>
          </ac:inkMkLst>
        </pc:inkChg>
        <pc:inkChg chg="add mod">
          <ac:chgData name="Aniket Chhabra" userId="598e0514-bef3-4e71-b6aa-f2edd6441cff" providerId="ADAL" clId="{A0F7D543-B727-034C-88B5-8F838AD07213}" dt="2022-09-10T08:52:54.041" v="1534"/>
          <ac:inkMkLst>
            <pc:docMk/>
            <pc:sldMk cId="2661879559" sldId="305"/>
            <ac:inkMk id="7" creationId="{6E44188C-5282-96D4-689E-C74FECC60B32}"/>
          </ac:inkMkLst>
        </pc:inkChg>
        <pc:inkChg chg="add mod">
          <ac:chgData name="Aniket Chhabra" userId="598e0514-bef3-4e71-b6aa-f2edd6441cff" providerId="ADAL" clId="{A0F7D543-B727-034C-88B5-8F838AD07213}" dt="2022-09-10T08:52:54.041" v="1534"/>
          <ac:inkMkLst>
            <pc:docMk/>
            <pc:sldMk cId="2661879559" sldId="305"/>
            <ac:inkMk id="8" creationId="{9163DBE4-CA32-EF74-8CC7-3A6AB2C17BF8}"/>
          </ac:inkMkLst>
        </pc:inkChg>
        <pc:inkChg chg="add mod">
          <ac:chgData name="Aniket Chhabra" userId="598e0514-bef3-4e71-b6aa-f2edd6441cff" providerId="ADAL" clId="{A0F7D543-B727-034C-88B5-8F838AD07213}" dt="2022-09-10T08:52:55.838" v="1537"/>
          <ac:inkMkLst>
            <pc:docMk/>
            <pc:sldMk cId="2661879559" sldId="305"/>
            <ac:inkMk id="11" creationId="{6D233DFD-D25E-B2D2-D8A8-18E060C3417D}"/>
          </ac:inkMkLst>
        </pc:inkChg>
        <pc:inkChg chg="add mod">
          <ac:chgData name="Aniket Chhabra" userId="598e0514-bef3-4e71-b6aa-f2edd6441cff" providerId="ADAL" clId="{A0F7D543-B727-034C-88B5-8F838AD07213}" dt="2022-09-10T08:52:55.838" v="1537"/>
          <ac:inkMkLst>
            <pc:docMk/>
            <pc:sldMk cId="2661879559" sldId="305"/>
            <ac:inkMk id="12" creationId="{11EFA303-7EA1-58FB-2293-A440E13D6747}"/>
          </ac:inkMkLst>
        </pc:inkChg>
        <pc:inkChg chg="add del">
          <ac:chgData name="Aniket Chhabra" userId="598e0514-bef3-4e71-b6aa-f2edd6441cff" providerId="ADAL" clId="{A0F7D543-B727-034C-88B5-8F838AD07213}" dt="2022-09-10T08:53:13.779" v="1539" actId="9405"/>
          <ac:inkMkLst>
            <pc:docMk/>
            <pc:sldMk cId="2661879559" sldId="305"/>
            <ac:inkMk id="15" creationId="{10235775-AAF3-F8DB-585C-1572D4BDA2F8}"/>
          </ac:inkMkLst>
        </pc:inkChg>
      </pc:sldChg>
    </pc:docChg>
  </pc:docChgLst>
  <pc:docChgLst>
    <pc:chgData name="Aniket Chhabra" userId="598e0514-bef3-4e71-b6aa-f2edd6441cff" providerId="ADAL" clId="{BEFFC19A-14C0-9E40-9BB6-6594FE5E0365}"/>
    <pc:docChg chg="modSld">
      <pc:chgData name="Aniket Chhabra" userId="598e0514-bef3-4e71-b6aa-f2edd6441cff" providerId="ADAL" clId="{BEFFC19A-14C0-9E40-9BB6-6594FE5E0365}" dt="2023-09-09T14:44:54.155" v="0" actId="1076"/>
      <pc:docMkLst>
        <pc:docMk/>
      </pc:docMkLst>
      <pc:sldChg chg="modSp mod">
        <pc:chgData name="Aniket Chhabra" userId="598e0514-bef3-4e71-b6aa-f2edd6441cff" providerId="ADAL" clId="{BEFFC19A-14C0-9E40-9BB6-6594FE5E0365}" dt="2023-09-09T14:44:54.155" v="0" actId="1076"/>
        <pc:sldMkLst>
          <pc:docMk/>
          <pc:sldMk cId="302558819" sldId="281"/>
        </pc:sldMkLst>
        <pc:picChg chg="mod">
          <ac:chgData name="Aniket Chhabra" userId="598e0514-bef3-4e71-b6aa-f2edd6441cff" providerId="ADAL" clId="{BEFFC19A-14C0-9E40-9BB6-6594FE5E0365}" dt="2023-09-09T14:44:54.155" v="0" actId="1076"/>
          <ac:picMkLst>
            <pc:docMk/>
            <pc:sldMk cId="302558819" sldId="281"/>
            <ac:picMk id="13" creationId="{06DE953C-A3BC-4BEA-94CA-51F55236EC13}"/>
          </ac:picMkLst>
        </pc:picChg>
      </pc:sldChg>
    </pc:docChg>
  </pc:docChgLst>
  <pc:docChgLst>
    <pc:chgData name="Aniket Chhabra" userId="598e0514-bef3-4e71-b6aa-f2edd6441cff" providerId="ADAL" clId="{4425F80C-CF8A-0C40-9FDF-C2DC1DE36C5F}"/>
    <pc:docChg chg="custSel modSld">
      <pc:chgData name="Aniket Chhabra" userId="598e0514-bef3-4e71-b6aa-f2edd6441cff" providerId="ADAL" clId="{4425F80C-CF8A-0C40-9FDF-C2DC1DE36C5F}" dt="2023-07-29T04:02:37.214" v="63"/>
      <pc:docMkLst>
        <pc:docMk/>
      </pc:docMkLst>
      <pc:sldChg chg="addSp delSp modSp mod">
        <pc:chgData name="Aniket Chhabra" userId="598e0514-bef3-4e71-b6aa-f2edd6441cff" providerId="ADAL" clId="{4425F80C-CF8A-0C40-9FDF-C2DC1DE36C5F}" dt="2023-07-29T04:02:28.044" v="24"/>
        <pc:sldMkLst>
          <pc:docMk/>
          <pc:sldMk cId="748387421" sldId="256"/>
        </pc:sldMkLst>
        <pc:grpChg chg="del mod">
          <ac:chgData name="Aniket Chhabra" userId="598e0514-bef3-4e71-b6aa-f2edd6441cff" providerId="ADAL" clId="{4425F80C-CF8A-0C40-9FDF-C2DC1DE36C5F}" dt="2023-07-29T04:02:28.043" v="23"/>
          <ac:grpSpMkLst>
            <pc:docMk/>
            <pc:sldMk cId="748387421" sldId="256"/>
            <ac:grpSpMk id="11" creationId="{6AF91EA4-5643-2CC9-1F97-3E8AE9847F30}"/>
          </ac:grpSpMkLst>
        </pc:grpChg>
        <pc:inkChg chg="add del">
          <ac:chgData name="Aniket Chhabra" userId="598e0514-bef3-4e71-b6aa-f2edd6441cff" providerId="ADAL" clId="{4425F80C-CF8A-0C40-9FDF-C2DC1DE36C5F}" dt="2023-07-29T04:02:22.916" v="15"/>
          <ac:inkMkLst>
            <pc:docMk/>
            <pc:sldMk cId="748387421" sldId="256"/>
            <ac:inkMk id="4" creationId="{BEE3863A-473D-3BA7-A2C3-1D29F1DD560B}"/>
          </ac:inkMkLst>
        </pc:inkChg>
        <pc:inkChg chg="add del">
          <ac:chgData name="Aniket Chhabra" userId="598e0514-bef3-4e71-b6aa-f2edd6441cff" providerId="ADAL" clId="{4425F80C-CF8A-0C40-9FDF-C2DC1DE36C5F}" dt="2023-07-29T04:02:22.915" v="14"/>
          <ac:inkMkLst>
            <pc:docMk/>
            <pc:sldMk cId="748387421" sldId="256"/>
            <ac:inkMk id="6" creationId="{57F4DFE6-1CEF-0173-9B18-B8BC60E3CC73}"/>
          </ac:inkMkLst>
        </pc:inkChg>
        <pc:inkChg chg="add del mod">
          <ac:chgData name="Aniket Chhabra" userId="598e0514-bef3-4e71-b6aa-f2edd6441cff" providerId="ADAL" clId="{4425F80C-CF8A-0C40-9FDF-C2DC1DE36C5F}" dt="2023-07-29T04:02:28.043" v="22"/>
          <ac:inkMkLst>
            <pc:docMk/>
            <pc:sldMk cId="748387421" sldId="256"/>
            <ac:inkMk id="7" creationId="{78236DA6-5699-FAB3-F493-5AE2A46B4A04}"/>
          </ac:inkMkLst>
        </pc:inkChg>
        <pc:inkChg chg="add del mod">
          <ac:chgData name="Aniket Chhabra" userId="598e0514-bef3-4e71-b6aa-f2edd6441cff" providerId="ADAL" clId="{4425F80C-CF8A-0C40-9FDF-C2DC1DE36C5F}" dt="2023-07-29T04:02:28.044" v="24"/>
          <ac:inkMkLst>
            <pc:docMk/>
            <pc:sldMk cId="748387421" sldId="256"/>
            <ac:inkMk id="8" creationId="{95EFF012-DFE7-6545-C779-8280225AD690}"/>
          </ac:inkMkLst>
        </pc:inkChg>
        <pc:inkChg chg="add del mod">
          <ac:chgData name="Aniket Chhabra" userId="598e0514-bef3-4e71-b6aa-f2edd6441cff" providerId="ADAL" clId="{4425F80C-CF8A-0C40-9FDF-C2DC1DE36C5F}" dt="2023-07-29T04:02:28.043" v="23"/>
          <ac:inkMkLst>
            <pc:docMk/>
            <pc:sldMk cId="748387421" sldId="256"/>
            <ac:inkMk id="9" creationId="{C0510289-4EC0-01CC-5C88-62AE434EBB03}"/>
          </ac:inkMkLst>
        </pc:inkChg>
        <pc:inkChg chg="add del mod">
          <ac:chgData name="Aniket Chhabra" userId="598e0514-bef3-4e71-b6aa-f2edd6441cff" providerId="ADAL" clId="{4425F80C-CF8A-0C40-9FDF-C2DC1DE36C5F}" dt="2023-07-29T04:02:28.043" v="21"/>
          <ac:inkMkLst>
            <pc:docMk/>
            <pc:sldMk cId="748387421" sldId="256"/>
            <ac:inkMk id="10" creationId="{000DD49D-F068-22BF-E432-86105381FDD4}"/>
          </ac:inkMkLst>
        </pc:inkChg>
      </pc:sldChg>
      <pc:sldChg chg="delSp modSp mod">
        <pc:chgData name="Aniket Chhabra" userId="598e0514-bef3-4e71-b6aa-f2edd6441cff" providerId="ADAL" clId="{4425F80C-CF8A-0C40-9FDF-C2DC1DE36C5F}" dt="2023-07-08T05:42:54.644" v="4" actId="1035"/>
        <pc:sldMkLst>
          <pc:docMk/>
          <pc:sldMk cId="1702735194" sldId="282"/>
        </pc:sldMkLst>
        <pc:grpChg chg="del">
          <ac:chgData name="Aniket Chhabra" userId="598e0514-bef3-4e71-b6aa-f2edd6441cff" providerId="ADAL" clId="{4425F80C-CF8A-0C40-9FDF-C2DC1DE36C5F}" dt="2023-07-08T05:42:37.997" v="2" actId="478"/>
          <ac:grpSpMkLst>
            <pc:docMk/>
            <pc:sldMk cId="1702735194" sldId="282"/>
            <ac:grpSpMk id="11" creationId="{3BFD6E52-C27D-0105-0573-355722005EBA}"/>
          </ac:grpSpMkLst>
        </pc:grpChg>
        <pc:picChg chg="mod">
          <ac:chgData name="Aniket Chhabra" userId="598e0514-bef3-4e71-b6aa-f2edd6441cff" providerId="ADAL" clId="{4425F80C-CF8A-0C40-9FDF-C2DC1DE36C5F}" dt="2023-07-08T05:42:54.644" v="4" actId="1035"/>
          <ac:picMkLst>
            <pc:docMk/>
            <pc:sldMk cId="1702735194" sldId="282"/>
            <ac:picMk id="7" creationId="{755F9FF8-AC18-4D0D-9C06-8C8AE6902382}"/>
          </ac:picMkLst>
        </pc:picChg>
      </pc:sldChg>
      <pc:sldChg chg="addSp delSp modSp mod">
        <pc:chgData name="Aniket Chhabra" userId="598e0514-bef3-4e71-b6aa-f2edd6441cff" providerId="ADAL" clId="{4425F80C-CF8A-0C40-9FDF-C2DC1DE36C5F}" dt="2023-07-29T04:02:37.214" v="63"/>
        <pc:sldMkLst>
          <pc:docMk/>
          <pc:sldMk cId="3979036142" sldId="296"/>
        </pc:sldMkLst>
        <pc:grpChg chg="mod">
          <ac:chgData name="Aniket Chhabra" userId="598e0514-bef3-4e71-b6aa-f2edd6441cff" providerId="ADAL" clId="{4425F80C-CF8A-0C40-9FDF-C2DC1DE36C5F}" dt="2023-07-15T10:22:52.025" v="5" actId="1076"/>
          <ac:grpSpMkLst>
            <pc:docMk/>
            <pc:sldMk cId="3979036142" sldId="296"/>
            <ac:grpSpMk id="5" creationId="{4AF16A04-4245-4B4A-9B13-E3FA385C1AEF}"/>
          </ac:grpSpMkLst>
        </pc:grpChg>
        <pc:grpChg chg="del mod">
          <ac:chgData name="Aniket Chhabra" userId="598e0514-bef3-4e71-b6aa-f2edd6441cff" providerId="ADAL" clId="{4425F80C-CF8A-0C40-9FDF-C2DC1DE36C5F}" dt="2023-07-29T04:02:37.213" v="57"/>
          <ac:grpSpMkLst>
            <pc:docMk/>
            <pc:sldMk cId="3979036142" sldId="296"/>
            <ac:grpSpMk id="18" creationId="{B5F5415D-AFE9-4E3B-D1CA-F6767E3A052F}"/>
          </ac:grpSpMkLst>
        </pc:grpChg>
        <pc:grpChg chg="del mod">
          <ac:chgData name="Aniket Chhabra" userId="598e0514-bef3-4e71-b6aa-f2edd6441cff" providerId="ADAL" clId="{4425F80C-CF8A-0C40-9FDF-C2DC1DE36C5F}" dt="2023-07-29T04:02:37.212" v="55"/>
          <ac:grpSpMkLst>
            <pc:docMk/>
            <pc:sldMk cId="3979036142" sldId="296"/>
            <ac:grpSpMk id="33" creationId="{F61282C9-12B9-A61C-1C52-93281C4621B3}"/>
          </ac:grpSpMkLst>
        </pc:grpChg>
        <pc:grpChg chg="del mod">
          <ac:chgData name="Aniket Chhabra" userId="598e0514-bef3-4e71-b6aa-f2edd6441cff" providerId="ADAL" clId="{4425F80C-CF8A-0C40-9FDF-C2DC1DE36C5F}" dt="2023-07-29T04:02:37.213" v="59"/>
          <ac:grpSpMkLst>
            <pc:docMk/>
            <pc:sldMk cId="3979036142" sldId="296"/>
            <ac:grpSpMk id="45" creationId="{2FBAD962-19D1-FA48-C23B-7D8CE1D3FA14}"/>
          </ac:grpSpMkLst>
        </pc:grpChg>
        <pc:inkChg chg="del mod">
          <ac:chgData name="Aniket Chhabra" userId="598e0514-bef3-4e71-b6aa-f2edd6441cff" providerId="ADAL" clId="{4425F80C-CF8A-0C40-9FDF-C2DC1DE36C5F}" dt="2023-07-29T04:02:37.208" v="29"/>
          <ac:inkMkLst>
            <pc:docMk/>
            <pc:sldMk cId="3979036142" sldId="296"/>
            <ac:inkMk id="2" creationId="{7A38AA7D-D61C-9539-AB03-609F8EE43E91}"/>
          </ac:inkMkLst>
        </pc:inkChg>
        <pc:inkChg chg="del mod">
          <ac:chgData name="Aniket Chhabra" userId="598e0514-bef3-4e71-b6aa-f2edd6441cff" providerId="ADAL" clId="{4425F80C-CF8A-0C40-9FDF-C2DC1DE36C5F}" dt="2023-07-29T04:02:37.209" v="34"/>
          <ac:inkMkLst>
            <pc:docMk/>
            <pc:sldMk cId="3979036142" sldId="296"/>
            <ac:inkMk id="6" creationId="{5179A2A4-4938-F5F7-391E-3FA37D7C1B3B}"/>
          </ac:inkMkLst>
        </pc:inkChg>
        <pc:inkChg chg="del mod">
          <ac:chgData name="Aniket Chhabra" userId="598e0514-bef3-4e71-b6aa-f2edd6441cff" providerId="ADAL" clId="{4425F80C-CF8A-0C40-9FDF-C2DC1DE36C5F}" dt="2023-07-29T04:02:37.210" v="39"/>
          <ac:inkMkLst>
            <pc:docMk/>
            <pc:sldMk cId="3979036142" sldId="296"/>
            <ac:inkMk id="7" creationId="{A25684FE-FDC8-F38C-4EC3-1C3F2E2CD9FE}"/>
          </ac:inkMkLst>
        </pc:inkChg>
        <pc:inkChg chg="add del">
          <ac:chgData name="Aniket Chhabra" userId="598e0514-bef3-4e71-b6aa-f2edd6441cff" providerId="ADAL" clId="{4425F80C-CF8A-0C40-9FDF-C2DC1DE36C5F}" dt="2023-07-29T04:02:37.210" v="41"/>
          <ac:inkMkLst>
            <pc:docMk/>
            <pc:sldMk cId="3979036142" sldId="296"/>
            <ac:inkMk id="9" creationId="{0F72A733-F6DC-4B0D-3D68-7ED750335B96}"/>
          </ac:inkMkLst>
        </pc:inkChg>
        <pc:inkChg chg="del mod">
          <ac:chgData name="Aniket Chhabra" userId="598e0514-bef3-4e71-b6aa-f2edd6441cff" providerId="ADAL" clId="{4425F80C-CF8A-0C40-9FDF-C2DC1DE36C5F}" dt="2023-07-29T04:02:37.209" v="31"/>
          <ac:inkMkLst>
            <pc:docMk/>
            <pc:sldMk cId="3979036142" sldId="296"/>
            <ac:inkMk id="10" creationId="{ED5C048F-49D3-D085-06DA-9057FDA79E92}"/>
          </ac:inkMkLst>
        </pc:inkChg>
        <pc:inkChg chg="del mod">
          <ac:chgData name="Aniket Chhabra" userId="598e0514-bef3-4e71-b6aa-f2edd6441cff" providerId="ADAL" clId="{4425F80C-CF8A-0C40-9FDF-C2DC1DE36C5F}" dt="2023-07-29T04:02:37.212" v="56"/>
          <ac:inkMkLst>
            <pc:docMk/>
            <pc:sldMk cId="3979036142" sldId="296"/>
            <ac:inkMk id="11" creationId="{67B0053F-1A13-B412-F7E8-E21A1FD4E323}"/>
          </ac:inkMkLst>
        </pc:inkChg>
        <pc:inkChg chg="del mod">
          <ac:chgData name="Aniket Chhabra" userId="598e0514-bef3-4e71-b6aa-f2edd6441cff" providerId="ADAL" clId="{4425F80C-CF8A-0C40-9FDF-C2DC1DE36C5F}" dt="2023-07-29T04:02:37.210" v="44"/>
          <ac:inkMkLst>
            <pc:docMk/>
            <pc:sldMk cId="3979036142" sldId="296"/>
            <ac:inkMk id="12" creationId="{593A966D-F7A6-A51D-5EE1-8BC7C75B5A15}"/>
          </ac:inkMkLst>
        </pc:inkChg>
        <pc:inkChg chg="del mod">
          <ac:chgData name="Aniket Chhabra" userId="598e0514-bef3-4e71-b6aa-f2edd6441cff" providerId="ADAL" clId="{4425F80C-CF8A-0C40-9FDF-C2DC1DE36C5F}" dt="2023-07-29T04:02:37.213" v="61"/>
          <ac:inkMkLst>
            <pc:docMk/>
            <pc:sldMk cId="3979036142" sldId="296"/>
            <ac:inkMk id="13" creationId="{EBD714CB-1FBE-D0A7-6A7F-7E4400340440}"/>
          </ac:inkMkLst>
        </pc:inkChg>
        <pc:inkChg chg="del">
          <ac:chgData name="Aniket Chhabra" userId="598e0514-bef3-4e71-b6aa-f2edd6441cff" providerId="ADAL" clId="{4425F80C-CF8A-0C40-9FDF-C2DC1DE36C5F}" dt="2023-07-29T04:02:37.207" v="25"/>
          <ac:inkMkLst>
            <pc:docMk/>
            <pc:sldMk cId="3979036142" sldId="296"/>
            <ac:inkMk id="14" creationId="{85D7D6EE-089C-50D8-55CC-B242B992CBF1}"/>
          </ac:inkMkLst>
        </pc:inkChg>
        <pc:inkChg chg="del mod">
          <ac:chgData name="Aniket Chhabra" userId="598e0514-bef3-4e71-b6aa-f2edd6441cff" providerId="ADAL" clId="{4425F80C-CF8A-0C40-9FDF-C2DC1DE36C5F}" dt="2023-07-29T04:02:37.210" v="42"/>
          <ac:inkMkLst>
            <pc:docMk/>
            <pc:sldMk cId="3979036142" sldId="296"/>
            <ac:inkMk id="15" creationId="{CA80C502-D107-7572-86F0-6C4FB6800354}"/>
          </ac:inkMkLst>
        </pc:inkChg>
        <pc:inkChg chg="del mod">
          <ac:chgData name="Aniket Chhabra" userId="598e0514-bef3-4e71-b6aa-f2edd6441cff" providerId="ADAL" clId="{4425F80C-CF8A-0C40-9FDF-C2DC1DE36C5F}" dt="2023-07-29T04:02:37.209" v="32"/>
          <ac:inkMkLst>
            <pc:docMk/>
            <pc:sldMk cId="3979036142" sldId="296"/>
            <ac:inkMk id="16" creationId="{66E29E95-9B02-DE88-E5F9-0A42038B5804}"/>
          </ac:inkMkLst>
        </pc:inkChg>
        <pc:inkChg chg="del mod">
          <ac:chgData name="Aniket Chhabra" userId="598e0514-bef3-4e71-b6aa-f2edd6441cff" providerId="ADAL" clId="{4425F80C-CF8A-0C40-9FDF-C2DC1DE36C5F}" dt="2023-07-29T04:02:37.213" v="57"/>
          <ac:inkMkLst>
            <pc:docMk/>
            <pc:sldMk cId="3979036142" sldId="296"/>
            <ac:inkMk id="17" creationId="{505CCD09-AA46-0AD7-8BE1-846AA761E955}"/>
          </ac:inkMkLst>
        </pc:inkChg>
        <pc:inkChg chg="del mod">
          <ac:chgData name="Aniket Chhabra" userId="598e0514-bef3-4e71-b6aa-f2edd6441cff" providerId="ADAL" clId="{4425F80C-CF8A-0C40-9FDF-C2DC1DE36C5F}" dt="2023-07-29T04:02:37.211" v="46"/>
          <ac:inkMkLst>
            <pc:docMk/>
            <pc:sldMk cId="3979036142" sldId="296"/>
            <ac:inkMk id="19" creationId="{4858725A-07A4-50D7-9A53-702F9A86D158}"/>
          </ac:inkMkLst>
        </pc:inkChg>
        <pc:inkChg chg="del mod">
          <ac:chgData name="Aniket Chhabra" userId="598e0514-bef3-4e71-b6aa-f2edd6441cff" providerId="ADAL" clId="{4425F80C-CF8A-0C40-9FDF-C2DC1DE36C5F}" dt="2023-07-29T04:02:37.208" v="30"/>
          <ac:inkMkLst>
            <pc:docMk/>
            <pc:sldMk cId="3979036142" sldId="296"/>
            <ac:inkMk id="20" creationId="{DEA868D5-EF89-2F60-1FE4-34EFD2790913}"/>
          </ac:inkMkLst>
        </pc:inkChg>
        <pc:inkChg chg="del mod">
          <ac:chgData name="Aniket Chhabra" userId="598e0514-bef3-4e71-b6aa-f2edd6441cff" providerId="ADAL" clId="{4425F80C-CF8A-0C40-9FDF-C2DC1DE36C5F}" dt="2023-07-29T04:02:37.212" v="55"/>
          <ac:inkMkLst>
            <pc:docMk/>
            <pc:sldMk cId="3979036142" sldId="296"/>
            <ac:inkMk id="21" creationId="{8C5A177A-1A03-4A96-25EB-75192D6A3DA0}"/>
          </ac:inkMkLst>
        </pc:inkChg>
        <pc:inkChg chg="del mod">
          <ac:chgData name="Aniket Chhabra" userId="598e0514-bef3-4e71-b6aa-f2edd6441cff" providerId="ADAL" clId="{4425F80C-CF8A-0C40-9FDF-C2DC1DE36C5F}" dt="2023-07-29T04:02:37.211" v="47"/>
          <ac:inkMkLst>
            <pc:docMk/>
            <pc:sldMk cId="3979036142" sldId="296"/>
            <ac:inkMk id="22" creationId="{968FCC12-9DA8-9B70-231F-17F3670BCD8B}"/>
          </ac:inkMkLst>
        </pc:inkChg>
        <pc:inkChg chg="del mod">
          <ac:chgData name="Aniket Chhabra" userId="598e0514-bef3-4e71-b6aa-f2edd6441cff" providerId="ADAL" clId="{4425F80C-CF8A-0C40-9FDF-C2DC1DE36C5F}" dt="2023-07-29T04:02:37.209" v="35"/>
          <ac:inkMkLst>
            <pc:docMk/>
            <pc:sldMk cId="3979036142" sldId="296"/>
            <ac:inkMk id="23" creationId="{6006B0B3-FAF8-0151-274B-153F0B89956B}"/>
          </ac:inkMkLst>
        </pc:inkChg>
        <pc:inkChg chg="del">
          <ac:chgData name="Aniket Chhabra" userId="598e0514-bef3-4e71-b6aa-f2edd6441cff" providerId="ADAL" clId="{4425F80C-CF8A-0C40-9FDF-C2DC1DE36C5F}" dt="2023-07-29T04:02:37.208" v="27"/>
          <ac:inkMkLst>
            <pc:docMk/>
            <pc:sldMk cId="3979036142" sldId="296"/>
            <ac:inkMk id="24" creationId="{BD137205-92C9-6D6C-D85C-88D15A640E7F}"/>
          </ac:inkMkLst>
        </pc:inkChg>
        <pc:inkChg chg="del mod">
          <ac:chgData name="Aniket Chhabra" userId="598e0514-bef3-4e71-b6aa-f2edd6441cff" providerId="ADAL" clId="{4425F80C-CF8A-0C40-9FDF-C2DC1DE36C5F}" dt="2023-07-29T04:02:37.211" v="50"/>
          <ac:inkMkLst>
            <pc:docMk/>
            <pc:sldMk cId="3979036142" sldId="296"/>
            <ac:inkMk id="25" creationId="{2E87B915-348C-070F-3AAF-93ADA1617E49}"/>
          </ac:inkMkLst>
        </pc:inkChg>
        <pc:inkChg chg="del mod">
          <ac:chgData name="Aniket Chhabra" userId="598e0514-bef3-4e71-b6aa-f2edd6441cff" providerId="ADAL" clId="{4425F80C-CF8A-0C40-9FDF-C2DC1DE36C5F}" dt="2023-07-29T04:02:37.210" v="40"/>
          <ac:inkMkLst>
            <pc:docMk/>
            <pc:sldMk cId="3979036142" sldId="296"/>
            <ac:inkMk id="26" creationId="{B9812830-3A88-72E8-C0F8-C14596B7B0DC}"/>
          </ac:inkMkLst>
        </pc:inkChg>
        <pc:inkChg chg="del mod">
          <ac:chgData name="Aniket Chhabra" userId="598e0514-bef3-4e71-b6aa-f2edd6441cff" providerId="ADAL" clId="{4425F80C-CF8A-0C40-9FDF-C2DC1DE36C5F}" dt="2023-07-29T04:02:37.209" v="33"/>
          <ac:inkMkLst>
            <pc:docMk/>
            <pc:sldMk cId="3979036142" sldId="296"/>
            <ac:inkMk id="27" creationId="{C9A38A5D-AF37-86AD-0852-5F51DB782D30}"/>
          </ac:inkMkLst>
        </pc:inkChg>
        <pc:inkChg chg="del mod">
          <ac:chgData name="Aniket Chhabra" userId="598e0514-bef3-4e71-b6aa-f2edd6441cff" providerId="ADAL" clId="{4425F80C-CF8A-0C40-9FDF-C2DC1DE36C5F}" dt="2023-07-29T04:02:37.213" v="60"/>
          <ac:inkMkLst>
            <pc:docMk/>
            <pc:sldMk cId="3979036142" sldId="296"/>
            <ac:inkMk id="28" creationId="{86F01BC7-35DC-00F6-AED3-DD7A7E449A96}"/>
          </ac:inkMkLst>
        </pc:inkChg>
        <pc:inkChg chg="del">
          <ac:chgData name="Aniket Chhabra" userId="598e0514-bef3-4e71-b6aa-f2edd6441cff" providerId="ADAL" clId="{4425F80C-CF8A-0C40-9FDF-C2DC1DE36C5F}" dt="2023-07-29T04:02:37.213" v="58"/>
          <ac:inkMkLst>
            <pc:docMk/>
            <pc:sldMk cId="3979036142" sldId="296"/>
            <ac:inkMk id="29" creationId="{A54BAB8C-BADD-2746-285B-CBA3B4E2ACED}"/>
          </ac:inkMkLst>
        </pc:inkChg>
        <pc:inkChg chg="add del">
          <ac:chgData name="Aniket Chhabra" userId="598e0514-bef3-4e71-b6aa-f2edd6441cff" providerId="ADAL" clId="{4425F80C-CF8A-0C40-9FDF-C2DC1DE36C5F}" dt="2023-07-29T04:02:37.214" v="62"/>
          <ac:inkMkLst>
            <pc:docMk/>
            <pc:sldMk cId="3979036142" sldId="296"/>
            <ac:inkMk id="30" creationId="{98659592-837D-D6BC-0441-C730B1303E4B}"/>
          </ac:inkMkLst>
        </pc:inkChg>
        <pc:inkChg chg="add del">
          <ac:chgData name="Aniket Chhabra" userId="598e0514-bef3-4e71-b6aa-f2edd6441cff" providerId="ADAL" clId="{4425F80C-CF8A-0C40-9FDF-C2DC1DE36C5F}" dt="2023-07-29T04:02:37.211" v="45"/>
          <ac:inkMkLst>
            <pc:docMk/>
            <pc:sldMk cId="3979036142" sldId="296"/>
            <ac:inkMk id="31" creationId="{FADCC6CA-ECAD-FFBB-58FE-5E48B6BF7BBE}"/>
          </ac:inkMkLst>
        </pc:inkChg>
        <pc:inkChg chg="del mod">
          <ac:chgData name="Aniket Chhabra" userId="598e0514-bef3-4e71-b6aa-f2edd6441cff" providerId="ADAL" clId="{4425F80C-CF8A-0C40-9FDF-C2DC1DE36C5F}" dt="2023-07-29T04:02:37.209" v="37"/>
          <ac:inkMkLst>
            <pc:docMk/>
            <pc:sldMk cId="3979036142" sldId="296"/>
            <ac:inkMk id="32" creationId="{AFDAE4A4-0B43-C8D2-0DD9-7D33DD9791BE}"/>
          </ac:inkMkLst>
        </pc:inkChg>
        <pc:inkChg chg="del mod">
          <ac:chgData name="Aniket Chhabra" userId="598e0514-bef3-4e71-b6aa-f2edd6441cff" providerId="ADAL" clId="{4425F80C-CF8A-0C40-9FDF-C2DC1DE36C5F}" dt="2023-07-29T04:02:37.208" v="28"/>
          <ac:inkMkLst>
            <pc:docMk/>
            <pc:sldMk cId="3979036142" sldId="296"/>
            <ac:inkMk id="34" creationId="{C7E0443A-0850-1B4A-65E5-E794157D710F}"/>
          </ac:inkMkLst>
        </pc:inkChg>
        <pc:inkChg chg="del mod">
          <ac:chgData name="Aniket Chhabra" userId="598e0514-bef3-4e71-b6aa-f2edd6441cff" providerId="ADAL" clId="{4425F80C-CF8A-0C40-9FDF-C2DC1DE36C5F}" dt="2023-07-29T04:02:37.212" v="53"/>
          <ac:inkMkLst>
            <pc:docMk/>
            <pc:sldMk cId="3979036142" sldId="296"/>
            <ac:inkMk id="35" creationId="{964EDBEB-71F9-DE53-E01B-D6379DA94E61}"/>
          </ac:inkMkLst>
        </pc:inkChg>
        <pc:inkChg chg="del mod">
          <ac:chgData name="Aniket Chhabra" userId="598e0514-bef3-4e71-b6aa-f2edd6441cff" providerId="ADAL" clId="{4425F80C-CF8A-0C40-9FDF-C2DC1DE36C5F}" dt="2023-07-29T04:02:37.212" v="52"/>
          <ac:inkMkLst>
            <pc:docMk/>
            <pc:sldMk cId="3979036142" sldId="296"/>
            <ac:inkMk id="36" creationId="{6B7D3EB8-E0F5-1F97-F51A-36319756584C}"/>
          </ac:inkMkLst>
        </pc:inkChg>
        <pc:inkChg chg="del mod">
          <ac:chgData name="Aniket Chhabra" userId="598e0514-bef3-4e71-b6aa-f2edd6441cff" providerId="ADAL" clId="{4425F80C-CF8A-0C40-9FDF-C2DC1DE36C5F}" dt="2023-07-29T04:02:37.210" v="43"/>
          <ac:inkMkLst>
            <pc:docMk/>
            <pc:sldMk cId="3979036142" sldId="296"/>
            <ac:inkMk id="37" creationId="{C239D223-486F-7FD6-7070-DC12025023D8}"/>
          </ac:inkMkLst>
        </pc:inkChg>
        <pc:inkChg chg="del mod">
          <ac:chgData name="Aniket Chhabra" userId="598e0514-bef3-4e71-b6aa-f2edd6441cff" providerId="ADAL" clId="{4425F80C-CF8A-0C40-9FDF-C2DC1DE36C5F}" dt="2023-07-29T04:02:37.213" v="59"/>
          <ac:inkMkLst>
            <pc:docMk/>
            <pc:sldMk cId="3979036142" sldId="296"/>
            <ac:inkMk id="38" creationId="{38FAEBDF-B4D2-09C8-B7E0-E1BE3780CA11}"/>
          </ac:inkMkLst>
        </pc:inkChg>
        <pc:inkChg chg="del mod">
          <ac:chgData name="Aniket Chhabra" userId="598e0514-bef3-4e71-b6aa-f2edd6441cff" providerId="ADAL" clId="{4425F80C-CF8A-0C40-9FDF-C2DC1DE36C5F}" dt="2023-07-29T04:02:37.209" v="36"/>
          <ac:inkMkLst>
            <pc:docMk/>
            <pc:sldMk cId="3979036142" sldId="296"/>
            <ac:inkMk id="39" creationId="{567DC75C-1F6E-B108-BD11-B616E84FE551}"/>
          </ac:inkMkLst>
        </pc:inkChg>
        <pc:inkChg chg="del">
          <ac:chgData name="Aniket Chhabra" userId="598e0514-bef3-4e71-b6aa-f2edd6441cff" providerId="ADAL" clId="{4425F80C-CF8A-0C40-9FDF-C2DC1DE36C5F}" dt="2023-07-29T04:02:37.208" v="26"/>
          <ac:inkMkLst>
            <pc:docMk/>
            <pc:sldMk cId="3979036142" sldId="296"/>
            <ac:inkMk id="40" creationId="{AA8EA3B3-26C5-DFB6-B6C6-C117AA2846DE}"/>
          </ac:inkMkLst>
        </pc:inkChg>
        <pc:inkChg chg="add del">
          <ac:chgData name="Aniket Chhabra" userId="598e0514-bef3-4e71-b6aa-f2edd6441cff" providerId="ADAL" clId="{4425F80C-CF8A-0C40-9FDF-C2DC1DE36C5F}" dt="2023-07-29T04:02:37.211" v="49"/>
          <ac:inkMkLst>
            <pc:docMk/>
            <pc:sldMk cId="3979036142" sldId="296"/>
            <ac:inkMk id="41" creationId="{BCEAC66E-F65D-D629-971D-62A5980C51C7}"/>
          </ac:inkMkLst>
        </pc:inkChg>
        <pc:inkChg chg="del mod">
          <ac:chgData name="Aniket Chhabra" userId="598e0514-bef3-4e71-b6aa-f2edd6441cff" providerId="ADAL" clId="{4425F80C-CF8A-0C40-9FDF-C2DC1DE36C5F}" dt="2023-07-29T04:02:37.211" v="51"/>
          <ac:inkMkLst>
            <pc:docMk/>
            <pc:sldMk cId="3979036142" sldId="296"/>
            <ac:inkMk id="42" creationId="{6229B314-1D88-DC05-979D-149EAC9D8E95}"/>
          </ac:inkMkLst>
        </pc:inkChg>
        <pc:inkChg chg="del mod">
          <ac:chgData name="Aniket Chhabra" userId="598e0514-bef3-4e71-b6aa-f2edd6441cff" providerId="ADAL" clId="{4425F80C-CF8A-0C40-9FDF-C2DC1DE36C5F}" dt="2023-07-29T04:02:37.214" v="63"/>
          <ac:inkMkLst>
            <pc:docMk/>
            <pc:sldMk cId="3979036142" sldId="296"/>
            <ac:inkMk id="43" creationId="{D6007614-9689-9D4E-B4F5-52D0693BFD07}"/>
          </ac:inkMkLst>
        </pc:inkChg>
        <pc:inkChg chg="del mod">
          <ac:chgData name="Aniket Chhabra" userId="598e0514-bef3-4e71-b6aa-f2edd6441cff" providerId="ADAL" clId="{4425F80C-CF8A-0C40-9FDF-C2DC1DE36C5F}" dt="2023-07-29T04:02:37.210" v="38"/>
          <ac:inkMkLst>
            <pc:docMk/>
            <pc:sldMk cId="3979036142" sldId="296"/>
            <ac:inkMk id="44" creationId="{348F49D7-1CD5-23C5-3911-685DC040D02C}"/>
          </ac:inkMkLst>
        </pc:inkChg>
        <pc:inkChg chg="add del">
          <ac:chgData name="Aniket Chhabra" userId="598e0514-bef3-4e71-b6aa-f2edd6441cff" providerId="ADAL" clId="{4425F80C-CF8A-0C40-9FDF-C2DC1DE36C5F}" dt="2023-07-29T04:02:37.212" v="54"/>
          <ac:inkMkLst>
            <pc:docMk/>
            <pc:sldMk cId="3979036142" sldId="296"/>
            <ac:inkMk id="46" creationId="{15A7614A-E621-82FA-5BAD-B9C233AB0B5A}"/>
          </ac:inkMkLst>
        </pc:inkChg>
        <pc:inkChg chg="add del">
          <ac:chgData name="Aniket Chhabra" userId="598e0514-bef3-4e71-b6aa-f2edd6441cff" providerId="ADAL" clId="{4425F80C-CF8A-0C40-9FDF-C2DC1DE36C5F}" dt="2023-07-29T04:02:37.211" v="48"/>
          <ac:inkMkLst>
            <pc:docMk/>
            <pc:sldMk cId="3979036142" sldId="296"/>
            <ac:inkMk id="47" creationId="{4BC73561-DE98-B80E-F08C-54C32BA01C62}"/>
          </ac:inkMkLst>
        </pc:inkChg>
      </pc:sldChg>
    </pc:docChg>
  </pc:docChgLst>
  <pc:docChgLst>
    <pc:chgData name="Aniket Chhabra" userId="598e0514-bef3-4e71-b6aa-f2edd6441cff" providerId="ADAL" clId="{935EF258-ACF9-4C40-8F27-4828ABBE04AA}"/>
    <pc:docChg chg="undo custSel modSld">
      <pc:chgData name="Aniket Chhabra" userId="598e0514-bef3-4e71-b6aa-f2edd6441cff" providerId="ADAL" clId="{935EF258-ACF9-4C40-8F27-4828ABBE04AA}" dt="2023-01-28T07:32:44.194" v="559" actId="478"/>
      <pc:docMkLst>
        <pc:docMk/>
      </pc:docMkLst>
      <pc:sldChg chg="addSp delSp modSp mod">
        <pc:chgData name="Aniket Chhabra" userId="598e0514-bef3-4e71-b6aa-f2edd6441cff" providerId="ADAL" clId="{935EF258-ACF9-4C40-8F27-4828ABBE04AA}" dt="2023-01-28T04:50:49.611" v="209" actId="9405"/>
        <pc:sldMkLst>
          <pc:docMk/>
          <pc:sldMk cId="302558819" sldId="281"/>
        </pc:sldMkLst>
        <pc:grpChg chg="del mod">
          <ac:chgData name="Aniket Chhabra" userId="598e0514-bef3-4e71-b6aa-f2edd6441cff" providerId="ADAL" clId="{935EF258-ACF9-4C40-8F27-4828ABBE04AA}" dt="2023-01-28T04:48:58.395" v="192"/>
          <ac:grpSpMkLst>
            <pc:docMk/>
            <pc:sldMk cId="302558819" sldId="281"/>
            <ac:grpSpMk id="20" creationId="{2FDCEDCE-D8BA-A08A-94CA-988C02D05FB4}"/>
          </ac:grpSpMkLst>
        </pc:grpChg>
        <pc:grpChg chg="del mod">
          <ac:chgData name="Aniket Chhabra" userId="598e0514-bef3-4e71-b6aa-f2edd6441cff" providerId="ADAL" clId="{935EF258-ACF9-4C40-8F27-4828ABBE04AA}" dt="2023-01-28T04:44:36.615" v="130"/>
          <ac:grpSpMkLst>
            <pc:docMk/>
            <pc:sldMk cId="302558819" sldId="281"/>
            <ac:grpSpMk id="71" creationId="{27654F0D-CC83-9719-0D39-360828C904A3}"/>
          </ac:grpSpMkLst>
        </pc:grpChg>
        <pc:grpChg chg="del mod">
          <ac:chgData name="Aniket Chhabra" userId="598e0514-bef3-4e71-b6aa-f2edd6441cff" providerId="ADAL" clId="{935EF258-ACF9-4C40-8F27-4828ABBE04AA}" dt="2023-01-28T04:44:38.813" v="135"/>
          <ac:grpSpMkLst>
            <pc:docMk/>
            <pc:sldMk cId="302558819" sldId="281"/>
            <ac:grpSpMk id="76" creationId="{D5FF1CC0-F280-057F-ACD7-33DE89B24FB5}"/>
          </ac:grpSpMkLst>
        </pc:grpChg>
        <pc:grpChg chg="del mod">
          <ac:chgData name="Aniket Chhabra" userId="598e0514-bef3-4e71-b6aa-f2edd6441cff" providerId="ADAL" clId="{935EF258-ACF9-4C40-8F27-4828ABBE04AA}" dt="2023-01-28T04:44:39.462" v="137"/>
          <ac:grpSpMkLst>
            <pc:docMk/>
            <pc:sldMk cId="302558819" sldId="281"/>
            <ac:grpSpMk id="81" creationId="{D54F1642-F4C2-A094-24F8-F440A3B6FDC4}"/>
          </ac:grpSpMkLst>
        </pc:grpChg>
        <pc:grpChg chg="del mod">
          <ac:chgData name="Aniket Chhabra" userId="598e0514-bef3-4e71-b6aa-f2edd6441cff" providerId="ADAL" clId="{935EF258-ACF9-4C40-8F27-4828ABBE04AA}" dt="2023-01-28T04:44:48.624" v="152"/>
          <ac:grpSpMkLst>
            <pc:docMk/>
            <pc:sldMk cId="302558819" sldId="281"/>
            <ac:grpSpMk id="83" creationId="{4AC7DBC3-BE01-B330-98DA-6CAD50DB35D2}"/>
          </ac:grpSpMkLst>
        </pc:grpChg>
        <pc:grpChg chg="del mod">
          <ac:chgData name="Aniket Chhabra" userId="598e0514-bef3-4e71-b6aa-f2edd6441cff" providerId="ADAL" clId="{935EF258-ACF9-4C40-8F27-4828ABBE04AA}" dt="2023-01-28T04:44:48.624" v="152"/>
          <ac:grpSpMkLst>
            <pc:docMk/>
            <pc:sldMk cId="302558819" sldId="281"/>
            <ac:grpSpMk id="91" creationId="{1E94D8D4-CD9B-38C3-6F16-ACE987DEB261}"/>
          </ac:grpSpMkLst>
        </pc:grpChg>
        <pc:grpChg chg="add del mod">
          <ac:chgData name="Aniket Chhabra" userId="598e0514-bef3-4e71-b6aa-f2edd6441cff" providerId="ADAL" clId="{935EF258-ACF9-4C40-8F27-4828ABBE04AA}" dt="2023-01-28T04:48:58.395" v="192"/>
          <ac:grpSpMkLst>
            <pc:docMk/>
            <pc:sldMk cId="302558819" sldId="281"/>
            <ac:grpSpMk id="98" creationId="{FDC630C9-E8CE-0422-3812-F6C48BF52163}"/>
          </ac:grpSpMkLst>
        </pc:grpChg>
        <pc:grpChg chg="mod">
          <ac:chgData name="Aniket Chhabra" userId="598e0514-bef3-4e71-b6aa-f2edd6441cff" providerId="ADAL" clId="{935EF258-ACF9-4C40-8F27-4828ABBE04AA}" dt="2023-01-28T04:45:07.552" v="157"/>
          <ac:grpSpMkLst>
            <pc:docMk/>
            <pc:sldMk cId="302558819" sldId="281"/>
            <ac:grpSpMk id="103" creationId="{E79037A4-B2FD-CC6E-DA0E-EDD01F4C3B51}"/>
          </ac:grpSpMkLst>
        </pc:grpChg>
        <pc:grpChg chg="add del mod">
          <ac:chgData name="Aniket Chhabra" userId="598e0514-bef3-4e71-b6aa-f2edd6441cff" providerId="ADAL" clId="{935EF258-ACF9-4C40-8F27-4828ABBE04AA}" dt="2023-01-28T04:48:58.395" v="192"/>
          <ac:grpSpMkLst>
            <pc:docMk/>
            <pc:sldMk cId="302558819" sldId="281"/>
            <ac:grpSpMk id="106" creationId="{609F2537-33A0-C355-F1E5-9DA4CA4464C5}"/>
          </ac:grpSpMkLst>
        </pc:grpChg>
        <pc:grpChg chg="mod">
          <ac:chgData name="Aniket Chhabra" userId="598e0514-bef3-4e71-b6aa-f2edd6441cff" providerId="ADAL" clId="{935EF258-ACF9-4C40-8F27-4828ABBE04AA}" dt="2023-01-28T04:47:44.249" v="170"/>
          <ac:grpSpMkLst>
            <pc:docMk/>
            <pc:sldMk cId="302558819" sldId="281"/>
            <ac:grpSpMk id="115" creationId="{81F47C3B-0DE3-3940-6DA1-FE1724B7ACBB}"/>
          </ac:grpSpMkLst>
        </pc:grpChg>
        <pc:grpChg chg="mod">
          <ac:chgData name="Aniket Chhabra" userId="598e0514-bef3-4e71-b6aa-f2edd6441cff" providerId="ADAL" clId="{935EF258-ACF9-4C40-8F27-4828ABBE04AA}" dt="2023-01-28T04:48:03.089" v="174"/>
          <ac:grpSpMkLst>
            <pc:docMk/>
            <pc:sldMk cId="302558819" sldId="281"/>
            <ac:grpSpMk id="117" creationId="{0946334B-E6CF-E748-3617-A5579A4E27A4}"/>
          </ac:grpSpMkLst>
        </pc:grpChg>
        <pc:grpChg chg="del mod">
          <ac:chgData name="Aniket Chhabra" userId="598e0514-bef3-4e71-b6aa-f2edd6441cff" providerId="ADAL" clId="{935EF258-ACF9-4C40-8F27-4828ABBE04AA}" dt="2023-01-28T04:48:58.395" v="192"/>
          <ac:grpSpMkLst>
            <pc:docMk/>
            <pc:sldMk cId="302558819" sldId="281"/>
            <ac:grpSpMk id="130" creationId="{D9487F7E-F4F9-F505-A8B5-32A63D333669}"/>
          </ac:grpSpMkLst>
        </pc:grpChg>
        <pc:grpChg chg="del mod">
          <ac:chgData name="Aniket Chhabra" userId="598e0514-bef3-4e71-b6aa-f2edd6441cff" providerId="ADAL" clId="{935EF258-ACF9-4C40-8F27-4828ABBE04AA}" dt="2023-01-28T04:50:19.355" v="204"/>
          <ac:grpSpMkLst>
            <pc:docMk/>
            <pc:sldMk cId="302558819" sldId="281"/>
            <ac:grpSpMk id="135" creationId="{EC0FF82A-0B0C-B6BF-4D3B-AE77C9A32948}"/>
          </ac:grpSpMkLst>
        </pc:grpChg>
        <pc:grpChg chg="del mod">
          <ac:chgData name="Aniket Chhabra" userId="598e0514-bef3-4e71-b6aa-f2edd6441cff" providerId="ADAL" clId="{935EF258-ACF9-4C40-8F27-4828ABBE04AA}" dt="2023-01-28T04:50:22.867" v="206"/>
          <ac:grpSpMkLst>
            <pc:docMk/>
            <pc:sldMk cId="302558819" sldId="281"/>
            <ac:grpSpMk id="141" creationId="{6D6EC526-7FCD-6734-DF8C-E0A365466FAA}"/>
          </ac:grpSpMkLst>
        </pc:grpChg>
        <pc:grpChg chg="del mod">
          <ac:chgData name="Aniket Chhabra" userId="598e0514-bef3-4e71-b6aa-f2edd6441cff" providerId="ADAL" clId="{935EF258-ACF9-4C40-8F27-4828ABBE04AA}" dt="2023-01-28T04:50:36.053" v="208"/>
          <ac:grpSpMkLst>
            <pc:docMk/>
            <pc:sldMk cId="302558819" sldId="281"/>
            <ac:grpSpMk id="147" creationId="{5C353065-F535-B424-91CA-26CD4E402A76}"/>
          </ac:grpSpMkLst>
        </pc:grpChg>
        <pc:grpChg chg="mod">
          <ac:chgData name="Aniket Chhabra" userId="598e0514-bef3-4e71-b6aa-f2edd6441cff" providerId="ADAL" clId="{935EF258-ACF9-4C40-8F27-4828ABBE04AA}" dt="2023-01-28T04:50:36.053" v="208"/>
          <ac:grpSpMkLst>
            <pc:docMk/>
            <pc:sldMk cId="302558819" sldId="281"/>
            <ac:grpSpMk id="149" creationId="{E0185417-B2F3-0D0A-F897-31C6A77B53C8}"/>
          </ac:grpSpMkLst>
        </pc:grpChg>
        <pc:inkChg chg="add mod">
          <ac:chgData name="Aniket Chhabra" userId="598e0514-bef3-4e71-b6aa-f2edd6441cff" providerId="ADAL" clId="{935EF258-ACF9-4C40-8F27-4828ABBE04AA}" dt="2023-01-28T04:50:36.053" v="208"/>
          <ac:inkMkLst>
            <pc:docMk/>
            <pc:sldMk cId="302558819" sldId="281"/>
            <ac:inkMk id="5" creationId="{710B198A-1B90-FC8F-0D43-3A8EEE3BE5D7}"/>
          </ac:inkMkLst>
        </pc:inkChg>
        <pc:inkChg chg="add mod">
          <ac:chgData name="Aniket Chhabra" userId="598e0514-bef3-4e71-b6aa-f2edd6441cff" providerId="ADAL" clId="{935EF258-ACF9-4C40-8F27-4828ABBE04AA}" dt="2023-01-28T04:50:36.053" v="208"/>
          <ac:inkMkLst>
            <pc:docMk/>
            <pc:sldMk cId="302558819" sldId="281"/>
            <ac:inkMk id="14" creationId="{7AE524E7-3FE7-EBA9-8DEA-25B888D34F07}"/>
          </ac:inkMkLst>
        </pc:inkChg>
        <pc:inkChg chg="add mod">
          <ac:chgData name="Aniket Chhabra" userId="598e0514-bef3-4e71-b6aa-f2edd6441cff" providerId="ADAL" clId="{935EF258-ACF9-4C40-8F27-4828ABBE04AA}" dt="2023-01-28T04:50:36.053" v="208"/>
          <ac:inkMkLst>
            <pc:docMk/>
            <pc:sldMk cId="302558819" sldId="281"/>
            <ac:inkMk id="21" creationId="{CEB4AE14-E261-FD9D-E181-B8E5858B197D}"/>
          </ac:inkMkLst>
        </pc:inkChg>
        <pc:inkChg chg="add mod">
          <ac:chgData name="Aniket Chhabra" userId="598e0514-bef3-4e71-b6aa-f2edd6441cff" providerId="ADAL" clId="{935EF258-ACF9-4C40-8F27-4828ABBE04AA}" dt="2023-01-28T04:50:36.053" v="208"/>
          <ac:inkMkLst>
            <pc:docMk/>
            <pc:sldMk cId="302558819" sldId="281"/>
            <ac:inkMk id="22" creationId="{E5AF07E2-D7FE-06AF-E694-00D0A59FBC06}"/>
          </ac:inkMkLst>
        </pc:inkChg>
        <pc:inkChg chg="add mod">
          <ac:chgData name="Aniket Chhabra" userId="598e0514-bef3-4e71-b6aa-f2edd6441cff" providerId="ADAL" clId="{935EF258-ACF9-4C40-8F27-4828ABBE04AA}" dt="2023-01-28T04:50:36.053" v="208"/>
          <ac:inkMkLst>
            <pc:docMk/>
            <pc:sldMk cId="302558819" sldId="281"/>
            <ac:inkMk id="23" creationId="{7A747A71-0C76-D046-2B63-181BFB381692}"/>
          </ac:inkMkLst>
        </pc:inkChg>
        <pc:inkChg chg="add mod">
          <ac:chgData name="Aniket Chhabra" userId="598e0514-bef3-4e71-b6aa-f2edd6441cff" providerId="ADAL" clId="{935EF258-ACF9-4C40-8F27-4828ABBE04AA}" dt="2023-01-28T04:50:36.053" v="208"/>
          <ac:inkMkLst>
            <pc:docMk/>
            <pc:sldMk cId="302558819" sldId="281"/>
            <ac:inkMk id="24" creationId="{B2DBD78D-3AB1-A635-0768-C10E6486C5A7}"/>
          </ac:inkMkLst>
        </pc:inkChg>
        <pc:inkChg chg="add mod">
          <ac:chgData name="Aniket Chhabra" userId="598e0514-bef3-4e71-b6aa-f2edd6441cff" providerId="ADAL" clId="{935EF258-ACF9-4C40-8F27-4828ABBE04AA}" dt="2023-01-28T04:50:36.053" v="208"/>
          <ac:inkMkLst>
            <pc:docMk/>
            <pc:sldMk cId="302558819" sldId="281"/>
            <ac:inkMk id="25" creationId="{EB1A9FFD-F5B5-49AF-5A01-844C44EB74A6}"/>
          </ac:inkMkLst>
        </pc:inkChg>
        <pc:inkChg chg="add mod">
          <ac:chgData name="Aniket Chhabra" userId="598e0514-bef3-4e71-b6aa-f2edd6441cff" providerId="ADAL" clId="{935EF258-ACF9-4C40-8F27-4828ABBE04AA}" dt="2023-01-28T04:50:36.053" v="208"/>
          <ac:inkMkLst>
            <pc:docMk/>
            <pc:sldMk cId="302558819" sldId="281"/>
            <ac:inkMk id="26" creationId="{B73AAC33-FEDC-F7DE-32CD-9C3FC4BD6E1A}"/>
          </ac:inkMkLst>
        </pc:inkChg>
        <pc:inkChg chg="add mod">
          <ac:chgData name="Aniket Chhabra" userId="598e0514-bef3-4e71-b6aa-f2edd6441cff" providerId="ADAL" clId="{935EF258-ACF9-4C40-8F27-4828ABBE04AA}" dt="2023-01-28T04:50:36.053" v="208"/>
          <ac:inkMkLst>
            <pc:docMk/>
            <pc:sldMk cId="302558819" sldId="281"/>
            <ac:inkMk id="32" creationId="{718E3356-A5C9-31A0-E427-E51C04AA250D}"/>
          </ac:inkMkLst>
        </pc:inkChg>
        <pc:inkChg chg="add mod">
          <ac:chgData name="Aniket Chhabra" userId="598e0514-bef3-4e71-b6aa-f2edd6441cff" providerId="ADAL" clId="{935EF258-ACF9-4C40-8F27-4828ABBE04AA}" dt="2023-01-28T04:50:36.053" v="208"/>
          <ac:inkMkLst>
            <pc:docMk/>
            <pc:sldMk cId="302558819" sldId="281"/>
            <ac:inkMk id="35" creationId="{04CB087D-706A-8DAD-9B13-9074099C992A}"/>
          </ac:inkMkLst>
        </pc:inkChg>
        <pc:inkChg chg="add mod">
          <ac:chgData name="Aniket Chhabra" userId="598e0514-bef3-4e71-b6aa-f2edd6441cff" providerId="ADAL" clId="{935EF258-ACF9-4C40-8F27-4828ABBE04AA}" dt="2023-01-28T04:50:36.053" v="208"/>
          <ac:inkMkLst>
            <pc:docMk/>
            <pc:sldMk cId="302558819" sldId="281"/>
            <ac:inkMk id="45" creationId="{820A4744-D6F9-970A-7904-18AA97E131D0}"/>
          </ac:inkMkLst>
        </pc:inkChg>
        <pc:inkChg chg="add mod">
          <ac:chgData name="Aniket Chhabra" userId="598e0514-bef3-4e71-b6aa-f2edd6441cff" providerId="ADAL" clId="{935EF258-ACF9-4C40-8F27-4828ABBE04AA}" dt="2023-01-28T04:50:36.053" v="208"/>
          <ac:inkMkLst>
            <pc:docMk/>
            <pc:sldMk cId="302558819" sldId="281"/>
            <ac:inkMk id="52" creationId="{C519B21E-8C5B-B55B-4ED4-23F71F366886}"/>
          </ac:inkMkLst>
        </pc:inkChg>
        <pc:inkChg chg="add mod">
          <ac:chgData name="Aniket Chhabra" userId="598e0514-bef3-4e71-b6aa-f2edd6441cff" providerId="ADAL" clId="{935EF258-ACF9-4C40-8F27-4828ABBE04AA}" dt="2023-01-28T04:50:36.053" v="208"/>
          <ac:inkMkLst>
            <pc:docMk/>
            <pc:sldMk cId="302558819" sldId="281"/>
            <ac:inkMk id="53" creationId="{F0B16907-03AD-0568-8EE6-B1F7919A742B}"/>
          </ac:inkMkLst>
        </pc:inkChg>
        <pc:inkChg chg="add mod">
          <ac:chgData name="Aniket Chhabra" userId="598e0514-bef3-4e71-b6aa-f2edd6441cff" providerId="ADAL" clId="{935EF258-ACF9-4C40-8F27-4828ABBE04AA}" dt="2023-01-28T04:50:36.053" v="208"/>
          <ac:inkMkLst>
            <pc:docMk/>
            <pc:sldMk cId="302558819" sldId="281"/>
            <ac:inkMk id="70" creationId="{1BB071CB-19D2-2854-54D8-1F3D8495B822}"/>
          </ac:inkMkLst>
        </pc:inkChg>
        <pc:inkChg chg="add mod">
          <ac:chgData name="Aniket Chhabra" userId="598e0514-bef3-4e71-b6aa-f2edd6441cff" providerId="ADAL" clId="{935EF258-ACF9-4C40-8F27-4828ABBE04AA}" dt="2023-01-28T04:50:36.053" v="208"/>
          <ac:inkMkLst>
            <pc:docMk/>
            <pc:sldMk cId="302558819" sldId="281"/>
            <ac:inkMk id="73" creationId="{7518A594-3BC6-1F3B-F045-B596EBB944D2}"/>
          </ac:inkMkLst>
        </pc:inkChg>
        <pc:inkChg chg="add mod">
          <ac:chgData name="Aniket Chhabra" userId="598e0514-bef3-4e71-b6aa-f2edd6441cff" providerId="ADAL" clId="{935EF258-ACF9-4C40-8F27-4828ABBE04AA}" dt="2023-01-28T04:50:36.053" v="208"/>
          <ac:inkMkLst>
            <pc:docMk/>
            <pc:sldMk cId="302558819" sldId="281"/>
            <ac:inkMk id="74" creationId="{243E1C7D-CA0B-0952-C8B3-F4EACF96997D}"/>
          </ac:inkMkLst>
        </pc:inkChg>
        <pc:inkChg chg="add mod">
          <ac:chgData name="Aniket Chhabra" userId="598e0514-bef3-4e71-b6aa-f2edd6441cff" providerId="ADAL" clId="{935EF258-ACF9-4C40-8F27-4828ABBE04AA}" dt="2023-01-28T04:50:36.053" v="208"/>
          <ac:inkMkLst>
            <pc:docMk/>
            <pc:sldMk cId="302558819" sldId="281"/>
            <ac:inkMk id="77" creationId="{0312EAF0-0978-0D8E-FC59-E7F519788C63}"/>
          </ac:inkMkLst>
        </pc:inkChg>
        <pc:inkChg chg="add mod">
          <ac:chgData name="Aniket Chhabra" userId="598e0514-bef3-4e71-b6aa-f2edd6441cff" providerId="ADAL" clId="{935EF258-ACF9-4C40-8F27-4828ABBE04AA}" dt="2023-01-28T04:50:36.053" v="208"/>
          <ac:inkMkLst>
            <pc:docMk/>
            <pc:sldMk cId="302558819" sldId="281"/>
            <ac:inkMk id="78" creationId="{F523594A-5F50-4201-3023-6BD75E87E800}"/>
          </ac:inkMkLst>
        </pc:inkChg>
        <pc:inkChg chg="add mod">
          <ac:chgData name="Aniket Chhabra" userId="598e0514-bef3-4e71-b6aa-f2edd6441cff" providerId="ADAL" clId="{935EF258-ACF9-4C40-8F27-4828ABBE04AA}" dt="2023-01-28T04:50:36.053" v="208"/>
          <ac:inkMkLst>
            <pc:docMk/>
            <pc:sldMk cId="302558819" sldId="281"/>
            <ac:inkMk id="79" creationId="{41CFACF6-80F1-575F-FAD1-42BB68151DBE}"/>
          </ac:inkMkLst>
        </pc:inkChg>
        <pc:inkChg chg="add mod">
          <ac:chgData name="Aniket Chhabra" userId="598e0514-bef3-4e71-b6aa-f2edd6441cff" providerId="ADAL" clId="{935EF258-ACF9-4C40-8F27-4828ABBE04AA}" dt="2023-01-28T04:50:36.053" v="208"/>
          <ac:inkMkLst>
            <pc:docMk/>
            <pc:sldMk cId="302558819" sldId="281"/>
            <ac:inkMk id="80" creationId="{CA7DEC70-693F-518F-DCB9-8414E4B65FFE}"/>
          </ac:inkMkLst>
        </pc:inkChg>
        <pc:inkChg chg="add mod">
          <ac:chgData name="Aniket Chhabra" userId="598e0514-bef3-4e71-b6aa-f2edd6441cff" providerId="ADAL" clId="{935EF258-ACF9-4C40-8F27-4828ABBE04AA}" dt="2023-01-28T04:50:36.053" v="208"/>
          <ac:inkMkLst>
            <pc:docMk/>
            <pc:sldMk cId="302558819" sldId="281"/>
            <ac:inkMk id="82" creationId="{C3CF7D95-8B5A-D47F-1BEA-F822164DFFCC}"/>
          </ac:inkMkLst>
        </pc:inkChg>
        <pc:inkChg chg="add mod">
          <ac:chgData name="Aniket Chhabra" userId="598e0514-bef3-4e71-b6aa-f2edd6441cff" providerId="ADAL" clId="{935EF258-ACF9-4C40-8F27-4828ABBE04AA}" dt="2023-01-28T04:50:36.053" v="208"/>
          <ac:inkMkLst>
            <pc:docMk/>
            <pc:sldMk cId="302558819" sldId="281"/>
            <ac:inkMk id="84" creationId="{08D37C92-B0AE-55E4-7600-CB605A0E19B9}"/>
          </ac:inkMkLst>
        </pc:inkChg>
        <pc:inkChg chg="add mod">
          <ac:chgData name="Aniket Chhabra" userId="598e0514-bef3-4e71-b6aa-f2edd6441cff" providerId="ADAL" clId="{935EF258-ACF9-4C40-8F27-4828ABBE04AA}" dt="2023-01-28T04:50:36.053" v="208"/>
          <ac:inkMkLst>
            <pc:docMk/>
            <pc:sldMk cId="302558819" sldId="281"/>
            <ac:inkMk id="85" creationId="{9C3D3B38-D215-C5D7-817B-C4F4B2CF2062}"/>
          </ac:inkMkLst>
        </pc:inkChg>
        <pc:inkChg chg="add mod">
          <ac:chgData name="Aniket Chhabra" userId="598e0514-bef3-4e71-b6aa-f2edd6441cff" providerId="ADAL" clId="{935EF258-ACF9-4C40-8F27-4828ABBE04AA}" dt="2023-01-28T04:50:36.053" v="208"/>
          <ac:inkMkLst>
            <pc:docMk/>
            <pc:sldMk cId="302558819" sldId="281"/>
            <ac:inkMk id="86" creationId="{86ED2577-26E2-AE56-55A5-E0C15D54CD68}"/>
          </ac:inkMkLst>
        </pc:inkChg>
        <pc:inkChg chg="add mod">
          <ac:chgData name="Aniket Chhabra" userId="598e0514-bef3-4e71-b6aa-f2edd6441cff" providerId="ADAL" clId="{935EF258-ACF9-4C40-8F27-4828ABBE04AA}" dt="2023-01-28T04:50:36.053" v="208"/>
          <ac:inkMkLst>
            <pc:docMk/>
            <pc:sldMk cId="302558819" sldId="281"/>
            <ac:inkMk id="87" creationId="{DB6C75F2-BD6E-B310-399C-4B10CC76FA62}"/>
          </ac:inkMkLst>
        </pc:inkChg>
        <pc:inkChg chg="add mod">
          <ac:chgData name="Aniket Chhabra" userId="598e0514-bef3-4e71-b6aa-f2edd6441cff" providerId="ADAL" clId="{935EF258-ACF9-4C40-8F27-4828ABBE04AA}" dt="2023-01-28T04:50:36.053" v="208"/>
          <ac:inkMkLst>
            <pc:docMk/>
            <pc:sldMk cId="302558819" sldId="281"/>
            <ac:inkMk id="88" creationId="{D2E674F6-21BD-66D6-EF14-C4F410B6DB43}"/>
          </ac:inkMkLst>
        </pc:inkChg>
        <pc:inkChg chg="add mod">
          <ac:chgData name="Aniket Chhabra" userId="598e0514-bef3-4e71-b6aa-f2edd6441cff" providerId="ADAL" clId="{935EF258-ACF9-4C40-8F27-4828ABBE04AA}" dt="2023-01-28T04:50:36.053" v="208"/>
          <ac:inkMkLst>
            <pc:docMk/>
            <pc:sldMk cId="302558819" sldId="281"/>
            <ac:inkMk id="89" creationId="{735CE0C3-E913-9C10-6700-3F4057F5F622}"/>
          </ac:inkMkLst>
        </pc:inkChg>
        <pc:inkChg chg="add mod">
          <ac:chgData name="Aniket Chhabra" userId="598e0514-bef3-4e71-b6aa-f2edd6441cff" providerId="ADAL" clId="{935EF258-ACF9-4C40-8F27-4828ABBE04AA}" dt="2023-01-28T04:50:36.053" v="208"/>
          <ac:inkMkLst>
            <pc:docMk/>
            <pc:sldMk cId="302558819" sldId="281"/>
            <ac:inkMk id="90" creationId="{866DA127-B86F-B144-3BA0-A2393134C168}"/>
          </ac:inkMkLst>
        </pc:inkChg>
        <pc:inkChg chg="add mod">
          <ac:chgData name="Aniket Chhabra" userId="598e0514-bef3-4e71-b6aa-f2edd6441cff" providerId="ADAL" clId="{935EF258-ACF9-4C40-8F27-4828ABBE04AA}" dt="2023-01-28T04:50:36.053" v="208"/>
          <ac:inkMkLst>
            <pc:docMk/>
            <pc:sldMk cId="302558819" sldId="281"/>
            <ac:inkMk id="92" creationId="{ED62F1EE-20C0-48C8-A074-0FA7E421BE7C}"/>
          </ac:inkMkLst>
        </pc:inkChg>
        <pc:inkChg chg="add mod">
          <ac:chgData name="Aniket Chhabra" userId="598e0514-bef3-4e71-b6aa-f2edd6441cff" providerId="ADAL" clId="{935EF258-ACF9-4C40-8F27-4828ABBE04AA}" dt="2023-01-28T04:50:36.053" v="208"/>
          <ac:inkMkLst>
            <pc:docMk/>
            <pc:sldMk cId="302558819" sldId="281"/>
            <ac:inkMk id="93" creationId="{F87F2180-3348-8B8B-9EF5-5999E19E566D}"/>
          </ac:inkMkLst>
        </pc:inkChg>
        <pc:inkChg chg="add mod">
          <ac:chgData name="Aniket Chhabra" userId="598e0514-bef3-4e71-b6aa-f2edd6441cff" providerId="ADAL" clId="{935EF258-ACF9-4C40-8F27-4828ABBE04AA}" dt="2023-01-28T04:50:36.053" v="208"/>
          <ac:inkMkLst>
            <pc:docMk/>
            <pc:sldMk cId="302558819" sldId="281"/>
            <ac:inkMk id="94" creationId="{BDF6F2BD-0486-C924-6D11-D35D4BEED97C}"/>
          </ac:inkMkLst>
        </pc:inkChg>
        <pc:inkChg chg="add mod">
          <ac:chgData name="Aniket Chhabra" userId="598e0514-bef3-4e71-b6aa-f2edd6441cff" providerId="ADAL" clId="{935EF258-ACF9-4C40-8F27-4828ABBE04AA}" dt="2023-01-28T04:50:36.053" v="208"/>
          <ac:inkMkLst>
            <pc:docMk/>
            <pc:sldMk cId="302558819" sldId="281"/>
            <ac:inkMk id="95" creationId="{369A223E-7906-8475-357F-B0721FE878B8}"/>
          </ac:inkMkLst>
        </pc:inkChg>
        <pc:inkChg chg="add mod">
          <ac:chgData name="Aniket Chhabra" userId="598e0514-bef3-4e71-b6aa-f2edd6441cff" providerId="ADAL" clId="{935EF258-ACF9-4C40-8F27-4828ABBE04AA}" dt="2023-01-28T04:50:36.053" v="208"/>
          <ac:inkMkLst>
            <pc:docMk/>
            <pc:sldMk cId="302558819" sldId="281"/>
            <ac:inkMk id="96" creationId="{43772687-8D2D-E8C2-4C60-373EB2E96F4F}"/>
          </ac:inkMkLst>
        </pc:inkChg>
        <pc:inkChg chg="add mod">
          <ac:chgData name="Aniket Chhabra" userId="598e0514-bef3-4e71-b6aa-f2edd6441cff" providerId="ADAL" clId="{935EF258-ACF9-4C40-8F27-4828ABBE04AA}" dt="2023-01-28T04:50:36.053" v="208"/>
          <ac:inkMkLst>
            <pc:docMk/>
            <pc:sldMk cId="302558819" sldId="281"/>
            <ac:inkMk id="97" creationId="{B4E58300-0605-7257-E3D7-CC9A772D647D}"/>
          </ac:inkMkLst>
        </pc:inkChg>
        <pc:inkChg chg="add">
          <ac:chgData name="Aniket Chhabra" userId="598e0514-bef3-4e71-b6aa-f2edd6441cff" providerId="ADAL" clId="{935EF258-ACF9-4C40-8F27-4828ABBE04AA}" dt="2023-01-28T04:44:51.221" v="153" actId="9405"/>
          <ac:inkMkLst>
            <pc:docMk/>
            <pc:sldMk cId="302558819" sldId="281"/>
            <ac:inkMk id="99" creationId="{377F2950-FFF4-4E37-0C17-16BE83547129}"/>
          </ac:inkMkLst>
        </pc:inkChg>
        <pc:inkChg chg="add">
          <ac:chgData name="Aniket Chhabra" userId="598e0514-bef3-4e71-b6aa-f2edd6441cff" providerId="ADAL" clId="{935EF258-ACF9-4C40-8F27-4828ABBE04AA}" dt="2023-01-28T04:44:58.281" v="154" actId="9405"/>
          <ac:inkMkLst>
            <pc:docMk/>
            <pc:sldMk cId="302558819" sldId="281"/>
            <ac:inkMk id="100" creationId="{A8CFA5D8-BB62-D5F3-88E4-66DB545BA228}"/>
          </ac:inkMkLst>
        </pc:inkChg>
        <pc:inkChg chg="add mod">
          <ac:chgData name="Aniket Chhabra" userId="598e0514-bef3-4e71-b6aa-f2edd6441cff" providerId="ADAL" clId="{935EF258-ACF9-4C40-8F27-4828ABBE04AA}" dt="2023-01-28T04:45:07.552" v="157"/>
          <ac:inkMkLst>
            <pc:docMk/>
            <pc:sldMk cId="302558819" sldId="281"/>
            <ac:inkMk id="101" creationId="{ADECF41D-5E71-973D-FB88-92C994051394}"/>
          </ac:inkMkLst>
        </pc:inkChg>
        <pc:inkChg chg="add mod">
          <ac:chgData name="Aniket Chhabra" userId="598e0514-bef3-4e71-b6aa-f2edd6441cff" providerId="ADAL" clId="{935EF258-ACF9-4C40-8F27-4828ABBE04AA}" dt="2023-01-28T04:45:07.552" v="157"/>
          <ac:inkMkLst>
            <pc:docMk/>
            <pc:sldMk cId="302558819" sldId="281"/>
            <ac:inkMk id="102" creationId="{58E4D9DE-95BC-722B-F839-13164291C0CA}"/>
          </ac:inkMkLst>
        </pc:inkChg>
        <pc:inkChg chg="add mod">
          <ac:chgData name="Aniket Chhabra" userId="598e0514-bef3-4e71-b6aa-f2edd6441cff" providerId="ADAL" clId="{935EF258-ACF9-4C40-8F27-4828ABBE04AA}" dt="2023-01-28T04:50:36.053" v="208"/>
          <ac:inkMkLst>
            <pc:docMk/>
            <pc:sldMk cId="302558819" sldId="281"/>
            <ac:inkMk id="104" creationId="{A4141F9B-7112-83AE-A91B-2C83399CD6A7}"/>
          </ac:inkMkLst>
        </pc:inkChg>
        <pc:inkChg chg="add mod">
          <ac:chgData name="Aniket Chhabra" userId="598e0514-bef3-4e71-b6aa-f2edd6441cff" providerId="ADAL" clId="{935EF258-ACF9-4C40-8F27-4828ABBE04AA}" dt="2023-01-28T04:50:36.053" v="208"/>
          <ac:inkMkLst>
            <pc:docMk/>
            <pc:sldMk cId="302558819" sldId="281"/>
            <ac:inkMk id="105" creationId="{320650F4-E3AD-951F-837C-5C989D0709C0}"/>
          </ac:inkMkLst>
        </pc:inkChg>
        <pc:inkChg chg="add mod">
          <ac:chgData name="Aniket Chhabra" userId="598e0514-bef3-4e71-b6aa-f2edd6441cff" providerId="ADAL" clId="{935EF258-ACF9-4C40-8F27-4828ABBE04AA}" dt="2023-01-28T04:50:22.867" v="206"/>
          <ac:inkMkLst>
            <pc:docMk/>
            <pc:sldMk cId="302558819" sldId="281"/>
            <ac:inkMk id="107" creationId="{89419D46-0E71-D8C4-EA14-EEE381C4C965}"/>
          </ac:inkMkLst>
        </pc:inkChg>
        <pc:inkChg chg="add mod">
          <ac:chgData name="Aniket Chhabra" userId="598e0514-bef3-4e71-b6aa-f2edd6441cff" providerId="ADAL" clId="{935EF258-ACF9-4C40-8F27-4828ABBE04AA}" dt="2023-01-28T04:50:22.867" v="206"/>
          <ac:inkMkLst>
            <pc:docMk/>
            <pc:sldMk cId="302558819" sldId="281"/>
            <ac:inkMk id="108" creationId="{6C54A20A-2AB7-87A8-0E42-30D89490511A}"/>
          </ac:inkMkLst>
        </pc:inkChg>
        <pc:inkChg chg="add mod">
          <ac:chgData name="Aniket Chhabra" userId="598e0514-bef3-4e71-b6aa-f2edd6441cff" providerId="ADAL" clId="{935EF258-ACF9-4C40-8F27-4828ABBE04AA}" dt="2023-01-28T04:50:22.867" v="206"/>
          <ac:inkMkLst>
            <pc:docMk/>
            <pc:sldMk cId="302558819" sldId="281"/>
            <ac:inkMk id="109" creationId="{2B9D033A-8E0F-3938-75C1-5A49546FF943}"/>
          </ac:inkMkLst>
        </pc:inkChg>
        <pc:inkChg chg="add mod">
          <ac:chgData name="Aniket Chhabra" userId="598e0514-bef3-4e71-b6aa-f2edd6441cff" providerId="ADAL" clId="{935EF258-ACF9-4C40-8F27-4828ABBE04AA}" dt="2023-01-28T04:50:22.867" v="206"/>
          <ac:inkMkLst>
            <pc:docMk/>
            <pc:sldMk cId="302558819" sldId="281"/>
            <ac:inkMk id="110" creationId="{DA3416F1-CA1D-7ED7-49CA-13A28D2F736F}"/>
          </ac:inkMkLst>
        </pc:inkChg>
        <pc:inkChg chg="add mod">
          <ac:chgData name="Aniket Chhabra" userId="598e0514-bef3-4e71-b6aa-f2edd6441cff" providerId="ADAL" clId="{935EF258-ACF9-4C40-8F27-4828ABBE04AA}" dt="2023-01-28T04:50:22.867" v="206"/>
          <ac:inkMkLst>
            <pc:docMk/>
            <pc:sldMk cId="302558819" sldId="281"/>
            <ac:inkMk id="111" creationId="{4FCB60C1-D4CC-420A-2041-8863AFCA2FA7}"/>
          </ac:inkMkLst>
        </pc:inkChg>
        <pc:inkChg chg="add mod">
          <ac:chgData name="Aniket Chhabra" userId="598e0514-bef3-4e71-b6aa-f2edd6441cff" providerId="ADAL" clId="{935EF258-ACF9-4C40-8F27-4828ABBE04AA}" dt="2023-01-28T04:50:22.867" v="206"/>
          <ac:inkMkLst>
            <pc:docMk/>
            <pc:sldMk cId="302558819" sldId="281"/>
            <ac:inkMk id="112" creationId="{C9990863-2FDF-6089-C273-3687E14640E8}"/>
          </ac:inkMkLst>
        </pc:inkChg>
        <pc:inkChg chg="add del mod">
          <ac:chgData name="Aniket Chhabra" userId="598e0514-bef3-4e71-b6aa-f2edd6441cff" providerId="ADAL" clId="{935EF258-ACF9-4C40-8F27-4828ABBE04AA}" dt="2023-01-28T04:47:44.249" v="170"/>
          <ac:inkMkLst>
            <pc:docMk/>
            <pc:sldMk cId="302558819" sldId="281"/>
            <ac:inkMk id="113" creationId="{8EFE2362-CA88-19BB-5FBD-1829035357CA}"/>
          </ac:inkMkLst>
        </pc:inkChg>
        <pc:inkChg chg="add del mod">
          <ac:chgData name="Aniket Chhabra" userId="598e0514-bef3-4e71-b6aa-f2edd6441cff" providerId="ADAL" clId="{935EF258-ACF9-4C40-8F27-4828ABBE04AA}" dt="2023-01-28T04:48:03.089" v="174"/>
          <ac:inkMkLst>
            <pc:docMk/>
            <pc:sldMk cId="302558819" sldId="281"/>
            <ac:inkMk id="116" creationId="{48640A95-DBF2-2B7E-161E-04B4FFC67CD2}"/>
          </ac:inkMkLst>
        </pc:inkChg>
        <pc:inkChg chg="add mod">
          <ac:chgData name="Aniket Chhabra" userId="598e0514-bef3-4e71-b6aa-f2edd6441cff" providerId="ADAL" clId="{935EF258-ACF9-4C40-8F27-4828ABBE04AA}" dt="2023-01-28T04:50:36.053" v="208"/>
          <ac:inkMkLst>
            <pc:docMk/>
            <pc:sldMk cId="302558819" sldId="281"/>
            <ac:inkMk id="118" creationId="{3549706E-EE76-B8D0-D32E-D39A79AB88F0}"/>
          </ac:inkMkLst>
        </pc:inkChg>
        <pc:inkChg chg="add mod">
          <ac:chgData name="Aniket Chhabra" userId="598e0514-bef3-4e71-b6aa-f2edd6441cff" providerId="ADAL" clId="{935EF258-ACF9-4C40-8F27-4828ABBE04AA}" dt="2023-01-28T04:50:36.053" v="208"/>
          <ac:inkMkLst>
            <pc:docMk/>
            <pc:sldMk cId="302558819" sldId="281"/>
            <ac:inkMk id="119" creationId="{43B1800D-6827-C18E-7193-CFAD5AAF7964}"/>
          </ac:inkMkLst>
        </pc:inkChg>
        <pc:inkChg chg="add mod">
          <ac:chgData name="Aniket Chhabra" userId="598e0514-bef3-4e71-b6aa-f2edd6441cff" providerId="ADAL" clId="{935EF258-ACF9-4C40-8F27-4828ABBE04AA}" dt="2023-01-28T04:50:36.053" v="208"/>
          <ac:inkMkLst>
            <pc:docMk/>
            <pc:sldMk cId="302558819" sldId="281"/>
            <ac:inkMk id="120" creationId="{16C0FA3D-0490-3A37-6F0D-366C65AE12B1}"/>
          </ac:inkMkLst>
        </pc:inkChg>
        <pc:inkChg chg="add mod">
          <ac:chgData name="Aniket Chhabra" userId="598e0514-bef3-4e71-b6aa-f2edd6441cff" providerId="ADAL" clId="{935EF258-ACF9-4C40-8F27-4828ABBE04AA}" dt="2023-01-28T04:50:36.053" v="208"/>
          <ac:inkMkLst>
            <pc:docMk/>
            <pc:sldMk cId="302558819" sldId="281"/>
            <ac:inkMk id="121" creationId="{6344B2ED-0058-2CEA-F7F6-E99C9A5976B2}"/>
          </ac:inkMkLst>
        </pc:inkChg>
        <pc:inkChg chg="add mod">
          <ac:chgData name="Aniket Chhabra" userId="598e0514-bef3-4e71-b6aa-f2edd6441cff" providerId="ADAL" clId="{935EF258-ACF9-4C40-8F27-4828ABBE04AA}" dt="2023-01-28T04:50:36.053" v="208"/>
          <ac:inkMkLst>
            <pc:docMk/>
            <pc:sldMk cId="302558819" sldId="281"/>
            <ac:inkMk id="122" creationId="{09E54372-4DA5-4B82-B623-E8159068BD0D}"/>
          </ac:inkMkLst>
        </pc:inkChg>
        <pc:inkChg chg="add mod">
          <ac:chgData name="Aniket Chhabra" userId="598e0514-bef3-4e71-b6aa-f2edd6441cff" providerId="ADAL" clId="{935EF258-ACF9-4C40-8F27-4828ABBE04AA}" dt="2023-01-28T04:50:36.053" v="208"/>
          <ac:inkMkLst>
            <pc:docMk/>
            <pc:sldMk cId="302558819" sldId="281"/>
            <ac:inkMk id="123" creationId="{1559C9CA-50AB-ACA1-9D0C-84746EB92E94}"/>
          </ac:inkMkLst>
        </pc:inkChg>
        <pc:inkChg chg="add mod">
          <ac:chgData name="Aniket Chhabra" userId="598e0514-bef3-4e71-b6aa-f2edd6441cff" providerId="ADAL" clId="{935EF258-ACF9-4C40-8F27-4828ABBE04AA}" dt="2023-01-28T04:50:36.053" v="208"/>
          <ac:inkMkLst>
            <pc:docMk/>
            <pc:sldMk cId="302558819" sldId="281"/>
            <ac:inkMk id="124" creationId="{D00C4E50-3B8C-5992-2DD3-72EE597A7497}"/>
          </ac:inkMkLst>
        </pc:inkChg>
        <pc:inkChg chg="add mod">
          <ac:chgData name="Aniket Chhabra" userId="598e0514-bef3-4e71-b6aa-f2edd6441cff" providerId="ADAL" clId="{935EF258-ACF9-4C40-8F27-4828ABBE04AA}" dt="2023-01-28T04:50:36.053" v="208"/>
          <ac:inkMkLst>
            <pc:docMk/>
            <pc:sldMk cId="302558819" sldId="281"/>
            <ac:inkMk id="125" creationId="{A3169D97-97DA-1096-8EFF-FA73538F5F70}"/>
          </ac:inkMkLst>
        </pc:inkChg>
        <pc:inkChg chg="add mod">
          <ac:chgData name="Aniket Chhabra" userId="598e0514-bef3-4e71-b6aa-f2edd6441cff" providerId="ADAL" clId="{935EF258-ACF9-4C40-8F27-4828ABBE04AA}" dt="2023-01-28T04:50:36.053" v="208"/>
          <ac:inkMkLst>
            <pc:docMk/>
            <pc:sldMk cId="302558819" sldId="281"/>
            <ac:inkMk id="126" creationId="{FF6D9C4F-2B7D-B373-5CA6-49C90AD78203}"/>
          </ac:inkMkLst>
        </pc:inkChg>
        <pc:inkChg chg="add mod">
          <ac:chgData name="Aniket Chhabra" userId="598e0514-bef3-4e71-b6aa-f2edd6441cff" providerId="ADAL" clId="{935EF258-ACF9-4C40-8F27-4828ABBE04AA}" dt="2023-01-28T04:50:36.053" v="208"/>
          <ac:inkMkLst>
            <pc:docMk/>
            <pc:sldMk cId="302558819" sldId="281"/>
            <ac:inkMk id="127" creationId="{995A9277-D6E7-E620-B646-75968BF0DAE1}"/>
          </ac:inkMkLst>
        </pc:inkChg>
        <pc:inkChg chg="add mod">
          <ac:chgData name="Aniket Chhabra" userId="598e0514-bef3-4e71-b6aa-f2edd6441cff" providerId="ADAL" clId="{935EF258-ACF9-4C40-8F27-4828ABBE04AA}" dt="2023-01-28T04:50:22.867" v="206"/>
          <ac:inkMkLst>
            <pc:docMk/>
            <pc:sldMk cId="302558819" sldId="281"/>
            <ac:inkMk id="128" creationId="{CC1C628C-5067-4374-4EC6-AB74B9000352}"/>
          </ac:inkMkLst>
        </pc:inkChg>
        <pc:inkChg chg="add mod">
          <ac:chgData name="Aniket Chhabra" userId="598e0514-bef3-4e71-b6aa-f2edd6441cff" providerId="ADAL" clId="{935EF258-ACF9-4C40-8F27-4828ABBE04AA}" dt="2023-01-28T04:50:22.867" v="206"/>
          <ac:inkMkLst>
            <pc:docMk/>
            <pc:sldMk cId="302558819" sldId="281"/>
            <ac:inkMk id="129" creationId="{E1F95BC8-2D28-025D-6755-661A0703AC4C}"/>
          </ac:inkMkLst>
        </pc:inkChg>
        <pc:inkChg chg="add">
          <ac:chgData name="Aniket Chhabra" userId="598e0514-bef3-4e71-b6aa-f2edd6441cff" providerId="ADAL" clId="{935EF258-ACF9-4C40-8F27-4828ABBE04AA}" dt="2023-01-28T04:48:31.840" v="188" actId="9405"/>
          <ac:inkMkLst>
            <pc:docMk/>
            <pc:sldMk cId="302558819" sldId="281"/>
            <ac:inkMk id="131" creationId="{0A4A5BB5-A668-67DE-F179-491D6F4670BE}"/>
          </ac:inkMkLst>
        </pc:inkChg>
        <pc:inkChg chg="add">
          <ac:chgData name="Aniket Chhabra" userId="598e0514-bef3-4e71-b6aa-f2edd6441cff" providerId="ADAL" clId="{935EF258-ACF9-4C40-8F27-4828ABBE04AA}" dt="2023-01-28T04:48:32.565" v="189" actId="9405"/>
          <ac:inkMkLst>
            <pc:docMk/>
            <pc:sldMk cId="302558819" sldId="281"/>
            <ac:inkMk id="132" creationId="{2FD6F388-2761-2B16-79FB-9E60886C88C4}"/>
          </ac:inkMkLst>
        </pc:inkChg>
        <pc:inkChg chg="add mod">
          <ac:chgData name="Aniket Chhabra" userId="598e0514-bef3-4e71-b6aa-f2edd6441cff" providerId="ADAL" clId="{935EF258-ACF9-4C40-8F27-4828ABBE04AA}" dt="2023-01-28T04:50:22.867" v="206"/>
          <ac:inkMkLst>
            <pc:docMk/>
            <pc:sldMk cId="302558819" sldId="281"/>
            <ac:inkMk id="133" creationId="{D4D68FE3-1F44-2575-4E98-8B7164E03600}"/>
          </ac:inkMkLst>
        </pc:inkChg>
        <pc:inkChg chg="add mod">
          <ac:chgData name="Aniket Chhabra" userId="598e0514-bef3-4e71-b6aa-f2edd6441cff" providerId="ADAL" clId="{935EF258-ACF9-4C40-8F27-4828ABBE04AA}" dt="2023-01-28T04:50:22.867" v="206"/>
          <ac:inkMkLst>
            <pc:docMk/>
            <pc:sldMk cId="302558819" sldId="281"/>
            <ac:inkMk id="134" creationId="{0B0146C2-5F96-F346-CB44-00B48ED5DB08}"/>
          </ac:inkMkLst>
        </pc:inkChg>
        <pc:inkChg chg="add mod">
          <ac:chgData name="Aniket Chhabra" userId="598e0514-bef3-4e71-b6aa-f2edd6441cff" providerId="ADAL" clId="{935EF258-ACF9-4C40-8F27-4828ABBE04AA}" dt="2023-01-28T04:50:22.867" v="206"/>
          <ac:inkMkLst>
            <pc:docMk/>
            <pc:sldMk cId="302558819" sldId="281"/>
            <ac:inkMk id="136" creationId="{9466D1A4-5891-18CE-D539-44C5BF95B05C}"/>
          </ac:inkMkLst>
        </pc:inkChg>
        <pc:inkChg chg="add mod">
          <ac:chgData name="Aniket Chhabra" userId="598e0514-bef3-4e71-b6aa-f2edd6441cff" providerId="ADAL" clId="{935EF258-ACF9-4C40-8F27-4828ABBE04AA}" dt="2023-01-28T04:50:22.867" v="206"/>
          <ac:inkMkLst>
            <pc:docMk/>
            <pc:sldMk cId="302558819" sldId="281"/>
            <ac:inkMk id="137" creationId="{3033447A-EF13-2269-95BE-CCBBE0BD6488}"/>
          </ac:inkMkLst>
        </pc:inkChg>
        <pc:inkChg chg="add mod">
          <ac:chgData name="Aniket Chhabra" userId="598e0514-bef3-4e71-b6aa-f2edd6441cff" providerId="ADAL" clId="{935EF258-ACF9-4C40-8F27-4828ABBE04AA}" dt="2023-01-28T04:50:22.867" v="206"/>
          <ac:inkMkLst>
            <pc:docMk/>
            <pc:sldMk cId="302558819" sldId="281"/>
            <ac:inkMk id="138" creationId="{2AD38C39-F53C-3646-9756-1857F3B60EC1}"/>
          </ac:inkMkLst>
        </pc:inkChg>
        <pc:inkChg chg="add">
          <ac:chgData name="Aniket Chhabra" userId="598e0514-bef3-4e71-b6aa-f2edd6441cff" providerId="ADAL" clId="{935EF258-ACF9-4C40-8F27-4828ABBE04AA}" dt="2023-01-28T04:49:01.402" v="196" actId="9405"/>
          <ac:inkMkLst>
            <pc:docMk/>
            <pc:sldMk cId="302558819" sldId="281"/>
            <ac:inkMk id="139" creationId="{E0A430D0-4E49-BF3E-9DE4-5132862ADD87}"/>
          </ac:inkMkLst>
        </pc:inkChg>
        <pc:inkChg chg="add mod">
          <ac:chgData name="Aniket Chhabra" userId="598e0514-bef3-4e71-b6aa-f2edd6441cff" providerId="ADAL" clId="{935EF258-ACF9-4C40-8F27-4828ABBE04AA}" dt="2023-01-28T04:50:22.867" v="206"/>
          <ac:inkMkLst>
            <pc:docMk/>
            <pc:sldMk cId="302558819" sldId="281"/>
            <ac:inkMk id="140" creationId="{25C5782D-F859-D420-5A7B-9777F3DDD8B8}"/>
          </ac:inkMkLst>
        </pc:inkChg>
        <pc:inkChg chg="add mod">
          <ac:chgData name="Aniket Chhabra" userId="598e0514-bef3-4e71-b6aa-f2edd6441cff" providerId="ADAL" clId="{935EF258-ACF9-4C40-8F27-4828ABBE04AA}" dt="2023-01-28T04:50:36.053" v="208"/>
          <ac:inkMkLst>
            <pc:docMk/>
            <pc:sldMk cId="302558819" sldId="281"/>
            <ac:inkMk id="146" creationId="{B970A2B5-0C25-22AC-5A9A-8A5E7CCA34DB}"/>
          </ac:inkMkLst>
        </pc:inkChg>
        <pc:inkChg chg="add mod">
          <ac:chgData name="Aniket Chhabra" userId="598e0514-bef3-4e71-b6aa-f2edd6441cff" providerId="ADAL" clId="{935EF258-ACF9-4C40-8F27-4828ABBE04AA}" dt="2023-01-28T04:50:36.053" v="208"/>
          <ac:inkMkLst>
            <pc:docMk/>
            <pc:sldMk cId="302558819" sldId="281"/>
            <ac:inkMk id="148" creationId="{16FD912F-D910-F41A-1C1A-4618B5BB9DC6}"/>
          </ac:inkMkLst>
        </pc:inkChg>
        <pc:inkChg chg="add">
          <ac:chgData name="Aniket Chhabra" userId="598e0514-bef3-4e71-b6aa-f2edd6441cff" providerId="ADAL" clId="{935EF258-ACF9-4C40-8F27-4828ABBE04AA}" dt="2023-01-28T04:50:49.611" v="209" actId="9405"/>
          <ac:inkMkLst>
            <pc:docMk/>
            <pc:sldMk cId="302558819" sldId="281"/>
            <ac:inkMk id="150" creationId="{2AF26D7E-F97B-A175-AAA0-B73009018F47}"/>
          </ac:inkMkLst>
        </pc:inkChg>
      </pc:sldChg>
      <pc:sldChg chg="addSp delSp mod">
        <pc:chgData name="Aniket Chhabra" userId="598e0514-bef3-4e71-b6aa-f2edd6441cff" providerId="ADAL" clId="{935EF258-ACF9-4C40-8F27-4828ABBE04AA}" dt="2023-01-28T07:16:05.884" v="556" actId="478"/>
        <pc:sldMkLst>
          <pc:docMk/>
          <pc:sldMk cId="1702735194" sldId="282"/>
        </pc:sldMkLst>
        <pc:inkChg chg="add del">
          <ac:chgData name="Aniket Chhabra" userId="598e0514-bef3-4e71-b6aa-f2edd6441cff" providerId="ADAL" clId="{935EF258-ACF9-4C40-8F27-4828ABBE04AA}" dt="2023-01-28T07:16:05.884" v="556" actId="478"/>
          <ac:inkMkLst>
            <pc:docMk/>
            <pc:sldMk cId="1702735194" sldId="282"/>
            <ac:inkMk id="3" creationId="{225B5D35-867A-F374-7190-1DC301384E9B}"/>
          </ac:inkMkLst>
        </pc:inkChg>
        <pc:inkChg chg="add del">
          <ac:chgData name="Aniket Chhabra" userId="598e0514-bef3-4e71-b6aa-f2edd6441cff" providerId="ADAL" clId="{935EF258-ACF9-4C40-8F27-4828ABBE04AA}" dt="2023-01-28T04:49:21.200" v="201" actId="9405"/>
          <ac:inkMkLst>
            <pc:docMk/>
            <pc:sldMk cId="1702735194" sldId="282"/>
            <ac:inkMk id="4" creationId="{53F56730-4873-B16C-CA4B-A00F2F358A0D}"/>
          </ac:inkMkLst>
        </pc:inkChg>
        <pc:inkChg chg="add del">
          <ac:chgData name="Aniket Chhabra" userId="598e0514-bef3-4e71-b6aa-f2edd6441cff" providerId="ADAL" clId="{935EF258-ACF9-4C40-8F27-4828ABBE04AA}" dt="2023-01-28T04:49:20.952" v="200" actId="9405"/>
          <ac:inkMkLst>
            <pc:docMk/>
            <pc:sldMk cId="1702735194" sldId="282"/>
            <ac:inkMk id="5" creationId="{3E94116F-C9AD-002B-7A2B-924F71785B4E}"/>
          </ac:inkMkLst>
        </pc:inkChg>
        <pc:inkChg chg="add">
          <ac:chgData name="Aniket Chhabra" userId="598e0514-bef3-4e71-b6aa-f2edd6441cff" providerId="ADAL" clId="{935EF258-ACF9-4C40-8F27-4828ABBE04AA}" dt="2023-01-28T04:49:26.251" v="202" actId="9405"/>
          <ac:inkMkLst>
            <pc:docMk/>
            <pc:sldMk cId="1702735194" sldId="282"/>
            <ac:inkMk id="8" creationId="{717DD262-D800-C6CE-F40B-FA4C6941646D}"/>
          </ac:inkMkLst>
        </pc:inkChg>
      </pc:sldChg>
      <pc:sldChg chg="addSp delSp mod">
        <pc:chgData name="Aniket Chhabra" userId="598e0514-bef3-4e71-b6aa-f2edd6441cff" providerId="ADAL" clId="{935EF258-ACF9-4C40-8F27-4828ABBE04AA}" dt="2023-01-28T07:19:15.449" v="558" actId="478"/>
        <pc:sldMkLst>
          <pc:docMk/>
          <pc:sldMk cId="2063328610" sldId="284"/>
        </pc:sldMkLst>
        <pc:inkChg chg="add">
          <ac:chgData name="Aniket Chhabra" userId="598e0514-bef3-4e71-b6aa-f2edd6441cff" providerId="ADAL" clId="{935EF258-ACF9-4C40-8F27-4828ABBE04AA}" dt="2023-01-28T04:51:21.219" v="210" actId="9405"/>
          <ac:inkMkLst>
            <pc:docMk/>
            <pc:sldMk cId="2063328610" sldId="284"/>
            <ac:inkMk id="11" creationId="{440CA199-1A04-63D4-7D92-DA49833D17EB}"/>
          </ac:inkMkLst>
        </pc:inkChg>
        <pc:inkChg chg="add">
          <ac:chgData name="Aniket Chhabra" userId="598e0514-bef3-4e71-b6aa-f2edd6441cff" providerId="ADAL" clId="{935EF258-ACF9-4C40-8F27-4828ABBE04AA}" dt="2023-01-28T04:51:24.436" v="211" actId="9405"/>
          <ac:inkMkLst>
            <pc:docMk/>
            <pc:sldMk cId="2063328610" sldId="284"/>
            <ac:inkMk id="13" creationId="{CDB65049-EC7B-5A82-97D0-7BBC6C3C0CD1}"/>
          </ac:inkMkLst>
        </pc:inkChg>
        <pc:inkChg chg="add del">
          <ac:chgData name="Aniket Chhabra" userId="598e0514-bef3-4e71-b6aa-f2edd6441cff" providerId="ADAL" clId="{935EF258-ACF9-4C40-8F27-4828ABBE04AA}" dt="2023-01-28T07:19:08.749" v="557" actId="478"/>
          <ac:inkMkLst>
            <pc:docMk/>
            <pc:sldMk cId="2063328610" sldId="284"/>
            <ac:inkMk id="23" creationId="{C3E4F3B8-5307-6302-C658-664EB0B7B26A}"/>
          </ac:inkMkLst>
        </pc:inkChg>
        <pc:inkChg chg="add del">
          <ac:chgData name="Aniket Chhabra" userId="598e0514-bef3-4e71-b6aa-f2edd6441cff" providerId="ADAL" clId="{935EF258-ACF9-4C40-8F27-4828ABBE04AA}" dt="2023-01-28T07:19:15.449" v="558" actId="478"/>
          <ac:inkMkLst>
            <pc:docMk/>
            <pc:sldMk cId="2063328610" sldId="284"/>
            <ac:inkMk id="25" creationId="{9BA6609B-1304-32BC-32BA-8040D3E83769}"/>
          </ac:inkMkLst>
        </pc:inkChg>
        <pc:inkChg chg="add">
          <ac:chgData name="Aniket Chhabra" userId="598e0514-bef3-4e71-b6aa-f2edd6441cff" providerId="ADAL" clId="{935EF258-ACF9-4C40-8F27-4828ABBE04AA}" dt="2023-01-28T04:53:12.117" v="223" actId="9405"/>
          <ac:inkMkLst>
            <pc:docMk/>
            <pc:sldMk cId="2063328610" sldId="284"/>
            <ac:inkMk id="34" creationId="{5E38E386-FA60-C777-9B76-5C638AC5664A}"/>
          </ac:inkMkLst>
        </pc:inkChg>
      </pc:sldChg>
      <pc:sldChg chg="addSp delSp modSp mod">
        <pc:chgData name="Aniket Chhabra" userId="598e0514-bef3-4e71-b6aa-f2edd6441cff" providerId="ADAL" clId="{935EF258-ACF9-4C40-8F27-4828ABBE04AA}" dt="2023-01-28T04:56:11.863" v="358"/>
        <pc:sldMkLst>
          <pc:docMk/>
          <pc:sldMk cId="1370836176" sldId="285"/>
        </pc:sldMkLst>
        <pc:grpChg chg="del mod">
          <ac:chgData name="Aniket Chhabra" userId="598e0514-bef3-4e71-b6aa-f2edd6441cff" providerId="ADAL" clId="{935EF258-ACF9-4C40-8F27-4828ABBE04AA}" dt="2023-01-28T04:53:08.392" v="222"/>
          <ac:grpSpMkLst>
            <pc:docMk/>
            <pc:sldMk cId="1370836176" sldId="285"/>
            <ac:grpSpMk id="51" creationId="{F57DB0FC-348D-8BE3-AA0B-F3589CC2B5AD}"/>
          </ac:grpSpMkLst>
        </pc:grpChg>
        <pc:grpChg chg="mod">
          <ac:chgData name="Aniket Chhabra" userId="598e0514-bef3-4e71-b6aa-f2edd6441cff" providerId="ADAL" clId="{935EF258-ACF9-4C40-8F27-4828ABBE04AA}" dt="2023-01-28T04:53:08.392" v="222"/>
          <ac:grpSpMkLst>
            <pc:docMk/>
            <pc:sldMk cId="1370836176" sldId="285"/>
            <ac:grpSpMk id="54" creationId="{B793B2D4-367B-AEED-F7D2-8B2AA14D5C28}"/>
          </ac:grpSpMkLst>
        </pc:grpChg>
        <pc:grpChg chg="del mod">
          <ac:chgData name="Aniket Chhabra" userId="598e0514-bef3-4e71-b6aa-f2edd6441cff" providerId="ADAL" clId="{935EF258-ACF9-4C40-8F27-4828ABBE04AA}" dt="2023-01-28T04:55:31.674" v="316"/>
          <ac:grpSpMkLst>
            <pc:docMk/>
            <pc:sldMk cId="1370836176" sldId="285"/>
            <ac:grpSpMk id="59" creationId="{F4786F77-7677-D8FE-748C-88D382371E05}"/>
          </ac:grpSpMkLst>
        </pc:grpChg>
        <pc:grpChg chg="del mod">
          <ac:chgData name="Aniket Chhabra" userId="598e0514-bef3-4e71-b6aa-f2edd6441cff" providerId="ADAL" clId="{935EF258-ACF9-4C40-8F27-4828ABBE04AA}" dt="2023-01-28T04:55:31.674" v="316"/>
          <ac:grpSpMkLst>
            <pc:docMk/>
            <pc:sldMk cId="1370836176" sldId="285"/>
            <ac:grpSpMk id="61" creationId="{97DC3978-1A20-5F4F-1D0A-51F3C8E0E5B9}"/>
          </ac:grpSpMkLst>
        </pc:grpChg>
        <pc:grpChg chg="del mod">
          <ac:chgData name="Aniket Chhabra" userId="598e0514-bef3-4e71-b6aa-f2edd6441cff" providerId="ADAL" clId="{935EF258-ACF9-4C40-8F27-4828ABBE04AA}" dt="2023-01-28T04:55:23.275" v="308"/>
          <ac:grpSpMkLst>
            <pc:docMk/>
            <pc:sldMk cId="1370836176" sldId="285"/>
            <ac:grpSpMk id="65" creationId="{39ACDDAC-7E2C-50E5-04DF-1209CA2CA141}"/>
          </ac:grpSpMkLst>
        </pc:grpChg>
        <pc:grpChg chg="del mod">
          <ac:chgData name="Aniket Chhabra" userId="598e0514-bef3-4e71-b6aa-f2edd6441cff" providerId="ADAL" clId="{935EF258-ACF9-4C40-8F27-4828ABBE04AA}" dt="2023-01-28T04:55:27.330" v="310"/>
          <ac:grpSpMkLst>
            <pc:docMk/>
            <pc:sldMk cId="1370836176" sldId="285"/>
            <ac:grpSpMk id="71" creationId="{83091DB2-AA01-486A-17F4-4822B072E327}"/>
          </ac:grpSpMkLst>
        </pc:grpChg>
        <pc:grpChg chg="del mod">
          <ac:chgData name="Aniket Chhabra" userId="598e0514-bef3-4e71-b6aa-f2edd6441cff" providerId="ADAL" clId="{935EF258-ACF9-4C40-8F27-4828ABBE04AA}" dt="2023-01-28T04:54:17.457" v="251"/>
          <ac:grpSpMkLst>
            <pc:docMk/>
            <pc:sldMk cId="1370836176" sldId="285"/>
            <ac:grpSpMk id="81" creationId="{A726BB9A-80FF-D0F2-CF4F-DAFBEAF14DBB}"/>
          </ac:grpSpMkLst>
        </pc:grpChg>
        <pc:grpChg chg="del mod">
          <ac:chgData name="Aniket Chhabra" userId="598e0514-bef3-4e71-b6aa-f2edd6441cff" providerId="ADAL" clId="{935EF258-ACF9-4C40-8F27-4828ABBE04AA}" dt="2023-01-28T04:54:22.519" v="258"/>
          <ac:grpSpMkLst>
            <pc:docMk/>
            <pc:sldMk cId="1370836176" sldId="285"/>
            <ac:grpSpMk id="84" creationId="{9CFEC43B-42B1-28AA-E46D-6F52892F30BA}"/>
          </ac:grpSpMkLst>
        </pc:grpChg>
        <pc:grpChg chg="del mod">
          <ac:chgData name="Aniket Chhabra" userId="598e0514-bef3-4e71-b6aa-f2edd6441cff" providerId="ADAL" clId="{935EF258-ACF9-4C40-8F27-4828ABBE04AA}" dt="2023-01-28T04:54:39.939" v="279"/>
          <ac:grpSpMkLst>
            <pc:docMk/>
            <pc:sldMk cId="1370836176" sldId="285"/>
            <ac:grpSpMk id="111" creationId="{FAE52885-1106-1334-1077-0633763FAC80}"/>
          </ac:grpSpMkLst>
        </pc:grpChg>
        <pc:grpChg chg="del mod">
          <ac:chgData name="Aniket Chhabra" userId="598e0514-bef3-4e71-b6aa-f2edd6441cff" providerId="ADAL" clId="{935EF258-ACF9-4C40-8F27-4828ABBE04AA}" dt="2023-01-28T04:55:23.275" v="308"/>
          <ac:grpSpMkLst>
            <pc:docMk/>
            <pc:sldMk cId="1370836176" sldId="285"/>
            <ac:grpSpMk id="115" creationId="{0D1869F9-34BF-E17B-51A7-398BF387CABE}"/>
          </ac:grpSpMkLst>
        </pc:grpChg>
        <pc:grpChg chg="del mod">
          <ac:chgData name="Aniket Chhabra" userId="598e0514-bef3-4e71-b6aa-f2edd6441cff" providerId="ADAL" clId="{935EF258-ACF9-4C40-8F27-4828ABBE04AA}" dt="2023-01-28T04:54:39.939" v="279"/>
          <ac:grpSpMkLst>
            <pc:docMk/>
            <pc:sldMk cId="1370836176" sldId="285"/>
            <ac:grpSpMk id="132" creationId="{5172B1B1-20EF-7AF6-CE27-19CF323F6391}"/>
          </ac:grpSpMkLst>
        </pc:grpChg>
        <pc:grpChg chg="del mod">
          <ac:chgData name="Aniket Chhabra" userId="598e0514-bef3-4e71-b6aa-f2edd6441cff" providerId="ADAL" clId="{935EF258-ACF9-4C40-8F27-4828ABBE04AA}" dt="2023-01-28T04:54:39.939" v="279"/>
          <ac:grpSpMkLst>
            <pc:docMk/>
            <pc:sldMk cId="1370836176" sldId="285"/>
            <ac:grpSpMk id="138" creationId="{1E7AF3F6-21BA-5AFE-E729-56CA525C6BB0}"/>
          </ac:grpSpMkLst>
        </pc:grpChg>
        <pc:grpChg chg="mod">
          <ac:chgData name="Aniket Chhabra" userId="598e0514-bef3-4e71-b6aa-f2edd6441cff" providerId="ADAL" clId="{935EF258-ACF9-4C40-8F27-4828ABBE04AA}" dt="2023-01-28T04:54:39.939" v="279"/>
          <ac:grpSpMkLst>
            <pc:docMk/>
            <pc:sldMk cId="1370836176" sldId="285"/>
            <ac:grpSpMk id="144" creationId="{C5EFDB63-4548-20D5-B9F4-1E06D7A51C14}"/>
          </ac:grpSpMkLst>
        </pc:grpChg>
        <pc:grpChg chg="del mod">
          <ac:chgData name="Aniket Chhabra" userId="598e0514-bef3-4e71-b6aa-f2edd6441cff" providerId="ADAL" clId="{935EF258-ACF9-4C40-8F27-4828ABBE04AA}" dt="2023-01-28T04:54:52.031" v="290"/>
          <ac:grpSpMkLst>
            <pc:docMk/>
            <pc:sldMk cId="1370836176" sldId="285"/>
            <ac:grpSpMk id="197" creationId="{260055BD-7B90-A780-4E7D-72896B5ACD63}"/>
          </ac:grpSpMkLst>
        </pc:grpChg>
        <pc:grpChg chg="del mod">
          <ac:chgData name="Aniket Chhabra" userId="598e0514-bef3-4e71-b6aa-f2edd6441cff" providerId="ADAL" clId="{935EF258-ACF9-4C40-8F27-4828ABBE04AA}" dt="2023-01-28T04:54:52.031" v="290"/>
          <ac:grpSpMkLst>
            <pc:docMk/>
            <pc:sldMk cId="1370836176" sldId="285"/>
            <ac:grpSpMk id="198" creationId="{4FABBE71-1B90-CC4A-F99A-3D975AC8E7C3}"/>
          </ac:grpSpMkLst>
        </pc:grpChg>
        <pc:grpChg chg="del mod">
          <ac:chgData name="Aniket Chhabra" userId="598e0514-bef3-4e71-b6aa-f2edd6441cff" providerId="ADAL" clId="{935EF258-ACF9-4C40-8F27-4828ABBE04AA}" dt="2023-01-28T04:54:52.031" v="290"/>
          <ac:grpSpMkLst>
            <pc:docMk/>
            <pc:sldMk cId="1370836176" sldId="285"/>
            <ac:grpSpMk id="199" creationId="{27F7F852-68A2-DC07-D797-03BF5FE60F58}"/>
          </ac:grpSpMkLst>
        </pc:grpChg>
        <pc:grpChg chg="del mod">
          <ac:chgData name="Aniket Chhabra" userId="598e0514-bef3-4e71-b6aa-f2edd6441cff" providerId="ADAL" clId="{935EF258-ACF9-4C40-8F27-4828ABBE04AA}" dt="2023-01-28T04:54:52.031" v="290"/>
          <ac:grpSpMkLst>
            <pc:docMk/>
            <pc:sldMk cId="1370836176" sldId="285"/>
            <ac:grpSpMk id="200" creationId="{E9ACA28B-EC40-B4E0-E91E-185E75CD97CA}"/>
          </ac:grpSpMkLst>
        </pc:grpChg>
        <pc:grpChg chg="del mod">
          <ac:chgData name="Aniket Chhabra" userId="598e0514-bef3-4e71-b6aa-f2edd6441cff" providerId="ADAL" clId="{935EF258-ACF9-4C40-8F27-4828ABBE04AA}" dt="2023-01-28T04:54:52.031" v="290"/>
          <ac:grpSpMkLst>
            <pc:docMk/>
            <pc:sldMk cId="1370836176" sldId="285"/>
            <ac:grpSpMk id="201" creationId="{1E0EA262-F689-25E5-E18A-F42F9E0FCB26}"/>
          </ac:grpSpMkLst>
        </pc:grpChg>
        <pc:grpChg chg="mod">
          <ac:chgData name="Aniket Chhabra" userId="598e0514-bef3-4e71-b6aa-f2edd6441cff" providerId="ADAL" clId="{935EF258-ACF9-4C40-8F27-4828ABBE04AA}" dt="2023-01-28T04:54:52.031" v="290"/>
          <ac:grpSpMkLst>
            <pc:docMk/>
            <pc:sldMk cId="1370836176" sldId="285"/>
            <ac:grpSpMk id="203" creationId="{DF7551C6-DD11-285A-6089-808D9184C6BA}"/>
          </ac:grpSpMkLst>
        </pc:grpChg>
        <pc:grpChg chg="del mod">
          <ac:chgData name="Aniket Chhabra" userId="598e0514-bef3-4e71-b6aa-f2edd6441cff" providerId="ADAL" clId="{935EF258-ACF9-4C40-8F27-4828ABBE04AA}" dt="2023-01-28T04:55:27.330" v="310"/>
          <ac:grpSpMkLst>
            <pc:docMk/>
            <pc:sldMk cId="1370836176" sldId="285"/>
            <ac:grpSpMk id="208" creationId="{A61FAC62-F28C-8AAF-2D1F-A2029536653D}"/>
          </ac:grpSpMkLst>
        </pc:grpChg>
        <pc:grpChg chg="mod">
          <ac:chgData name="Aniket Chhabra" userId="598e0514-bef3-4e71-b6aa-f2edd6441cff" providerId="ADAL" clId="{935EF258-ACF9-4C40-8F27-4828ABBE04AA}" dt="2023-01-28T04:55:14.211" v="298"/>
          <ac:grpSpMkLst>
            <pc:docMk/>
            <pc:sldMk cId="1370836176" sldId="285"/>
            <ac:grpSpMk id="211" creationId="{722E3195-B7C9-29AB-A694-7222870BDA08}"/>
          </ac:grpSpMkLst>
        </pc:grpChg>
        <pc:grpChg chg="del mod">
          <ac:chgData name="Aniket Chhabra" userId="598e0514-bef3-4e71-b6aa-f2edd6441cff" providerId="ADAL" clId="{935EF258-ACF9-4C40-8F27-4828ABBE04AA}" dt="2023-01-28T04:55:21.463" v="304"/>
          <ac:grpSpMkLst>
            <pc:docMk/>
            <pc:sldMk cId="1370836176" sldId="285"/>
            <ac:grpSpMk id="214" creationId="{A13AC829-3BA8-6E49-79EA-3AA95BF24FD5}"/>
          </ac:grpSpMkLst>
        </pc:grpChg>
        <pc:grpChg chg="del mod">
          <ac:chgData name="Aniket Chhabra" userId="598e0514-bef3-4e71-b6aa-f2edd6441cff" providerId="ADAL" clId="{935EF258-ACF9-4C40-8F27-4828ABBE04AA}" dt="2023-01-28T04:55:23.275" v="308"/>
          <ac:grpSpMkLst>
            <pc:docMk/>
            <pc:sldMk cId="1370836176" sldId="285"/>
            <ac:grpSpMk id="230" creationId="{3289AB14-954C-854B-52EC-A2AAEE1A006A}"/>
          </ac:grpSpMkLst>
        </pc:grpChg>
        <pc:grpChg chg="del mod">
          <ac:chgData name="Aniket Chhabra" userId="598e0514-bef3-4e71-b6aa-f2edd6441cff" providerId="ADAL" clId="{935EF258-ACF9-4C40-8F27-4828ABBE04AA}" dt="2023-01-28T04:55:23.275" v="308"/>
          <ac:grpSpMkLst>
            <pc:docMk/>
            <pc:sldMk cId="1370836176" sldId="285"/>
            <ac:grpSpMk id="264" creationId="{C677E723-6DA9-1638-73D3-240F489DD2CD}"/>
          </ac:grpSpMkLst>
        </pc:grpChg>
        <pc:grpChg chg="del mod">
          <ac:chgData name="Aniket Chhabra" userId="598e0514-bef3-4e71-b6aa-f2edd6441cff" providerId="ADAL" clId="{935EF258-ACF9-4C40-8F27-4828ABBE04AA}" dt="2023-01-28T04:55:27.330" v="310"/>
          <ac:grpSpMkLst>
            <pc:docMk/>
            <pc:sldMk cId="1370836176" sldId="285"/>
            <ac:grpSpMk id="265" creationId="{7419173F-D78D-17BC-8AD5-3A36A5E90E55}"/>
          </ac:grpSpMkLst>
        </pc:grpChg>
        <pc:grpChg chg="del mod">
          <ac:chgData name="Aniket Chhabra" userId="598e0514-bef3-4e71-b6aa-f2edd6441cff" providerId="ADAL" clId="{935EF258-ACF9-4C40-8F27-4828ABBE04AA}" dt="2023-01-28T04:55:31.674" v="316"/>
          <ac:grpSpMkLst>
            <pc:docMk/>
            <pc:sldMk cId="1370836176" sldId="285"/>
            <ac:grpSpMk id="267" creationId="{1FEEF18C-13D2-1C60-164F-8ED1B8531C7A}"/>
          </ac:grpSpMkLst>
        </pc:grpChg>
        <pc:grpChg chg="del mod">
          <ac:chgData name="Aniket Chhabra" userId="598e0514-bef3-4e71-b6aa-f2edd6441cff" providerId="ADAL" clId="{935EF258-ACF9-4C40-8F27-4828ABBE04AA}" dt="2023-01-28T04:55:34.212" v="318"/>
          <ac:grpSpMkLst>
            <pc:docMk/>
            <pc:sldMk cId="1370836176" sldId="285"/>
            <ac:grpSpMk id="273" creationId="{92E19FCD-40CE-07AB-00B1-EC1B8A667EA8}"/>
          </ac:grpSpMkLst>
        </pc:grpChg>
        <pc:grpChg chg="del mod">
          <ac:chgData name="Aniket Chhabra" userId="598e0514-bef3-4e71-b6aa-f2edd6441cff" providerId="ADAL" clId="{935EF258-ACF9-4C40-8F27-4828ABBE04AA}" dt="2023-01-28T04:56:08.877" v="350"/>
          <ac:grpSpMkLst>
            <pc:docMk/>
            <pc:sldMk cId="1370836176" sldId="285"/>
            <ac:grpSpMk id="275" creationId="{D8FF2910-3C58-346F-AFB9-BC09134EA729}"/>
          </ac:grpSpMkLst>
        </pc:grpChg>
        <pc:grpChg chg="mod">
          <ac:chgData name="Aniket Chhabra" userId="598e0514-bef3-4e71-b6aa-f2edd6441cff" providerId="ADAL" clId="{935EF258-ACF9-4C40-8F27-4828ABBE04AA}" dt="2023-01-28T04:55:45.494" v="347"/>
          <ac:grpSpMkLst>
            <pc:docMk/>
            <pc:sldMk cId="1370836176" sldId="285"/>
            <ac:grpSpMk id="304" creationId="{F7D64FEA-4B4B-EB3A-2DCF-D4D492847067}"/>
          </ac:grpSpMkLst>
        </pc:grpChg>
        <pc:grpChg chg="mod">
          <ac:chgData name="Aniket Chhabra" userId="598e0514-bef3-4e71-b6aa-f2edd6441cff" providerId="ADAL" clId="{935EF258-ACF9-4C40-8F27-4828ABBE04AA}" dt="2023-01-28T04:55:45.494" v="347"/>
          <ac:grpSpMkLst>
            <pc:docMk/>
            <pc:sldMk cId="1370836176" sldId="285"/>
            <ac:grpSpMk id="305" creationId="{29E4F4CA-D957-8AD4-80E3-4C2668C01DEF}"/>
          </ac:grpSpMkLst>
        </pc:grpChg>
        <pc:grpChg chg="mod">
          <ac:chgData name="Aniket Chhabra" userId="598e0514-bef3-4e71-b6aa-f2edd6441cff" providerId="ADAL" clId="{935EF258-ACF9-4C40-8F27-4828ABBE04AA}" dt="2023-01-28T04:55:45.494" v="347"/>
          <ac:grpSpMkLst>
            <pc:docMk/>
            <pc:sldMk cId="1370836176" sldId="285"/>
            <ac:grpSpMk id="306" creationId="{C1897291-99A4-ABC8-5A11-EA66C42DEC66}"/>
          </ac:grpSpMkLst>
        </pc:grpChg>
        <pc:grpChg chg="mod">
          <ac:chgData name="Aniket Chhabra" userId="598e0514-bef3-4e71-b6aa-f2edd6441cff" providerId="ADAL" clId="{935EF258-ACF9-4C40-8F27-4828ABBE04AA}" dt="2023-01-28T04:56:08.877" v="350"/>
          <ac:grpSpMkLst>
            <pc:docMk/>
            <pc:sldMk cId="1370836176" sldId="285"/>
            <ac:grpSpMk id="309" creationId="{69BBF714-3B0F-0AC3-B131-036E872ACFF9}"/>
          </ac:grpSpMkLst>
        </pc:grpChg>
        <pc:grpChg chg="mod">
          <ac:chgData name="Aniket Chhabra" userId="598e0514-bef3-4e71-b6aa-f2edd6441cff" providerId="ADAL" clId="{935EF258-ACF9-4C40-8F27-4828ABBE04AA}" dt="2023-01-28T04:56:11.863" v="358"/>
          <ac:grpSpMkLst>
            <pc:docMk/>
            <pc:sldMk cId="1370836176" sldId="285"/>
            <ac:grpSpMk id="317" creationId="{508DF387-A958-FC53-361F-C9EEFE5FA44A}"/>
          </ac:grpSpMkLst>
        </pc:grpChg>
        <pc:inkChg chg="add">
          <ac:chgData name="Aniket Chhabra" userId="598e0514-bef3-4e71-b6aa-f2edd6441cff" providerId="ADAL" clId="{935EF258-ACF9-4C40-8F27-4828ABBE04AA}" dt="2023-01-28T04:52:47.331" v="214" actId="9405"/>
          <ac:inkMkLst>
            <pc:docMk/>
            <pc:sldMk cId="1370836176" sldId="285"/>
            <ac:inkMk id="7" creationId="{73D28C4A-73E6-E920-CA57-50D6BB39B14C}"/>
          </ac:inkMkLst>
        </pc:inkChg>
        <pc:inkChg chg="add">
          <ac:chgData name="Aniket Chhabra" userId="598e0514-bef3-4e71-b6aa-f2edd6441cff" providerId="ADAL" clId="{935EF258-ACF9-4C40-8F27-4828ABBE04AA}" dt="2023-01-28T04:52:48.460" v="215" actId="9405"/>
          <ac:inkMkLst>
            <pc:docMk/>
            <pc:sldMk cId="1370836176" sldId="285"/>
            <ac:inkMk id="47" creationId="{96303B9F-0DD6-7C75-D939-8DDA64A8FA12}"/>
          </ac:inkMkLst>
        </pc:inkChg>
        <pc:inkChg chg="add">
          <ac:chgData name="Aniket Chhabra" userId="598e0514-bef3-4e71-b6aa-f2edd6441cff" providerId="ADAL" clId="{935EF258-ACF9-4C40-8F27-4828ABBE04AA}" dt="2023-01-28T04:53:00.661" v="216" actId="9405"/>
          <ac:inkMkLst>
            <pc:docMk/>
            <pc:sldMk cId="1370836176" sldId="285"/>
            <ac:inkMk id="48" creationId="{C6F1995E-4A83-4F34-59C7-439649E1AD4D}"/>
          </ac:inkMkLst>
        </pc:inkChg>
        <pc:inkChg chg="add mod">
          <ac:chgData name="Aniket Chhabra" userId="598e0514-bef3-4e71-b6aa-f2edd6441cff" providerId="ADAL" clId="{935EF258-ACF9-4C40-8F27-4828ABBE04AA}" dt="2023-01-28T04:53:08.392" v="222"/>
          <ac:inkMkLst>
            <pc:docMk/>
            <pc:sldMk cId="1370836176" sldId="285"/>
            <ac:inkMk id="49" creationId="{EBA4056D-AE99-5041-E758-2C8B10DADF09}"/>
          </ac:inkMkLst>
        </pc:inkChg>
        <pc:inkChg chg="add mod">
          <ac:chgData name="Aniket Chhabra" userId="598e0514-bef3-4e71-b6aa-f2edd6441cff" providerId="ADAL" clId="{935EF258-ACF9-4C40-8F27-4828ABBE04AA}" dt="2023-01-28T04:53:08.392" v="222"/>
          <ac:inkMkLst>
            <pc:docMk/>
            <pc:sldMk cId="1370836176" sldId="285"/>
            <ac:inkMk id="50" creationId="{AF232ACD-C4A0-DBB7-1E07-8D86B349665F}"/>
          </ac:inkMkLst>
        </pc:inkChg>
        <pc:inkChg chg="add mod">
          <ac:chgData name="Aniket Chhabra" userId="598e0514-bef3-4e71-b6aa-f2edd6441cff" providerId="ADAL" clId="{935EF258-ACF9-4C40-8F27-4828ABBE04AA}" dt="2023-01-28T04:53:08.392" v="222"/>
          <ac:inkMkLst>
            <pc:docMk/>
            <pc:sldMk cId="1370836176" sldId="285"/>
            <ac:inkMk id="52" creationId="{7F82CA5A-02D1-536B-C269-C944E23F14DF}"/>
          </ac:inkMkLst>
        </pc:inkChg>
        <pc:inkChg chg="add mod">
          <ac:chgData name="Aniket Chhabra" userId="598e0514-bef3-4e71-b6aa-f2edd6441cff" providerId="ADAL" clId="{935EF258-ACF9-4C40-8F27-4828ABBE04AA}" dt="2023-01-28T04:53:08.392" v="222"/>
          <ac:inkMkLst>
            <pc:docMk/>
            <pc:sldMk cId="1370836176" sldId="285"/>
            <ac:inkMk id="53" creationId="{4FA8BA76-FDBB-C23F-0F71-B425DCC9D33E}"/>
          </ac:inkMkLst>
        </pc:inkChg>
        <pc:inkChg chg="add mod">
          <ac:chgData name="Aniket Chhabra" userId="598e0514-bef3-4e71-b6aa-f2edd6441cff" providerId="ADAL" clId="{935EF258-ACF9-4C40-8F27-4828ABBE04AA}" dt="2023-01-28T04:56:08.877" v="350"/>
          <ac:inkMkLst>
            <pc:docMk/>
            <pc:sldMk cId="1370836176" sldId="285"/>
            <ac:inkMk id="55" creationId="{00DCC924-CE42-1885-4CF3-CE8875494DFE}"/>
          </ac:inkMkLst>
        </pc:inkChg>
        <pc:inkChg chg="add mod">
          <ac:chgData name="Aniket Chhabra" userId="598e0514-bef3-4e71-b6aa-f2edd6441cff" providerId="ADAL" clId="{935EF258-ACF9-4C40-8F27-4828ABBE04AA}" dt="2023-01-28T04:56:08.877" v="350"/>
          <ac:inkMkLst>
            <pc:docMk/>
            <pc:sldMk cId="1370836176" sldId="285"/>
            <ac:inkMk id="56" creationId="{FF5CFBB7-79FB-B664-C6CC-C3F94522BC25}"/>
          </ac:inkMkLst>
        </pc:inkChg>
        <pc:inkChg chg="add mod">
          <ac:chgData name="Aniket Chhabra" userId="598e0514-bef3-4e71-b6aa-f2edd6441cff" providerId="ADAL" clId="{935EF258-ACF9-4C40-8F27-4828ABBE04AA}" dt="2023-01-28T04:56:08.877" v="350"/>
          <ac:inkMkLst>
            <pc:docMk/>
            <pc:sldMk cId="1370836176" sldId="285"/>
            <ac:inkMk id="57" creationId="{15B04574-6EEA-4DEA-12C0-60016608F854}"/>
          </ac:inkMkLst>
        </pc:inkChg>
        <pc:inkChg chg="add mod">
          <ac:chgData name="Aniket Chhabra" userId="598e0514-bef3-4e71-b6aa-f2edd6441cff" providerId="ADAL" clId="{935EF258-ACF9-4C40-8F27-4828ABBE04AA}" dt="2023-01-28T04:56:08.877" v="350"/>
          <ac:inkMkLst>
            <pc:docMk/>
            <pc:sldMk cId="1370836176" sldId="285"/>
            <ac:inkMk id="58" creationId="{B281F73C-3A25-06DA-DCCA-CA1FEBB24E57}"/>
          </ac:inkMkLst>
        </pc:inkChg>
        <pc:inkChg chg="add">
          <ac:chgData name="Aniket Chhabra" userId="598e0514-bef3-4e71-b6aa-f2edd6441cff" providerId="ADAL" clId="{935EF258-ACF9-4C40-8F27-4828ABBE04AA}" dt="2023-01-28T04:53:26.337" v="229" actId="9405"/>
          <ac:inkMkLst>
            <pc:docMk/>
            <pc:sldMk cId="1370836176" sldId="285"/>
            <ac:inkMk id="62" creationId="{5A73AFE3-4D88-E9A0-C769-149FB21562BE}"/>
          </ac:inkMkLst>
        </pc:inkChg>
        <pc:inkChg chg="add mod">
          <ac:chgData name="Aniket Chhabra" userId="598e0514-bef3-4e71-b6aa-f2edd6441cff" providerId="ADAL" clId="{935EF258-ACF9-4C40-8F27-4828ABBE04AA}" dt="2023-01-28T04:56:08.877" v="350"/>
          <ac:inkMkLst>
            <pc:docMk/>
            <pc:sldMk cId="1370836176" sldId="285"/>
            <ac:inkMk id="63" creationId="{7BAAAFE9-3467-EF11-DB0C-5F3483C9F473}"/>
          </ac:inkMkLst>
        </pc:inkChg>
        <pc:inkChg chg="add mod">
          <ac:chgData name="Aniket Chhabra" userId="598e0514-bef3-4e71-b6aa-f2edd6441cff" providerId="ADAL" clId="{935EF258-ACF9-4C40-8F27-4828ABBE04AA}" dt="2023-01-28T04:56:08.877" v="350"/>
          <ac:inkMkLst>
            <pc:docMk/>
            <pc:sldMk cId="1370836176" sldId="285"/>
            <ac:inkMk id="64" creationId="{BE12BF29-7B61-0984-A78F-CBF839B2584D}"/>
          </ac:inkMkLst>
        </pc:inkChg>
        <pc:inkChg chg="add mod">
          <ac:chgData name="Aniket Chhabra" userId="598e0514-bef3-4e71-b6aa-f2edd6441cff" providerId="ADAL" clId="{935EF258-ACF9-4C40-8F27-4828ABBE04AA}" dt="2023-01-28T04:56:08.877" v="350"/>
          <ac:inkMkLst>
            <pc:docMk/>
            <pc:sldMk cId="1370836176" sldId="285"/>
            <ac:inkMk id="66" creationId="{D34D22C1-07BE-BE51-7EDC-7CE7043E38BB}"/>
          </ac:inkMkLst>
        </pc:inkChg>
        <pc:inkChg chg="add">
          <ac:chgData name="Aniket Chhabra" userId="598e0514-bef3-4e71-b6aa-f2edd6441cff" providerId="ADAL" clId="{935EF258-ACF9-4C40-8F27-4828ABBE04AA}" dt="2023-01-28T04:53:52.908" v="234" actId="9405"/>
          <ac:inkMkLst>
            <pc:docMk/>
            <pc:sldMk cId="1370836176" sldId="285"/>
            <ac:inkMk id="67" creationId="{576C8253-6A0D-D6C1-4652-95247AEDE3AF}"/>
          </ac:inkMkLst>
        </pc:inkChg>
        <pc:inkChg chg="add mod">
          <ac:chgData name="Aniket Chhabra" userId="598e0514-bef3-4e71-b6aa-f2edd6441cff" providerId="ADAL" clId="{935EF258-ACF9-4C40-8F27-4828ABBE04AA}" dt="2023-01-28T04:56:08.877" v="350"/>
          <ac:inkMkLst>
            <pc:docMk/>
            <pc:sldMk cId="1370836176" sldId="285"/>
            <ac:inkMk id="68" creationId="{4099660E-B0AD-31E6-882F-3108B7E785B6}"/>
          </ac:inkMkLst>
        </pc:inkChg>
        <pc:inkChg chg="add mod">
          <ac:chgData name="Aniket Chhabra" userId="598e0514-bef3-4e71-b6aa-f2edd6441cff" providerId="ADAL" clId="{935EF258-ACF9-4C40-8F27-4828ABBE04AA}" dt="2023-01-28T04:56:08.877" v="350"/>
          <ac:inkMkLst>
            <pc:docMk/>
            <pc:sldMk cId="1370836176" sldId="285"/>
            <ac:inkMk id="69" creationId="{D1C85C29-596F-27B3-BC45-1F2B4084E6FC}"/>
          </ac:inkMkLst>
        </pc:inkChg>
        <pc:inkChg chg="add mod">
          <ac:chgData name="Aniket Chhabra" userId="598e0514-bef3-4e71-b6aa-f2edd6441cff" providerId="ADAL" clId="{935EF258-ACF9-4C40-8F27-4828ABBE04AA}" dt="2023-01-28T04:55:27.330" v="310"/>
          <ac:inkMkLst>
            <pc:docMk/>
            <pc:sldMk cId="1370836176" sldId="285"/>
            <ac:inkMk id="70" creationId="{97608600-E3B8-F44C-FF7B-4995FF893D1A}"/>
          </ac:inkMkLst>
        </pc:inkChg>
        <pc:inkChg chg="add mod">
          <ac:chgData name="Aniket Chhabra" userId="598e0514-bef3-4e71-b6aa-f2edd6441cff" providerId="ADAL" clId="{935EF258-ACF9-4C40-8F27-4828ABBE04AA}" dt="2023-01-28T04:54:39.939" v="279"/>
          <ac:inkMkLst>
            <pc:docMk/>
            <pc:sldMk cId="1370836176" sldId="285"/>
            <ac:inkMk id="72" creationId="{F5C92EC5-A6EC-ADE1-4ADF-FCCC65C65302}"/>
          </ac:inkMkLst>
        </pc:inkChg>
        <pc:inkChg chg="add mod">
          <ac:chgData name="Aniket Chhabra" userId="598e0514-bef3-4e71-b6aa-f2edd6441cff" providerId="ADAL" clId="{935EF258-ACF9-4C40-8F27-4828ABBE04AA}" dt="2023-01-28T04:54:39.939" v="279"/>
          <ac:inkMkLst>
            <pc:docMk/>
            <pc:sldMk cId="1370836176" sldId="285"/>
            <ac:inkMk id="73" creationId="{09AC27F8-8306-812D-0237-58C629A83D24}"/>
          </ac:inkMkLst>
        </pc:inkChg>
        <pc:inkChg chg="add mod">
          <ac:chgData name="Aniket Chhabra" userId="598e0514-bef3-4e71-b6aa-f2edd6441cff" providerId="ADAL" clId="{935EF258-ACF9-4C40-8F27-4828ABBE04AA}" dt="2023-01-28T04:54:39.939" v="279"/>
          <ac:inkMkLst>
            <pc:docMk/>
            <pc:sldMk cId="1370836176" sldId="285"/>
            <ac:inkMk id="74" creationId="{93C627C5-8DF3-590E-4EF9-F1BE94E307DD}"/>
          </ac:inkMkLst>
        </pc:inkChg>
        <pc:inkChg chg="add mod">
          <ac:chgData name="Aniket Chhabra" userId="598e0514-bef3-4e71-b6aa-f2edd6441cff" providerId="ADAL" clId="{935EF258-ACF9-4C40-8F27-4828ABBE04AA}" dt="2023-01-28T04:54:39.939" v="279"/>
          <ac:inkMkLst>
            <pc:docMk/>
            <pc:sldMk cId="1370836176" sldId="285"/>
            <ac:inkMk id="75" creationId="{7D2739D6-E752-D5EC-3F54-DC8720146886}"/>
          </ac:inkMkLst>
        </pc:inkChg>
        <pc:inkChg chg="add mod">
          <ac:chgData name="Aniket Chhabra" userId="598e0514-bef3-4e71-b6aa-f2edd6441cff" providerId="ADAL" clId="{935EF258-ACF9-4C40-8F27-4828ABBE04AA}" dt="2023-01-28T04:54:39.939" v="279"/>
          <ac:inkMkLst>
            <pc:docMk/>
            <pc:sldMk cId="1370836176" sldId="285"/>
            <ac:inkMk id="76" creationId="{4AE0DC5D-B257-8C6D-E233-3E5FDE400D16}"/>
          </ac:inkMkLst>
        </pc:inkChg>
        <pc:inkChg chg="add mod">
          <ac:chgData name="Aniket Chhabra" userId="598e0514-bef3-4e71-b6aa-f2edd6441cff" providerId="ADAL" clId="{935EF258-ACF9-4C40-8F27-4828ABBE04AA}" dt="2023-01-28T04:54:39.939" v="279"/>
          <ac:inkMkLst>
            <pc:docMk/>
            <pc:sldMk cId="1370836176" sldId="285"/>
            <ac:inkMk id="77" creationId="{9BE8DD63-E414-CE03-58A5-0827B8ED05C2}"/>
          </ac:inkMkLst>
        </pc:inkChg>
        <pc:inkChg chg="add mod">
          <ac:chgData name="Aniket Chhabra" userId="598e0514-bef3-4e71-b6aa-f2edd6441cff" providerId="ADAL" clId="{935EF258-ACF9-4C40-8F27-4828ABBE04AA}" dt="2023-01-28T04:54:39.939" v="279"/>
          <ac:inkMkLst>
            <pc:docMk/>
            <pc:sldMk cId="1370836176" sldId="285"/>
            <ac:inkMk id="78" creationId="{C5C1F7FD-D7C9-B964-BE7D-966FDDD49010}"/>
          </ac:inkMkLst>
        </pc:inkChg>
        <pc:inkChg chg="add mod">
          <ac:chgData name="Aniket Chhabra" userId="598e0514-bef3-4e71-b6aa-f2edd6441cff" providerId="ADAL" clId="{935EF258-ACF9-4C40-8F27-4828ABBE04AA}" dt="2023-01-28T04:54:39.939" v="279"/>
          <ac:inkMkLst>
            <pc:docMk/>
            <pc:sldMk cId="1370836176" sldId="285"/>
            <ac:inkMk id="79" creationId="{993C2A37-F2BE-6D97-D119-F830BB2A743C}"/>
          </ac:inkMkLst>
        </pc:inkChg>
        <pc:inkChg chg="add mod">
          <ac:chgData name="Aniket Chhabra" userId="598e0514-bef3-4e71-b6aa-f2edd6441cff" providerId="ADAL" clId="{935EF258-ACF9-4C40-8F27-4828ABBE04AA}" dt="2023-01-28T04:54:39.939" v="279"/>
          <ac:inkMkLst>
            <pc:docMk/>
            <pc:sldMk cId="1370836176" sldId="285"/>
            <ac:inkMk id="80" creationId="{E1DBAC8A-D0AF-22FC-9DEB-3068B97D2DDB}"/>
          </ac:inkMkLst>
        </pc:inkChg>
        <pc:inkChg chg="add mod">
          <ac:chgData name="Aniket Chhabra" userId="598e0514-bef3-4e71-b6aa-f2edd6441cff" providerId="ADAL" clId="{935EF258-ACF9-4C40-8F27-4828ABBE04AA}" dt="2023-01-28T04:54:39.939" v="279"/>
          <ac:inkMkLst>
            <pc:docMk/>
            <pc:sldMk cId="1370836176" sldId="285"/>
            <ac:inkMk id="82" creationId="{E81D8C72-5701-618D-9E6D-E7F5A365355F}"/>
          </ac:inkMkLst>
        </pc:inkChg>
        <pc:inkChg chg="add mod">
          <ac:chgData name="Aniket Chhabra" userId="598e0514-bef3-4e71-b6aa-f2edd6441cff" providerId="ADAL" clId="{935EF258-ACF9-4C40-8F27-4828ABBE04AA}" dt="2023-01-28T04:54:39.939" v="279"/>
          <ac:inkMkLst>
            <pc:docMk/>
            <pc:sldMk cId="1370836176" sldId="285"/>
            <ac:inkMk id="83" creationId="{C7B1ED15-9FB7-4701-1E38-6F13D767EFCB}"/>
          </ac:inkMkLst>
        </pc:inkChg>
        <pc:inkChg chg="add mod">
          <ac:chgData name="Aniket Chhabra" userId="598e0514-bef3-4e71-b6aa-f2edd6441cff" providerId="ADAL" clId="{935EF258-ACF9-4C40-8F27-4828ABBE04AA}" dt="2023-01-28T04:54:39.939" v="279"/>
          <ac:inkMkLst>
            <pc:docMk/>
            <pc:sldMk cId="1370836176" sldId="285"/>
            <ac:inkMk id="85" creationId="{57C027C1-CDD1-C885-CBD9-E46935127B67}"/>
          </ac:inkMkLst>
        </pc:inkChg>
        <pc:inkChg chg="add mod">
          <ac:chgData name="Aniket Chhabra" userId="598e0514-bef3-4e71-b6aa-f2edd6441cff" providerId="ADAL" clId="{935EF258-ACF9-4C40-8F27-4828ABBE04AA}" dt="2023-01-28T04:54:39.939" v="279"/>
          <ac:inkMkLst>
            <pc:docMk/>
            <pc:sldMk cId="1370836176" sldId="285"/>
            <ac:inkMk id="86" creationId="{5CA10F37-7E50-6B95-5CBF-B830B97D97BF}"/>
          </ac:inkMkLst>
        </pc:inkChg>
        <pc:inkChg chg="add mod">
          <ac:chgData name="Aniket Chhabra" userId="598e0514-bef3-4e71-b6aa-f2edd6441cff" providerId="ADAL" clId="{935EF258-ACF9-4C40-8F27-4828ABBE04AA}" dt="2023-01-28T04:54:39.939" v="279"/>
          <ac:inkMkLst>
            <pc:docMk/>
            <pc:sldMk cId="1370836176" sldId="285"/>
            <ac:inkMk id="87" creationId="{6E2F7CBB-E5BD-3516-3B5F-DDCF7A84E9C7}"/>
          </ac:inkMkLst>
        </pc:inkChg>
        <pc:inkChg chg="add mod">
          <ac:chgData name="Aniket Chhabra" userId="598e0514-bef3-4e71-b6aa-f2edd6441cff" providerId="ADAL" clId="{935EF258-ACF9-4C40-8F27-4828ABBE04AA}" dt="2023-01-28T04:54:39.939" v="279"/>
          <ac:inkMkLst>
            <pc:docMk/>
            <pc:sldMk cId="1370836176" sldId="285"/>
            <ac:inkMk id="108" creationId="{51987E53-777A-8077-C6DE-B184F056D2B6}"/>
          </ac:inkMkLst>
        </pc:inkChg>
        <pc:inkChg chg="add mod">
          <ac:chgData name="Aniket Chhabra" userId="598e0514-bef3-4e71-b6aa-f2edd6441cff" providerId="ADAL" clId="{935EF258-ACF9-4C40-8F27-4828ABBE04AA}" dt="2023-01-28T04:54:39.939" v="279"/>
          <ac:inkMkLst>
            <pc:docMk/>
            <pc:sldMk cId="1370836176" sldId="285"/>
            <ac:inkMk id="109" creationId="{FC9E254A-835A-AAC0-B63A-67855DC40C62}"/>
          </ac:inkMkLst>
        </pc:inkChg>
        <pc:inkChg chg="add mod">
          <ac:chgData name="Aniket Chhabra" userId="598e0514-bef3-4e71-b6aa-f2edd6441cff" providerId="ADAL" clId="{935EF258-ACF9-4C40-8F27-4828ABBE04AA}" dt="2023-01-28T04:54:39.939" v="279"/>
          <ac:inkMkLst>
            <pc:docMk/>
            <pc:sldMk cId="1370836176" sldId="285"/>
            <ac:inkMk id="110" creationId="{25AC0F25-DC5F-8151-DE00-89088B083A62}"/>
          </ac:inkMkLst>
        </pc:inkChg>
        <pc:inkChg chg="add mod">
          <ac:chgData name="Aniket Chhabra" userId="598e0514-bef3-4e71-b6aa-f2edd6441cff" providerId="ADAL" clId="{935EF258-ACF9-4C40-8F27-4828ABBE04AA}" dt="2023-01-28T04:56:08.877" v="350"/>
          <ac:inkMkLst>
            <pc:docMk/>
            <pc:sldMk cId="1370836176" sldId="285"/>
            <ac:inkMk id="112" creationId="{87D7DBD9-243F-036A-C15E-36CF1D202732}"/>
          </ac:inkMkLst>
        </pc:inkChg>
        <pc:inkChg chg="add mod">
          <ac:chgData name="Aniket Chhabra" userId="598e0514-bef3-4e71-b6aa-f2edd6441cff" providerId="ADAL" clId="{935EF258-ACF9-4C40-8F27-4828ABBE04AA}" dt="2023-01-28T04:56:08.877" v="350"/>
          <ac:inkMkLst>
            <pc:docMk/>
            <pc:sldMk cId="1370836176" sldId="285"/>
            <ac:inkMk id="113" creationId="{3C7C0FA6-959C-C2ED-F3DE-BC2EADF44936}"/>
          </ac:inkMkLst>
        </pc:inkChg>
        <pc:inkChg chg="add mod">
          <ac:chgData name="Aniket Chhabra" userId="598e0514-bef3-4e71-b6aa-f2edd6441cff" providerId="ADAL" clId="{935EF258-ACF9-4C40-8F27-4828ABBE04AA}" dt="2023-01-28T04:56:08.877" v="350"/>
          <ac:inkMkLst>
            <pc:docMk/>
            <pc:sldMk cId="1370836176" sldId="285"/>
            <ac:inkMk id="114" creationId="{FF6283A5-5AD8-82B3-0678-8366474127A8}"/>
          </ac:inkMkLst>
        </pc:inkChg>
        <pc:inkChg chg="add">
          <ac:chgData name="Aniket Chhabra" userId="598e0514-bef3-4e71-b6aa-f2edd6441cff" providerId="ADAL" clId="{935EF258-ACF9-4C40-8F27-4828ABBE04AA}" dt="2023-01-28T04:54:33.476" v="263" actId="9405"/>
          <ac:inkMkLst>
            <pc:docMk/>
            <pc:sldMk cId="1370836176" sldId="285"/>
            <ac:inkMk id="116" creationId="{25AFC2F3-7EA4-AF8A-0AC4-66F1B507187D}"/>
          </ac:inkMkLst>
        </pc:inkChg>
        <pc:inkChg chg="add mod">
          <ac:chgData name="Aniket Chhabra" userId="598e0514-bef3-4e71-b6aa-f2edd6441cff" providerId="ADAL" clId="{935EF258-ACF9-4C40-8F27-4828ABBE04AA}" dt="2023-01-28T04:54:39.939" v="279"/>
          <ac:inkMkLst>
            <pc:docMk/>
            <pc:sldMk cId="1370836176" sldId="285"/>
            <ac:inkMk id="117" creationId="{0F39AE19-8285-2299-F941-1AF976A833FA}"/>
          </ac:inkMkLst>
        </pc:inkChg>
        <pc:inkChg chg="add mod">
          <ac:chgData name="Aniket Chhabra" userId="598e0514-bef3-4e71-b6aa-f2edd6441cff" providerId="ADAL" clId="{935EF258-ACF9-4C40-8F27-4828ABBE04AA}" dt="2023-01-28T04:54:39.939" v="279"/>
          <ac:inkMkLst>
            <pc:docMk/>
            <pc:sldMk cId="1370836176" sldId="285"/>
            <ac:inkMk id="118" creationId="{FC687177-8CC8-5B0B-41C4-440D1E48F54C}"/>
          </ac:inkMkLst>
        </pc:inkChg>
        <pc:inkChg chg="add mod">
          <ac:chgData name="Aniket Chhabra" userId="598e0514-bef3-4e71-b6aa-f2edd6441cff" providerId="ADAL" clId="{935EF258-ACF9-4C40-8F27-4828ABBE04AA}" dt="2023-01-28T04:54:39.939" v="279"/>
          <ac:inkMkLst>
            <pc:docMk/>
            <pc:sldMk cId="1370836176" sldId="285"/>
            <ac:inkMk id="119" creationId="{D0531984-A8FD-79D1-713F-87ECCF32267E}"/>
          </ac:inkMkLst>
        </pc:inkChg>
        <pc:inkChg chg="add mod">
          <ac:chgData name="Aniket Chhabra" userId="598e0514-bef3-4e71-b6aa-f2edd6441cff" providerId="ADAL" clId="{935EF258-ACF9-4C40-8F27-4828ABBE04AA}" dt="2023-01-28T04:54:39.939" v="279"/>
          <ac:inkMkLst>
            <pc:docMk/>
            <pc:sldMk cId="1370836176" sldId="285"/>
            <ac:inkMk id="120" creationId="{9AE6AB82-B526-BB4A-BD08-6E0A08CA6351}"/>
          </ac:inkMkLst>
        </pc:inkChg>
        <pc:inkChg chg="add mod">
          <ac:chgData name="Aniket Chhabra" userId="598e0514-bef3-4e71-b6aa-f2edd6441cff" providerId="ADAL" clId="{935EF258-ACF9-4C40-8F27-4828ABBE04AA}" dt="2023-01-28T04:54:39.939" v="279"/>
          <ac:inkMkLst>
            <pc:docMk/>
            <pc:sldMk cId="1370836176" sldId="285"/>
            <ac:inkMk id="121" creationId="{D06EB6C1-2891-DE59-9395-5E4E92A51B0C}"/>
          </ac:inkMkLst>
        </pc:inkChg>
        <pc:inkChg chg="add mod">
          <ac:chgData name="Aniket Chhabra" userId="598e0514-bef3-4e71-b6aa-f2edd6441cff" providerId="ADAL" clId="{935EF258-ACF9-4C40-8F27-4828ABBE04AA}" dt="2023-01-28T04:54:39.939" v="279"/>
          <ac:inkMkLst>
            <pc:docMk/>
            <pc:sldMk cId="1370836176" sldId="285"/>
            <ac:inkMk id="122" creationId="{4C69FFAE-BAA7-79A1-2831-46D9B407F09C}"/>
          </ac:inkMkLst>
        </pc:inkChg>
        <pc:inkChg chg="add mod">
          <ac:chgData name="Aniket Chhabra" userId="598e0514-bef3-4e71-b6aa-f2edd6441cff" providerId="ADAL" clId="{935EF258-ACF9-4C40-8F27-4828ABBE04AA}" dt="2023-01-28T04:54:39.939" v="279"/>
          <ac:inkMkLst>
            <pc:docMk/>
            <pc:sldMk cId="1370836176" sldId="285"/>
            <ac:inkMk id="123" creationId="{F20554D9-D04E-CC0F-63E3-524802BC88CB}"/>
          </ac:inkMkLst>
        </pc:inkChg>
        <pc:inkChg chg="add mod">
          <ac:chgData name="Aniket Chhabra" userId="598e0514-bef3-4e71-b6aa-f2edd6441cff" providerId="ADAL" clId="{935EF258-ACF9-4C40-8F27-4828ABBE04AA}" dt="2023-01-28T04:54:39.939" v="279"/>
          <ac:inkMkLst>
            <pc:docMk/>
            <pc:sldMk cId="1370836176" sldId="285"/>
            <ac:inkMk id="124" creationId="{32E30676-EE7A-B1CA-C93E-EC9C54FAEA35}"/>
          </ac:inkMkLst>
        </pc:inkChg>
        <pc:inkChg chg="add mod">
          <ac:chgData name="Aniket Chhabra" userId="598e0514-bef3-4e71-b6aa-f2edd6441cff" providerId="ADAL" clId="{935EF258-ACF9-4C40-8F27-4828ABBE04AA}" dt="2023-01-28T04:54:39.939" v="279"/>
          <ac:inkMkLst>
            <pc:docMk/>
            <pc:sldMk cId="1370836176" sldId="285"/>
            <ac:inkMk id="125" creationId="{3D5A3D02-54AC-47DF-8CC5-36FEF6874336}"/>
          </ac:inkMkLst>
        </pc:inkChg>
        <pc:inkChg chg="add mod">
          <ac:chgData name="Aniket Chhabra" userId="598e0514-bef3-4e71-b6aa-f2edd6441cff" providerId="ADAL" clId="{935EF258-ACF9-4C40-8F27-4828ABBE04AA}" dt="2023-01-28T04:54:39.939" v="279"/>
          <ac:inkMkLst>
            <pc:docMk/>
            <pc:sldMk cId="1370836176" sldId="285"/>
            <ac:inkMk id="126" creationId="{032FBD8C-E1F0-DF25-0C00-1B336B571038}"/>
          </ac:inkMkLst>
        </pc:inkChg>
        <pc:inkChg chg="add mod">
          <ac:chgData name="Aniket Chhabra" userId="598e0514-bef3-4e71-b6aa-f2edd6441cff" providerId="ADAL" clId="{935EF258-ACF9-4C40-8F27-4828ABBE04AA}" dt="2023-01-28T04:54:39.939" v="279"/>
          <ac:inkMkLst>
            <pc:docMk/>
            <pc:sldMk cId="1370836176" sldId="285"/>
            <ac:inkMk id="127" creationId="{68A75150-39AF-EC19-B865-EF036E7A3708}"/>
          </ac:inkMkLst>
        </pc:inkChg>
        <pc:inkChg chg="add mod">
          <ac:chgData name="Aniket Chhabra" userId="598e0514-bef3-4e71-b6aa-f2edd6441cff" providerId="ADAL" clId="{935EF258-ACF9-4C40-8F27-4828ABBE04AA}" dt="2023-01-28T04:54:39.939" v="279"/>
          <ac:inkMkLst>
            <pc:docMk/>
            <pc:sldMk cId="1370836176" sldId="285"/>
            <ac:inkMk id="128" creationId="{9651F764-5315-F326-ABB6-24009E5116EF}"/>
          </ac:inkMkLst>
        </pc:inkChg>
        <pc:inkChg chg="add mod">
          <ac:chgData name="Aniket Chhabra" userId="598e0514-bef3-4e71-b6aa-f2edd6441cff" providerId="ADAL" clId="{935EF258-ACF9-4C40-8F27-4828ABBE04AA}" dt="2023-01-28T04:54:39.939" v="279"/>
          <ac:inkMkLst>
            <pc:docMk/>
            <pc:sldMk cId="1370836176" sldId="285"/>
            <ac:inkMk id="129" creationId="{89D2CED0-8F4D-2297-3BA1-07B5E5DB604B}"/>
          </ac:inkMkLst>
        </pc:inkChg>
        <pc:inkChg chg="add mod">
          <ac:chgData name="Aniket Chhabra" userId="598e0514-bef3-4e71-b6aa-f2edd6441cff" providerId="ADAL" clId="{935EF258-ACF9-4C40-8F27-4828ABBE04AA}" dt="2023-01-28T04:54:39.939" v="279"/>
          <ac:inkMkLst>
            <pc:docMk/>
            <pc:sldMk cId="1370836176" sldId="285"/>
            <ac:inkMk id="130" creationId="{EECFD266-D916-9499-B25E-A0F4BAF112D3}"/>
          </ac:inkMkLst>
        </pc:inkChg>
        <pc:inkChg chg="add mod">
          <ac:chgData name="Aniket Chhabra" userId="598e0514-bef3-4e71-b6aa-f2edd6441cff" providerId="ADAL" clId="{935EF258-ACF9-4C40-8F27-4828ABBE04AA}" dt="2023-01-28T04:54:39.939" v="279"/>
          <ac:inkMkLst>
            <pc:docMk/>
            <pc:sldMk cId="1370836176" sldId="285"/>
            <ac:inkMk id="131" creationId="{861AA1A1-28EF-FD0E-6C6A-3D5F2B9ED8F2}"/>
          </ac:inkMkLst>
        </pc:inkChg>
        <pc:inkChg chg="add">
          <ac:chgData name="Aniket Chhabra" userId="598e0514-bef3-4e71-b6aa-f2edd6441cff" providerId="ADAL" clId="{935EF258-ACF9-4C40-8F27-4828ABBE04AA}" dt="2023-01-28T04:54:48.022" v="280" actId="9405"/>
          <ac:inkMkLst>
            <pc:docMk/>
            <pc:sldMk cId="1370836176" sldId="285"/>
            <ac:inkMk id="145" creationId="{93EDF87F-1EBF-7062-10A7-BEA995B403FF}"/>
          </ac:inkMkLst>
        </pc:inkChg>
        <pc:inkChg chg="add mod">
          <ac:chgData name="Aniket Chhabra" userId="598e0514-bef3-4e71-b6aa-f2edd6441cff" providerId="ADAL" clId="{935EF258-ACF9-4C40-8F27-4828ABBE04AA}" dt="2023-01-28T04:54:52.031" v="290"/>
          <ac:inkMkLst>
            <pc:docMk/>
            <pc:sldMk cId="1370836176" sldId="285"/>
            <ac:inkMk id="146" creationId="{3E066D01-83BF-22B9-2FF7-E0352CA400C0}"/>
          </ac:inkMkLst>
        </pc:inkChg>
        <pc:inkChg chg="add mod">
          <ac:chgData name="Aniket Chhabra" userId="598e0514-bef3-4e71-b6aa-f2edd6441cff" providerId="ADAL" clId="{935EF258-ACF9-4C40-8F27-4828ABBE04AA}" dt="2023-01-28T04:54:52.031" v="290"/>
          <ac:inkMkLst>
            <pc:docMk/>
            <pc:sldMk cId="1370836176" sldId="285"/>
            <ac:inkMk id="147" creationId="{55506BB4-5EC0-8638-FA94-539FCA73378E}"/>
          </ac:inkMkLst>
        </pc:inkChg>
        <pc:inkChg chg="add mod">
          <ac:chgData name="Aniket Chhabra" userId="598e0514-bef3-4e71-b6aa-f2edd6441cff" providerId="ADAL" clId="{935EF258-ACF9-4C40-8F27-4828ABBE04AA}" dt="2023-01-28T04:54:52.031" v="290"/>
          <ac:inkMkLst>
            <pc:docMk/>
            <pc:sldMk cId="1370836176" sldId="285"/>
            <ac:inkMk id="148" creationId="{92A8CA67-419B-BBC6-50EA-364125A862FA}"/>
          </ac:inkMkLst>
        </pc:inkChg>
        <pc:inkChg chg="add mod">
          <ac:chgData name="Aniket Chhabra" userId="598e0514-bef3-4e71-b6aa-f2edd6441cff" providerId="ADAL" clId="{935EF258-ACF9-4C40-8F27-4828ABBE04AA}" dt="2023-01-28T04:54:52.031" v="290"/>
          <ac:inkMkLst>
            <pc:docMk/>
            <pc:sldMk cId="1370836176" sldId="285"/>
            <ac:inkMk id="149" creationId="{1418A17A-1844-52DD-2589-FA537603DEDB}"/>
          </ac:inkMkLst>
        </pc:inkChg>
        <pc:inkChg chg="add mod">
          <ac:chgData name="Aniket Chhabra" userId="598e0514-bef3-4e71-b6aa-f2edd6441cff" providerId="ADAL" clId="{935EF258-ACF9-4C40-8F27-4828ABBE04AA}" dt="2023-01-28T04:54:52.031" v="290"/>
          <ac:inkMkLst>
            <pc:docMk/>
            <pc:sldMk cId="1370836176" sldId="285"/>
            <ac:inkMk id="180" creationId="{C06E726E-00BE-61F2-40C3-C68DD1271598}"/>
          </ac:inkMkLst>
        </pc:inkChg>
        <pc:inkChg chg="add mod">
          <ac:chgData name="Aniket Chhabra" userId="598e0514-bef3-4e71-b6aa-f2edd6441cff" providerId="ADAL" clId="{935EF258-ACF9-4C40-8F27-4828ABBE04AA}" dt="2023-01-28T04:54:52.031" v="290"/>
          <ac:inkMkLst>
            <pc:docMk/>
            <pc:sldMk cId="1370836176" sldId="285"/>
            <ac:inkMk id="190" creationId="{21A516FD-34F3-161A-2F4A-9328BFE690D2}"/>
          </ac:inkMkLst>
        </pc:inkChg>
        <pc:inkChg chg="add mod">
          <ac:chgData name="Aniket Chhabra" userId="598e0514-bef3-4e71-b6aa-f2edd6441cff" providerId="ADAL" clId="{935EF258-ACF9-4C40-8F27-4828ABBE04AA}" dt="2023-01-28T04:54:52.031" v="290"/>
          <ac:inkMkLst>
            <pc:docMk/>
            <pc:sldMk cId="1370836176" sldId="285"/>
            <ac:inkMk id="194" creationId="{6EF5F316-CB49-B2E1-DD1D-878BDE0AA934}"/>
          </ac:inkMkLst>
        </pc:inkChg>
        <pc:inkChg chg="add mod">
          <ac:chgData name="Aniket Chhabra" userId="598e0514-bef3-4e71-b6aa-f2edd6441cff" providerId="ADAL" clId="{935EF258-ACF9-4C40-8F27-4828ABBE04AA}" dt="2023-01-28T04:54:52.031" v="290"/>
          <ac:inkMkLst>
            <pc:docMk/>
            <pc:sldMk cId="1370836176" sldId="285"/>
            <ac:inkMk id="195" creationId="{A60003FF-55D5-F68B-9573-C7563AB47F22}"/>
          </ac:inkMkLst>
        </pc:inkChg>
        <pc:inkChg chg="add mod">
          <ac:chgData name="Aniket Chhabra" userId="598e0514-bef3-4e71-b6aa-f2edd6441cff" providerId="ADAL" clId="{935EF258-ACF9-4C40-8F27-4828ABBE04AA}" dt="2023-01-28T04:54:52.031" v="290"/>
          <ac:inkMkLst>
            <pc:docMk/>
            <pc:sldMk cId="1370836176" sldId="285"/>
            <ac:inkMk id="196" creationId="{45FE4C29-E4EA-7663-622D-62B3A42FE3BA}"/>
          </ac:inkMkLst>
        </pc:inkChg>
        <pc:inkChg chg="add">
          <ac:chgData name="Aniket Chhabra" userId="598e0514-bef3-4e71-b6aa-f2edd6441cff" providerId="ADAL" clId="{935EF258-ACF9-4C40-8F27-4828ABBE04AA}" dt="2023-01-28T04:54:53.151" v="291" actId="9405"/>
          <ac:inkMkLst>
            <pc:docMk/>
            <pc:sldMk cId="1370836176" sldId="285"/>
            <ac:inkMk id="204" creationId="{1CDCA895-734B-3DAE-6538-ECA85AE750F0}"/>
          </ac:inkMkLst>
        </pc:inkChg>
        <pc:inkChg chg="add">
          <ac:chgData name="Aniket Chhabra" userId="598e0514-bef3-4e71-b6aa-f2edd6441cff" providerId="ADAL" clId="{935EF258-ACF9-4C40-8F27-4828ABBE04AA}" dt="2023-01-28T04:55:02.106" v="292" actId="9405"/>
          <ac:inkMkLst>
            <pc:docMk/>
            <pc:sldMk cId="1370836176" sldId="285"/>
            <ac:inkMk id="205" creationId="{30392724-1CA5-C7B9-52B5-DD3CCB979C49}"/>
          </ac:inkMkLst>
        </pc:inkChg>
        <pc:inkChg chg="add mod">
          <ac:chgData name="Aniket Chhabra" userId="598e0514-bef3-4e71-b6aa-f2edd6441cff" providerId="ADAL" clId="{935EF258-ACF9-4C40-8F27-4828ABBE04AA}" dt="2023-01-28T04:56:08.877" v="350"/>
          <ac:inkMkLst>
            <pc:docMk/>
            <pc:sldMk cId="1370836176" sldId="285"/>
            <ac:inkMk id="206" creationId="{1288E6CE-172B-DAAE-7E52-224B46377BA9}"/>
          </ac:inkMkLst>
        </pc:inkChg>
        <pc:inkChg chg="add mod">
          <ac:chgData name="Aniket Chhabra" userId="598e0514-bef3-4e71-b6aa-f2edd6441cff" providerId="ADAL" clId="{935EF258-ACF9-4C40-8F27-4828ABBE04AA}" dt="2023-01-28T04:56:08.877" v="350"/>
          <ac:inkMkLst>
            <pc:docMk/>
            <pc:sldMk cId="1370836176" sldId="285"/>
            <ac:inkMk id="207" creationId="{BA4FAE18-8425-0B14-3215-4A8E0D378315}"/>
          </ac:inkMkLst>
        </pc:inkChg>
        <pc:inkChg chg="add mod">
          <ac:chgData name="Aniket Chhabra" userId="598e0514-bef3-4e71-b6aa-f2edd6441cff" providerId="ADAL" clId="{935EF258-ACF9-4C40-8F27-4828ABBE04AA}" dt="2023-01-28T04:55:14.211" v="298"/>
          <ac:inkMkLst>
            <pc:docMk/>
            <pc:sldMk cId="1370836176" sldId="285"/>
            <ac:inkMk id="209" creationId="{4659DDEF-AAEA-C841-36B6-F543D29C83CC}"/>
          </ac:inkMkLst>
        </pc:inkChg>
        <pc:inkChg chg="add mod">
          <ac:chgData name="Aniket Chhabra" userId="598e0514-bef3-4e71-b6aa-f2edd6441cff" providerId="ADAL" clId="{935EF258-ACF9-4C40-8F27-4828ABBE04AA}" dt="2023-01-28T04:55:14.211" v="298"/>
          <ac:inkMkLst>
            <pc:docMk/>
            <pc:sldMk cId="1370836176" sldId="285"/>
            <ac:inkMk id="210" creationId="{89032114-8362-3FD9-72E0-C47B8DDB8090}"/>
          </ac:inkMkLst>
        </pc:inkChg>
        <pc:inkChg chg="add mod">
          <ac:chgData name="Aniket Chhabra" userId="598e0514-bef3-4e71-b6aa-f2edd6441cff" providerId="ADAL" clId="{935EF258-ACF9-4C40-8F27-4828ABBE04AA}" dt="2023-01-28T04:56:08.877" v="350"/>
          <ac:inkMkLst>
            <pc:docMk/>
            <pc:sldMk cId="1370836176" sldId="285"/>
            <ac:inkMk id="212" creationId="{D01E1467-7062-39D0-97E2-D1A57ADA51B2}"/>
          </ac:inkMkLst>
        </pc:inkChg>
        <pc:inkChg chg="add mod">
          <ac:chgData name="Aniket Chhabra" userId="598e0514-bef3-4e71-b6aa-f2edd6441cff" providerId="ADAL" clId="{935EF258-ACF9-4C40-8F27-4828ABBE04AA}" dt="2023-01-28T04:56:08.877" v="350"/>
          <ac:inkMkLst>
            <pc:docMk/>
            <pc:sldMk cId="1370836176" sldId="285"/>
            <ac:inkMk id="213" creationId="{B174BC2C-2FBB-83E3-C3AB-7CCC5137EDA0}"/>
          </ac:inkMkLst>
        </pc:inkChg>
        <pc:inkChg chg="add mod">
          <ac:chgData name="Aniket Chhabra" userId="598e0514-bef3-4e71-b6aa-f2edd6441cff" providerId="ADAL" clId="{935EF258-ACF9-4C40-8F27-4828ABBE04AA}" dt="2023-01-28T04:56:08.877" v="350"/>
          <ac:inkMkLst>
            <pc:docMk/>
            <pc:sldMk cId="1370836176" sldId="285"/>
            <ac:inkMk id="215" creationId="{20368E5C-9B6F-19BC-19BA-3E9F7ABA1679}"/>
          </ac:inkMkLst>
        </pc:inkChg>
        <pc:inkChg chg="add mod">
          <ac:chgData name="Aniket Chhabra" userId="598e0514-bef3-4e71-b6aa-f2edd6441cff" providerId="ADAL" clId="{935EF258-ACF9-4C40-8F27-4828ABBE04AA}" dt="2023-01-28T04:56:08.877" v="350"/>
          <ac:inkMkLst>
            <pc:docMk/>
            <pc:sldMk cId="1370836176" sldId="285"/>
            <ac:inkMk id="229" creationId="{DF582D65-5FD2-09A2-5883-FD70E7A7E305}"/>
          </ac:inkMkLst>
        </pc:inkChg>
        <pc:inkChg chg="add mod">
          <ac:chgData name="Aniket Chhabra" userId="598e0514-bef3-4e71-b6aa-f2edd6441cff" providerId="ADAL" clId="{935EF258-ACF9-4C40-8F27-4828ABBE04AA}" dt="2023-01-28T04:56:08.877" v="350"/>
          <ac:inkMkLst>
            <pc:docMk/>
            <pc:sldMk cId="1370836176" sldId="285"/>
            <ac:inkMk id="261" creationId="{85F64087-0057-608C-078C-661E063B60FC}"/>
          </ac:inkMkLst>
        </pc:inkChg>
        <pc:inkChg chg="add mod">
          <ac:chgData name="Aniket Chhabra" userId="598e0514-bef3-4e71-b6aa-f2edd6441cff" providerId="ADAL" clId="{935EF258-ACF9-4C40-8F27-4828ABBE04AA}" dt="2023-01-28T04:56:08.877" v="350"/>
          <ac:inkMkLst>
            <pc:docMk/>
            <pc:sldMk cId="1370836176" sldId="285"/>
            <ac:inkMk id="262" creationId="{BF352455-DBC3-3B4E-FCC9-51D5D5D5158F}"/>
          </ac:inkMkLst>
        </pc:inkChg>
        <pc:inkChg chg="add mod">
          <ac:chgData name="Aniket Chhabra" userId="598e0514-bef3-4e71-b6aa-f2edd6441cff" providerId="ADAL" clId="{935EF258-ACF9-4C40-8F27-4828ABBE04AA}" dt="2023-01-28T04:56:08.877" v="350"/>
          <ac:inkMkLst>
            <pc:docMk/>
            <pc:sldMk cId="1370836176" sldId="285"/>
            <ac:inkMk id="263" creationId="{0533D112-04A3-C7DD-5649-38967AD9113A}"/>
          </ac:inkMkLst>
        </pc:inkChg>
        <pc:inkChg chg="add mod">
          <ac:chgData name="Aniket Chhabra" userId="598e0514-bef3-4e71-b6aa-f2edd6441cff" providerId="ADAL" clId="{935EF258-ACF9-4C40-8F27-4828ABBE04AA}" dt="2023-01-28T04:56:08.877" v="350"/>
          <ac:inkMkLst>
            <pc:docMk/>
            <pc:sldMk cId="1370836176" sldId="285"/>
            <ac:inkMk id="266" creationId="{320FBB49-FE3F-2AF0-F324-8836EB3B3D16}"/>
          </ac:inkMkLst>
        </pc:inkChg>
        <pc:inkChg chg="add mod">
          <ac:chgData name="Aniket Chhabra" userId="598e0514-bef3-4e71-b6aa-f2edd6441cff" providerId="ADAL" clId="{935EF258-ACF9-4C40-8F27-4828ABBE04AA}" dt="2023-01-28T04:56:08.877" v="350"/>
          <ac:inkMkLst>
            <pc:docMk/>
            <pc:sldMk cId="1370836176" sldId="285"/>
            <ac:inkMk id="268" creationId="{1A747B78-3215-B1E2-8294-0271EFF493C6}"/>
          </ac:inkMkLst>
        </pc:inkChg>
        <pc:inkChg chg="add mod">
          <ac:chgData name="Aniket Chhabra" userId="598e0514-bef3-4e71-b6aa-f2edd6441cff" providerId="ADAL" clId="{935EF258-ACF9-4C40-8F27-4828ABBE04AA}" dt="2023-01-28T04:56:08.877" v="350"/>
          <ac:inkMkLst>
            <pc:docMk/>
            <pc:sldMk cId="1370836176" sldId="285"/>
            <ac:inkMk id="269" creationId="{C29C18AC-CCD8-69EA-C78A-13D555E6F604}"/>
          </ac:inkMkLst>
        </pc:inkChg>
        <pc:inkChg chg="add mod">
          <ac:chgData name="Aniket Chhabra" userId="598e0514-bef3-4e71-b6aa-f2edd6441cff" providerId="ADAL" clId="{935EF258-ACF9-4C40-8F27-4828ABBE04AA}" dt="2023-01-28T04:56:08.877" v="350"/>
          <ac:inkMkLst>
            <pc:docMk/>
            <pc:sldMk cId="1370836176" sldId="285"/>
            <ac:inkMk id="270" creationId="{1EACF23B-7876-F04D-767F-9F9755C93B22}"/>
          </ac:inkMkLst>
        </pc:inkChg>
        <pc:inkChg chg="add mod">
          <ac:chgData name="Aniket Chhabra" userId="598e0514-bef3-4e71-b6aa-f2edd6441cff" providerId="ADAL" clId="{935EF258-ACF9-4C40-8F27-4828ABBE04AA}" dt="2023-01-28T04:56:08.877" v="350"/>
          <ac:inkMkLst>
            <pc:docMk/>
            <pc:sldMk cId="1370836176" sldId="285"/>
            <ac:inkMk id="271" creationId="{17B777BC-F8DC-F006-7315-1C97A543F8E9}"/>
          </ac:inkMkLst>
        </pc:inkChg>
        <pc:inkChg chg="add mod">
          <ac:chgData name="Aniket Chhabra" userId="598e0514-bef3-4e71-b6aa-f2edd6441cff" providerId="ADAL" clId="{935EF258-ACF9-4C40-8F27-4828ABBE04AA}" dt="2023-01-28T04:56:08.877" v="350"/>
          <ac:inkMkLst>
            <pc:docMk/>
            <pc:sldMk cId="1370836176" sldId="285"/>
            <ac:inkMk id="272" creationId="{5B791C7D-852D-E992-10B9-2F49C2CEDAA5}"/>
          </ac:inkMkLst>
        </pc:inkChg>
        <pc:inkChg chg="add mod">
          <ac:chgData name="Aniket Chhabra" userId="598e0514-bef3-4e71-b6aa-f2edd6441cff" providerId="ADAL" clId="{935EF258-ACF9-4C40-8F27-4828ABBE04AA}" dt="2023-01-28T04:56:08.877" v="350"/>
          <ac:inkMkLst>
            <pc:docMk/>
            <pc:sldMk cId="1370836176" sldId="285"/>
            <ac:inkMk id="274" creationId="{6F29A2BB-00AC-1663-DE75-18DABFE503C8}"/>
          </ac:inkMkLst>
        </pc:inkChg>
        <pc:inkChg chg="add mod">
          <ac:chgData name="Aniket Chhabra" userId="598e0514-bef3-4e71-b6aa-f2edd6441cff" providerId="ADAL" clId="{935EF258-ACF9-4C40-8F27-4828ABBE04AA}" dt="2023-01-28T04:55:45.494" v="347"/>
          <ac:inkMkLst>
            <pc:docMk/>
            <pc:sldMk cId="1370836176" sldId="285"/>
            <ac:inkMk id="276" creationId="{5AFEE1B5-FBBB-6ADB-988D-870E2B1FA2E7}"/>
          </ac:inkMkLst>
        </pc:inkChg>
        <pc:inkChg chg="add mod">
          <ac:chgData name="Aniket Chhabra" userId="598e0514-bef3-4e71-b6aa-f2edd6441cff" providerId="ADAL" clId="{935EF258-ACF9-4C40-8F27-4828ABBE04AA}" dt="2023-01-28T04:55:45.494" v="347"/>
          <ac:inkMkLst>
            <pc:docMk/>
            <pc:sldMk cId="1370836176" sldId="285"/>
            <ac:inkMk id="277" creationId="{935DBF08-F2B4-253E-F6AF-75B696A5862D}"/>
          </ac:inkMkLst>
        </pc:inkChg>
        <pc:inkChg chg="add mod">
          <ac:chgData name="Aniket Chhabra" userId="598e0514-bef3-4e71-b6aa-f2edd6441cff" providerId="ADAL" clId="{935EF258-ACF9-4C40-8F27-4828ABBE04AA}" dt="2023-01-28T04:55:45.494" v="347"/>
          <ac:inkMkLst>
            <pc:docMk/>
            <pc:sldMk cId="1370836176" sldId="285"/>
            <ac:inkMk id="278" creationId="{F13A71A2-6844-184E-9E68-7DE832E4958C}"/>
          </ac:inkMkLst>
        </pc:inkChg>
        <pc:inkChg chg="add mod">
          <ac:chgData name="Aniket Chhabra" userId="598e0514-bef3-4e71-b6aa-f2edd6441cff" providerId="ADAL" clId="{935EF258-ACF9-4C40-8F27-4828ABBE04AA}" dt="2023-01-28T04:55:45.494" v="347"/>
          <ac:inkMkLst>
            <pc:docMk/>
            <pc:sldMk cId="1370836176" sldId="285"/>
            <ac:inkMk id="279" creationId="{3A85F57C-433A-4FE5-8BEB-F8FD57DA3E30}"/>
          </ac:inkMkLst>
        </pc:inkChg>
        <pc:inkChg chg="add mod">
          <ac:chgData name="Aniket Chhabra" userId="598e0514-bef3-4e71-b6aa-f2edd6441cff" providerId="ADAL" clId="{935EF258-ACF9-4C40-8F27-4828ABBE04AA}" dt="2023-01-28T04:55:45.494" v="347"/>
          <ac:inkMkLst>
            <pc:docMk/>
            <pc:sldMk cId="1370836176" sldId="285"/>
            <ac:inkMk id="280" creationId="{43068261-F305-1264-1D65-B2BC400246AB}"/>
          </ac:inkMkLst>
        </pc:inkChg>
        <pc:inkChg chg="add mod">
          <ac:chgData name="Aniket Chhabra" userId="598e0514-bef3-4e71-b6aa-f2edd6441cff" providerId="ADAL" clId="{935EF258-ACF9-4C40-8F27-4828ABBE04AA}" dt="2023-01-28T04:55:45.494" v="347"/>
          <ac:inkMkLst>
            <pc:docMk/>
            <pc:sldMk cId="1370836176" sldId="285"/>
            <ac:inkMk id="281" creationId="{E4B073DB-DEEE-EF25-EE49-FA2B67C4DDE3}"/>
          </ac:inkMkLst>
        </pc:inkChg>
        <pc:inkChg chg="add mod">
          <ac:chgData name="Aniket Chhabra" userId="598e0514-bef3-4e71-b6aa-f2edd6441cff" providerId="ADAL" clId="{935EF258-ACF9-4C40-8F27-4828ABBE04AA}" dt="2023-01-28T04:55:45.494" v="347"/>
          <ac:inkMkLst>
            <pc:docMk/>
            <pc:sldMk cId="1370836176" sldId="285"/>
            <ac:inkMk id="282" creationId="{B577C2A8-8C3C-F56F-7A47-392126CE91DC}"/>
          </ac:inkMkLst>
        </pc:inkChg>
        <pc:inkChg chg="add mod">
          <ac:chgData name="Aniket Chhabra" userId="598e0514-bef3-4e71-b6aa-f2edd6441cff" providerId="ADAL" clId="{935EF258-ACF9-4C40-8F27-4828ABBE04AA}" dt="2023-01-28T04:55:45.494" v="347"/>
          <ac:inkMkLst>
            <pc:docMk/>
            <pc:sldMk cId="1370836176" sldId="285"/>
            <ac:inkMk id="283" creationId="{6C5D36FB-0019-78EE-C50C-6EC99A5F1287}"/>
          </ac:inkMkLst>
        </pc:inkChg>
        <pc:inkChg chg="add mod">
          <ac:chgData name="Aniket Chhabra" userId="598e0514-bef3-4e71-b6aa-f2edd6441cff" providerId="ADAL" clId="{935EF258-ACF9-4C40-8F27-4828ABBE04AA}" dt="2023-01-28T04:55:45.494" v="347"/>
          <ac:inkMkLst>
            <pc:docMk/>
            <pc:sldMk cId="1370836176" sldId="285"/>
            <ac:inkMk id="284" creationId="{7A8C534B-CAA2-B66F-6A26-59BBD0F3C783}"/>
          </ac:inkMkLst>
        </pc:inkChg>
        <pc:inkChg chg="add mod">
          <ac:chgData name="Aniket Chhabra" userId="598e0514-bef3-4e71-b6aa-f2edd6441cff" providerId="ADAL" clId="{935EF258-ACF9-4C40-8F27-4828ABBE04AA}" dt="2023-01-28T04:55:45.494" v="347"/>
          <ac:inkMkLst>
            <pc:docMk/>
            <pc:sldMk cId="1370836176" sldId="285"/>
            <ac:inkMk id="285" creationId="{61B4F582-542E-2A38-43BB-284C80D0761B}"/>
          </ac:inkMkLst>
        </pc:inkChg>
        <pc:inkChg chg="add mod">
          <ac:chgData name="Aniket Chhabra" userId="598e0514-bef3-4e71-b6aa-f2edd6441cff" providerId="ADAL" clId="{935EF258-ACF9-4C40-8F27-4828ABBE04AA}" dt="2023-01-28T04:55:45.494" v="347"/>
          <ac:inkMkLst>
            <pc:docMk/>
            <pc:sldMk cId="1370836176" sldId="285"/>
            <ac:inkMk id="286" creationId="{5D0B0DD0-A4C6-F13D-25F1-9CFEC683975C}"/>
          </ac:inkMkLst>
        </pc:inkChg>
        <pc:inkChg chg="add mod">
          <ac:chgData name="Aniket Chhabra" userId="598e0514-bef3-4e71-b6aa-f2edd6441cff" providerId="ADAL" clId="{935EF258-ACF9-4C40-8F27-4828ABBE04AA}" dt="2023-01-28T04:55:45.494" v="347"/>
          <ac:inkMkLst>
            <pc:docMk/>
            <pc:sldMk cId="1370836176" sldId="285"/>
            <ac:inkMk id="287" creationId="{D7F38E65-B3AD-3FA9-91CB-573847D09D80}"/>
          </ac:inkMkLst>
        </pc:inkChg>
        <pc:inkChg chg="add mod">
          <ac:chgData name="Aniket Chhabra" userId="598e0514-bef3-4e71-b6aa-f2edd6441cff" providerId="ADAL" clId="{935EF258-ACF9-4C40-8F27-4828ABBE04AA}" dt="2023-01-28T04:55:45.494" v="347"/>
          <ac:inkMkLst>
            <pc:docMk/>
            <pc:sldMk cId="1370836176" sldId="285"/>
            <ac:inkMk id="288" creationId="{46604080-6561-8F56-3AFE-540C142D17C8}"/>
          </ac:inkMkLst>
        </pc:inkChg>
        <pc:inkChg chg="add mod">
          <ac:chgData name="Aniket Chhabra" userId="598e0514-bef3-4e71-b6aa-f2edd6441cff" providerId="ADAL" clId="{935EF258-ACF9-4C40-8F27-4828ABBE04AA}" dt="2023-01-28T04:55:45.494" v="347"/>
          <ac:inkMkLst>
            <pc:docMk/>
            <pc:sldMk cId="1370836176" sldId="285"/>
            <ac:inkMk id="289" creationId="{2087B3F5-24A0-5739-3DF2-254218C2BBAC}"/>
          </ac:inkMkLst>
        </pc:inkChg>
        <pc:inkChg chg="add mod">
          <ac:chgData name="Aniket Chhabra" userId="598e0514-bef3-4e71-b6aa-f2edd6441cff" providerId="ADAL" clId="{935EF258-ACF9-4C40-8F27-4828ABBE04AA}" dt="2023-01-28T04:55:45.494" v="347"/>
          <ac:inkMkLst>
            <pc:docMk/>
            <pc:sldMk cId="1370836176" sldId="285"/>
            <ac:inkMk id="290" creationId="{C92DC971-7941-73E5-529A-395BA3B152D7}"/>
          </ac:inkMkLst>
        </pc:inkChg>
        <pc:inkChg chg="add mod">
          <ac:chgData name="Aniket Chhabra" userId="598e0514-bef3-4e71-b6aa-f2edd6441cff" providerId="ADAL" clId="{935EF258-ACF9-4C40-8F27-4828ABBE04AA}" dt="2023-01-28T04:55:45.494" v="347"/>
          <ac:inkMkLst>
            <pc:docMk/>
            <pc:sldMk cId="1370836176" sldId="285"/>
            <ac:inkMk id="291" creationId="{6DCA6849-68F5-A57D-4E99-B8BBC2DC62A9}"/>
          </ac:inkMkLst>
        </pc:inkChg>
        <pc:inkChg chg="add mod">
          <ac:chgData name="Aniket Chhabra" userId="598e0514-bef3-4e71-b6aa-f2edd6441cff" providerId="ADAL" clId="{935EF258-ACF9-4C40-8F27-4828ABBE04AA}" dt="2023-01-28T04:55:45.494" v="347"/>
          <ac:inkMkLst>
            <pc:docMk/>
            <pc:sldMk cId="1370836176" sldId="285"/>
            <ac:inkMk id="292" creationId="{7A2911F1-0CC8-149B-CED2-6D6C771D353A}"/>
          </ac:inkMkLst>
        </pc:inkChg>
        <pc:inkChg chg="add mod">
          <ac:chgData name="Aniket Chhabra" userId="598e0514-bef3-4e71-b6aa-f2edd6441cff" providerId="ADAL" clId="{935EF258-ACF9-4C40-8F27-4828ABBE04AA}" dt="2023-01-28T04:55:45.494" v="347"/>
          <ac:inkMkLst>
            <pc:docMk/>
            <pc:sldMk cId="1370836176" sldId="285"/>
            <ac:inkMk id="293" creationId="{049C28FF-5A8B-0989-18C7-D1D5C620E3D1}"/>
          </ac:inkMkLst>
        </pc:inkChg>
        <pc:inkChg chg="add mod">
          <ac:chgData name="Aniket Chhabra" userId="598e0514-bef3-4e71-b6aa-f2edd6441cff" providerId="ADAL" clId="{935EF258-ACF9-4C40-8F27-4828ABBE04AA}" dt="2023-01-28T04:55:45.494" v="347"/>
          <ac:inkMkLst>
            <pc:docMk/>
            <pc:sldMk cId="1370836176" sldId="285"/>
            <ac:inkMk id="294" creationId="{F9491660-74CF-020C-F415-D69E94D582D3}"/>
          </ac:inkMkLst>
        </pc:inkChg>
        <pc:inkChg chg="add mod">
          <ac:chgData name="Aniket Chhabra" userId="598e0514-bef3-4e71-b6aa-f2edd6441cff" providerId="ADAL" clId="{935EF258-ACF9-4C40-8F27-4828ABBE04AA}" dt="2023-01-28T04:55:45.494" v="347"/>
          <ac:inkMkLst>
            <pc:docMk/>
            <pc:sldMk cId="1370836176" sldId="285"/>
            <ac:inkMk id="295" creationId="{B47FDCB9-33E5-1257-FD75-17985FF5D50F}"/>
          </ac:inkMkLst>
        </pc:inkChg>
        <pc:inkChg chg="add mod">
          <ac:chgData name="Aniket Chhabra" userId="598e0514-bef3-4e71-b6aa-f2edd6441cff" providerId="ADAL" clId="{935EF258-ACF9-4C40-8F27-4828ABBE04AA}" dt="2023-01-28T04:55:45.494" v="347"/>
          <ac:inkMkLst>
            <pc:docMk/>
            <pc:sldMk cId="1370836176" sldId="285"/>
            <ac:inkMk id="296" creationId="{C9139CEE-39ED-7BF9-DC72-A6A2ECFB781B}"/>
          </ac:inkMkLst>
        </pc:inkChg>
        <pc:inkChg chg="add mod">
          <ac:chgData name="Aniket Chhabra" userId="598e0514-bef3-4e71-b6aa-f2edd6441cff" providerId="ADAL" clId="{935EF258-ACF9-4C40-8F27-4828ABBE04AA}" dt="2023-01-28T04:55:45.494" v="347"/>
          <ac:inkMkLst>
            <pc:docMk/>
            <pc:sldMk cId="1370836176" sldId="285"/>
            <ac:inkMk id="297" creationId="{01C61430-8789-D51B-B748-CC47D97ECE4E}"/>
          </ac:inkMkLst>
        </pc:inkChg>
        <pc:inkChg chg="add mod">
          <ac:chgData name="Aniket Chhabra" userId="598e0514-bef3-4e71-b6aa-f2edd6441cff" providerId="ADAL" clId="{935EF258-ACF9-4C40-8F27-4828ABBE04AA}" dt="2023-01-28T04:55:45.494" v="347"/>
          <ac:inkMkLst>
            <pc:docMk/>
            <pc:sldMk cId="1370836176" sldId="285"/>
            <ac:inkMk id="298" creationId="{91D873E8-3BDA-9017-7B8D-A9D9EA4917B1}"/>
          </ac:inkMkLst>
        </pc:inkChg>
        <pc:inkChg chg="add mod">
          <ac:chgData name="Aniket Chhabra" userId="598e0514-bef3-4e71-b6aa-f2edd6441cff" providerId="ADAL" clId="{935EF258-ACF9-4C40-8F27-4828ABBE04AA}" dt="2023-01-28T04:55:45.494" v="347"/>
          <ac:inkMkLst>
            <pc:docMk/>
            <pc:sldMk cId="1370836176" sldId="285"/>
            <ac:inkMk id="299" creationId="{F163D677-AE47-6167-A0A1-23CE862C5C56}"/>
          </ac:inkMkLst>
        </pc:inkChg>
        <pc:inkChg chg="add mod">
          <ac:chgData name="Aniket Chhabra" userId="598e0514-bef3-4e71-b6aa-f2edd6441cff" providerId="ADAL" clId="{935EF258-ACF9-4C40-8F27-4828ABBE04AA}" dt="2023-01-28T04:55:45.494" v="347"/>
          <ac:inkMkLst>
            <pc:docMk/>
            <pc:sldMk cId="1370836176" sldId="285"/>
            <ac:inkMk id="300" creationId="{AA6E0ECB-7323-42CC-1F71-FBAD26999EE7}"/>
          </ac:inkMkLst>
        </pc:inkChg>
        <pc:inkChg chg="add mod">
          <ac:chgData name="Aniket Chhabra" userId="598e0514-bef3-4e71-b6aa-f2edd6441cff" providerId="ADAL" clId="{935EF258-ACF9-4C40-8F27-4828ABBE04AA}" dt="2023-01-28T04:55:45.494" v="347"/>
          <ac:inkMkLst>
            <pc:docMk/>
            <pc:sldMk cId="1370836176" sldId="285"/>
            <ac:inkMk id="301" creationId="{2D258411-EAB0-8062-EDB2-FEDD686E0BEF}"/>
          </ac:inkMkLst>
        </pc:inkChg>
        <pc:inkChg chg="add mod">
          <ac:chgData name="Aniket Chhabra" userId="598e0514-bef3-4e71-b6aa-f2edd6441cff" providerId="ADAL" clId="{935EF258-ACF9-4C40-8F27-4828ABBE04AA}" dt="2023-01-28T04:55:45.494" v="347"/>
          <ac:inkMkLst>
            <pc:docMk/>
            <pc:sldMk cId="1370836176" sldId="285"/>
            <ac:inkMk id="302" creationId="{1B8A52CB-4D4F-9C54-32AA-BD5341094ED2}"/>
          </ac:inkMkLst>
        </pc:inkChg>
        <pc:inkChg chg="add mod">
          <ac:chgData name="Aniket Chhabra" userId="598e0514-bef3-4e71-b6aa-f2edd6441cff" providerId="ADAL" clId="{935EF258-ACF9-4C40-8F27-4828ABBE04AA}" dt="2023-01-28T04:55:45.494" v="347"/>
          <ac:inkMkLst>
            <pc:docMk/>
            <pc:sldMk cId="1370836176" sldId="285"/>
            <ac:inkMk id="303" creationId="{2AED4553-249B-0C96-BE67-C55F3FF69792}"/>
          </ac:inkMkLst>
        </pc:inkChg>
        <pc:inkChg chg="add mod">
          <ac:chgData name="Aniket Chhabra" userId="598e0514-bef3-4e71-b6aa-f2edd6441cff" providerId="ADAL" clId="{935EF258-ACF9-4C40-8F27-4828ABBE04AA}" dt="2023-01-28T04:56:08.877" v="350"/>
          <ac:inkMkLst>
            <pc:docMk/>
            <pc:sldMk cId="1370836176" sldId="285"/>
            <ac:inkMk id="307" creationId="{4007C435-106E-4CCC-B99A-13998F2802CC}"/>
          </ac:inkMkLst>
        </pc:inkChg>
        <pc:inkChg chg="add mod">
          <ac:chgData name="Aniket Chhabra" userId="598e0514-bef3-4e71-b6aa-f2edd6441cff" providerId="ADAL" clId="{935EF258-ACF9-4C40-8F27-4828ABBE04AA}" dt="2023-01-28T04:56:08.877" v="350"/>
          <ac:inkMkLst>
            <pc:docMk/>
            <pc:sldMk cId="1370836176" sldId="285"/>
            <ac:inkMk id="308" creationId="{AC8721BC-746F-AD5A-A2BE-E18C82D7CB96}"/>
          </ac:inkMkLst>
        </pc:inkChg>
        <pc:inkChg chg="add mod">
          <ac:chgData name="Aniket Chhabra" userId="598e0514-bef3-4e71-b6aa-f2edd6441cff" providerId="ADAL" clId="{935EF258-ACF9-4C40-8F27-4828ABBE04AA}" dt="2023-01-28T04:56:11.863" v="358"/>
          <ac:inkMkLst>
            <pc:docMk/>
            <pc:sldMk cId="1370836176" sldId="285"/>
            <ac:inkMk id="310" creationId="{4D6AEAD9-DF94-9672-7D4D-5DCA987AEF5C}"/>
          </ac:inkMkLst>
        </pc:inkChg>
        <pc:inkChg chg="add mod">
          <ac:chgData name="Aniket Chhabra" userId="598e0514-bef3-4e71-b6aa-f2edd6441cff" providerId="ADAL" clId="{935EF258-ACF9-4C40-8F27-4828ABBE04AA}" dt="2023-01-28T04:56:11.863" v="358"/>
          <ac:inkMkLst>
            <pc:docMk/>
            <pc:sldMk cId="1370836176" sldId="285"/>
            <ac:inkMk id="311" creationId="{5E9616AE-4F09-B66D-3400-48C0EE91122A}"/>
          </ac:inkMkLst>
        </pc:inkChg>
        <pc:inkChg chg="add mod">
          <ac:chgData name="Aniket Chhabra" userId="598e0514-bef3-4e71-b6aa-f2edd6441cff" providerId="ADAL" clId="{935EF258-ACF9-4C40-8F27-4828ABBE04AA}" dt="2023-01-28T04:56:11.863" v="358"/>
          <ac:inkMkLst>
            <pc:docMk/>
            <pc:sldMk cId="1370836176" sldId="285"/>
            <ac:inkMk id="312" creationId="{823ED8E7-19E8-E204-4860-CD969ACC0487}"/>
          </ac:inkMkLst>
        </pc:inkChg>
        <pc:inkChg chg="add mod">
          <ac:chgData name="Aniket Chhabra" userId="598e0514-bef3-4e71-b6aa-f2edd6441cff" providerId="ADAL" clId="{935EF258-ACF9-4C40-8F27-4828ABBE04AA}" dt="2023-01-28T04:56:11.863" v="358"/>
          <ac:inkMkLst>
            <pc:docMk/>
            <pc:sldMk cId="1370836176" sldId="285"/>
            <ac:inkMk id="313" creationId="{33A23979-20C7-88D6-615B-31DD159BCAA9}"/>
          </ac:inkMkLst>
        </pc:inkChg>
        <pc:inkChg chg="add mod">
          <ac:chgData name="Aniket Chhabra" userId="598e0514-bef3-4e71-b6aa-f2edd6441cff" providerId="ADAL" clId="{935EF258-ACF9-4C40-8F27-4828ABBE04AA}" dt="2023-01-28T04:56:11.863" v="358"/>
          <ac:inkMkLst>
            <pc:docMk/>
            <pc:sldMk cId="1370836176" sldId="285"/>
            <ac:inkMk id="314" creationId="{56A91EDA-785C-D6DA-B22D-373704218818}"/>
          </ac:inkMkLst>
        </pc:inkChg>
        <pc:inkChg chg="add mod">
          <ac:chgData name="Aniket Chhabra" userId="598e0514-bef3-4e71-b6aa-f2edd6441cff" providerId="ADAL" clId="{935EF258-ACF9-4C40-8F27-4828ABBE04AA}" dt="2023-01-28T04:56:11.863" v="358"/>
          <ac:inkMkLst>
            <pc:docMk/>
            <pc:sldMk cId="1370836176" sldId="285"/>
            <ac:inkMk id="315" creationId="{1B52FFBE-D579-9433-7D96-5B26B99D71C9}"/>
          </ac:inkMkLst>
        </pc:inkChg>
        <pc:inkChg chg="add mod">
          <ac:chgData name="Aniket Chhabra" userId="598e0514-bef3-4e71-b6aa-f2edd6441cff" providerId="ADAL" clId="{935EF258-ACF9-4C40-8F27-4828ABBE04AA}" dt="2023-01-28T04:56:11.863" v="358"/>
          <ac:inkMkLst>
            <pc:docMk/>
            <pc:sldMk cId="1370836176" sldId="285"/>
            <ac:inkMk id="316" creationId="{77D5B6C9-5810-A0EB-C7BD-A2A7E1F9598C}"/>
          </ac:inkMkLst>
        </pc:inkChg>
      </pc:sldChg>
      <pc:sldChg chg="addSp delSp modSp mod">
        <pc:chgData name="Aniket Chhabra" userId="598e0514-bef3-4e71-b6aa-f2edd6441cff" providerId="ADAL" clId="{935EF258-ACF9-4C40-8F27-4828ABBE04AA}" dt="2023-01-28T07:32:44.194" v="559" actId="478"/>
        <pc:sldMkLst>
          <pc:docMk/>
          <pc:sldMk cId="2691590533" sldId="286"/>
        </pc:sldMkLst>
        <pc:grpChg chg="del mod">
          <ac:chgData name="Aniket Chhabra" userId="598e0514-bef3-4e71-b6aa-f2edd6441cff" providerId="ADAL" clId="{935EF258-ACF9-4C40-8F27-4828ABBE04AA}" dt="2023-01-28T04:56:23.946" v="364"/>
          <ac:grpSpMkLst>
            <pc:docMk/>
            <pc:sldMk cId="2691590533" sldId="286"/>
            <ac:grpSpMk id="9" creationId="{CFF3F4A1-03FD-77DB-8A7F-8947631B44FF}"/>
          </ac:grpSpMkLst>
        </pc:grpChg>
        <pc:grpChg chg="del mod">
          <ac:chgData name="Aniket Chhabra" userId="598e0514-bef3-4e71-b6aa-f2edd6441cff" providerId="ADAL" clId="{935EF258-ACF9-4C40-8F27-4828ABBE04AA}" dt="2023-01-28T04:56:38.117" v="385"/>
          <ac:grpSpMkLst>
            <pc:docMk/>
            <pc:sldMk cId="2691590533" sldId="286"/>
            <ac:grpSpMk id="59" creationId="{C03FDF13-46A2-0B22-D93D-387655B453BC}"/>
          </ac:grpSpMkLst>
        </pc:grpChg>
        <pc:grpChg chg="del mod">
          <ac:chgData name="Aniket Chhabra" userId="598e0514-bef3-4e71-b6aa-f2edd6441cff" providerId="ADAL" clId="{935EF258-ACF9-4C40-8F27-4828ABBE04AA}" dt="2023-01-28T04:56:39.624" v="388"/>
          <ac:grpSpMkLst>
            <pc:docMk/>
            <pc:sldMk cId="2691590533" sldId="286"/>
            <ac:grpSpMk id="66" creationId="{93984CA3-9138-0CBA-2F7D-2EAB72904153}"/>
          </ac:grpSpMkLst>
        </pc:grpChg>
        <pc:grpChg chg="del mod">
          <ac:chgData name="Aniket Chhabra" userId="598e0514-bef3-4e71-b6aa-f2edd6441cff" providerId="ADAL" clId="{935EF258-ACF9-4C40-8F27-4828ABBE04AA}" dt="2023-01-28T04:56:51.893" v="396"/>
          <ac:grpSpMkLst>
            <pc:docMk/>
            <pc:sldMk cId="2691590533" sldId="286"/>
            <ac:grpSpMk id="69" creationId="{626B3A26-C267-B488-E7EB-2C2425EA20BC}"/>
          </ac:grpSpMkLst>
        </pc:grpChg>
        <pc:grpChg chg="del mod">
          <ac:chgData name="Aniket Chhabra" userId="598e0514-bef3-4e71-b6aa-f2edd6441cff" providerId="ADAL" clId="{935EF258-ACF9-4C40-8F27-4828ABBE04AA}" dt="2023-01-28T04:56:51.893" v="396"/>
          <ac:grpSpMkLst>
            <pc:docMk/>
            <pc:sldMk cId="2691590533" sldId="286"/>
            <ac:grpSpMk id="77" creationId="{A8818AB3-FB89-1041-D6C0-0CF907C21993}"/>
          </ac:grpSpMkLst>
        </pc:grpChg>
        <pc:grpChg chg="del mod">
          <ac:chgData name="Aniket Chhabra" userId="598e0514-bef3-4e71-b6aa-f2edd6441cff" providerId="ADAL" clId="{935EF258-ACF9-4C40-8F27-4828ABBE04AA}" dt="2023-01-28T04:56:55.883" v="406"/>
          <ac:grpSpMkLst>
            <pc:docMk/>
            <pc:sldMk cId="2691590533" sldId="286"/>
            <ac:grpSpMk id="78" creationId="{502BC3B7-2643-AEC4-670E-DE83F906EF34}"/>
          </ac:grpSpMkLst>
        </pc:grpChg>
        <pc:grpChg chg="del mod">
          <ac:chgData name="Aniket Chhabra" userId="598e0514-bef3-4e71-b6aa-f2edd6441cff" providerId="ADAL" clId="{935EF258-ACF9-4C40-8F27-4828ABBE04AA}" dt="2023-01-28T04:56:23.947" v="367"/>
          <ac:grpSpMkLst>
            <pc:docMk/>
            <pc:sldMk cId="2691590533" sldId="286"/>
            <ac:grpSpMk id="87" creationId="{A07531E0-7241-B335-B63D-57D7F32BAA83}"/>
          </ac:grpSpMkLst>
        </pc:grpChg>
        <pc:grpChg chg="del mod">
          <ac:chgData name="Aniket Chhabra" userId="598e0514-bef3-4e71-b6aa-f2edd6441cff" providerId="ADAL" clId="{935EF258-ACF9-4C40-8F27-4828ABBE04AA}" dt="2023-01-28T04:58:46.886" v="417"/>
          <ac:grpSpMkLst>
            <pc:docMk/>
            <pc:sldMk cId="2691590533" sldId="286"/>
            <ac:grpSpMk id="91" creationId="{0954520C-705E-F8B5-106A-BDADD4687FAA}"/>
          </ac:grpSpMkLst>
        </pc:grpChg>
        <pc:grpChg chg="del mod">
          <ac:chgData name="Aniket Chhabra" userId="598e0514-bef3-4e71-b6aa-f2edd6441cff" providerId="ADAL" clId="{935EF258-ACF9-4C40-8F27-4828ABBE04AA}" dt="2023-01-28T04:56:58.514" v="412"/>
          <ac:grpSpMkLst>
            <pc:docMk/>
            <pc:sldMk cId="2691590533" sldId="286"/>
            <ac:grpSpMk id="100" creationId="{C149624C-EEDF-C995-E1D7-C80858E050B7}"/>
          </ac:grpSpMkLst>
        </pc:grpChg>
        <pc:grpChg chg="del mod">
          <ac:chgData name="Aniket Chhabra" userId="598e0514-bef3-4e71-b6aa-f2edd6441cff" providerId="ADAL" clId="{935EF258-ACF9-4C40-8F27-4828ABBE04AA}" dt="2023-01-28T04:58:44.012" v="414"/>
          <ac:grpSpMkLst>
            <pc:docMk/>
            <pc:sldMk cId="2691590533" sldId="286"/>
            <ac:grpSpMk id="140" creationId="{56D80605-4CFE-299A-63CC-6D5FB589AE65}"/>
          </ac:grpSpMkLst>
        </pc:grpChg>
        <pc:grpChg chg="mod">
          <ac:chgData name="Aniket Chhabra" userId="598e0514-bef3-4e71-b6aa-f2edd6441cff" providerId="ADAL" clId="{935EF258-ACF9-4C40-8F27-4828ABBE04AA}" dt="2023-01-28T04:58:44.012" v="414"/>
          <ac:grpSpMkLst>
            <pc:docMk/>
            <pc:sldMk cId="2691590533" sldId="286"/>
            <ac:grpSpMk id="154" creationId="{6AED3BB5-7E56-900E-F6F1-87B0C58AB542}"/>
          </ac:grpSpMkLst>
        </pc:grpChg>
        <pc:grpChg chg="del mod">
          <ac:chgData name="Aniket Chhabra" userId="598e0514-bef3-4e71-b6aa-f2edd6441cff" providerId="ADAL" clId="{935EF258-ACF9-4C40-8F27-4828ABBE04AA}" dt="2023-01-28T07:32:44.194" v="559" actId="478"/>
          <ac:grpSpMkLst>
            <pc:docMk/>
            <pc:sldMk cId="2691590533" sldId="286"/>
            <ac:grpSpMk id="175" creationId="{7B2BC096-F06E-F107-1568-5F40BF2AED5E}"/>
          </ac:grpSpMkLst>
        </pc:grpChg>
        <pc:inkChg chg="del">
          <ac:chgData name="Aniket Chhabra" userId="598e0514-bef3-4e71-b6aa-f2edd6441cff" providerId="ADAL" clId="{935EF258-ACF9-4C40-8F27-4828ABBE04AA}" dt="2023-01-28T04:56:23.946" v="362"/>
          <ac:inkMkLst>
            <pc:docMk/>
            <pc:sldMk cId="2691590533" sldId="286"/>
            <ac:inkMk id="4" creationId="{4FEFE598-9D11-5AAA-A34B-A7E971F3A451}"/>
          </ac:inkMkLst>
        </pc:inkChg>
        <pc:inkChg chg="del mod">
          <ac:chgData name="Aniket Chhabra" userId="598e0514-bef3-4e71-b6aa-f2edd6441cff" providerId="ADAL" clId="{935EF258-ACF9-4C40-8F27-4828ABBE04AA}" dt="2023-01-28T04:56:23.946" v="364"/>
          <ac:inkMkLst>
            <pc:docMk/>
            <pc:sldMk cId="2691590533" sldId="286"/>
            <ac:inkMk id="5" creationId="{39F45764-93C6-6290-C55D-46DBC8AB6F94}"/>
          </ac:inkMkLst>
        </pc:inkChg>
        <pc:inkChg chg="del mod">
          <ac:chgData name="Aniket Chhabra" userId="598e0514-bef3-4e71-b6aa-f2edd6441cff" providerId="ADAL" clId="{935EF258-ACF9-4C40-8F27-4828ABBE04AA}" dt="2023-01-28T04:56:23.946" v="365"/>
          <ac:inkMkLst>
            <pc:docMk/>
            <pc:sldMk cId="2691590533" sldId="286"/>
            <ac:inkMk id="7" creationId="{085000D0-86D0-B330-2B72-5159691E249B}"/>
          </ac:inkMkLst>
        </pc:inkChg>
        <pc:inkChg chg="del">
          <ac:chgData name="Aniket Chhabra" userId="598e0514-bef3-4e71-b6aa-f2edd6441cff" providerId="ADAL" clId="{935EF258-ACF9-4C40-8F27-4828ABBE04AA}" dt="2023-01-28T04:56:24.791" v="368"/>
          <ac:inkMkLst>
            <pc:docMk/>
            <pc:sldMk cId="2691590533" sldId="286"/>
            <ac:inkMk id="8" creationId="{ED5807A6-02EF-F98F-AF0F-D95748C2D336}"/>
          </ac:inkMkLst>
        </pc:inkChg>
        <pc:inkChg chg="add mod">
          <ac:chgData name="Aniket Chhabra" userId="598e0514-bef3-4e71-b6aa-f2edd6441cff" providerId="ADAL" clId="{935EF258-ACF9-4C40-8F27-4828ABBE04AA}" dt="2023-01-28T04:58:44.012" v="414"/>
          <ac:inkMkLst>
            <pc:docMk/>
            <pc:sldMk cId="2691590533" sldId="286"/>
            <ac:inkMk id="13" creationId="{D1AA323C-A82D-9C22-4025-CE749E3EF6A9}"/>
          </ac:inkMkLst>
        </pc:inkChg>
        <pc:inkChg chg="del mod">
          <ac:chgData name="Aniket Chhabra" userId="598e0514-bef3-4e71-b6aa-f2edd6441cff" providerId="ADAL" clId="{935EF258-ACF9-4C40-8F27-4828ABBE04AA}" dt="2023-01-28T04:56:23.947" v="366"/>
          <ac:inkMkLst>
            <pc:docMk/>
            <pc:sldMk cId="2691590533" sldId="286"/>
            <ac:inkMk id="36" creationId="{7BF691DD-89BD-DF45-63A5-D5AE3EBFECF3}"/>
          </ac:inkMkLst>
        </pc:inkChg>
        <pc:inkChg chg="del">
          <ac:chgData name="Aniket Chhabra" userId="598e0514-bef3-4e71-b6aa-f2edd6441cff" providerId="ADAL" clId="{935EF258-ACF9-4C40-8F27-4828ABBE04AA}" dt="2023-01-28T04:56:21.197" v="359"/>
          <ac:inkMkLst>
            <pc:docMk/>
            <pc:sldMk cId="2691590533" sldId="286"/>
            <ac:inkMk id="37" creationId="{987BEDEA-A935-BDB9-A14B-D61A97C72536}"/>
          </ac:inkMkLst>
        </pc:inkChg>
        <pc:inkChg chg="add mod">
          <ac:chgData name="Aniket Chhabra" userId="598e0514-bef3-4e71-b6aa-f2edd6441cff" providerId="ADAL" clId="{935EF258-ACF9-4C40-8F27-4828ABBE04AA}" dt="2023-01-28T04:58:44.012" v="414"/>
          <ac:inkMkLst>
            <pc:docMk/>
            <pc:sldMk cId="2691590533" sldId="286"/>
            <ac:inkMk id="38" creationId="{A5825B79-CC08-C619-16EC-B8F4BB39F94B}"/>
          </ac:inkMkLst>
        </pc:inkChg>
        <pc:inkChg chg="del">
          <ac:chgData name="Aniket Chhabra" userId="598e0514-bef3-4e71-b6aa-f2edd6441cff" providerId="ADAL" clId="{935EF258-ACF9-4C40-8F27-4828ABBE04AA}" dt="2023-01-28T04:56:23.946" v="361"/>
          <ac:inkMkLst>
            <pc:docMk/>
            <pc:sldMk cId="2691590533" sldId="286"/>
            <ac:inkMk id="39" creationId="{FF7BEC06-01E9-DA27-5919-BD4D45E4CDC5}"/>
          </ac:inkMkLst>
        </pc:inkChg>
        <pc:inkChg chg="del">
          <ac:chgData name="Aniket Chhabra" userId="598e0514-bef3-4e71-b6aa-f2edd6441cff" providerId="ADAL" clId="{935EF258-ACF9-4C40-8F27-4828ABBE04AA}" dt="2023-01-28T04:56:23.946" v="363"/>
          <ac:inkMkLst>
            <pc:docMk/>
            <pc:sldMk cId="2691590533" sldId="286"/>
            <ac:inkMk id="40" creationId="{F8013D09-3B7F-06BB-3580-73B1E625315E}"/>
          </ac:inkMkLst>
        </pc:inkChg>
        <pc:inkChg chg="add mod">
          <ac:chgData name="Aniket Chhabra" userId="598e0514-bef3-4e71-b6aa-f2edd6441cff" providerId="ADAL" clId="{935EF258-ACF9-4C40-8F27-4828ABBE04AA}" dt="2023-01-28T04:58:44.012" v="414"/>
          <ac:inkMkLst>
            <pc:docMk/>
            <pc:sldMk cId="2691590533" sldId="286"/>
            <ac:inkMk id="41" creationId="{228A0C45-4B9C-6458-5A78-96A8E968D806}"/>
          </ac:inkMkLst>
        </pc:inkChg>
        <pc:inkChg chg="del">
          <ac:chgData name="Aniket Chhabra" userId="598e0514-bef3-4e71-b6aa-f2edd6441cff" providerId="ADAL" clId="{935EF258-ACF9-4C40-8F27-4828ABBE04AA}" dt="2023-01-28T04:56:26.301" v="371"/>
          <ac:inkMkLst>
            <pc:docMk/>
            <pc:sldMk cId="2691590533" sldId="286"/>
            <ac:inkMk id="42" creationId="{E06EF0F1-025D-5220-AB58-C38223782500}"/>
          </ac:inkMkLst>
        </pc:inkChg>
        <pc:inkChg chg="del">
          <ac:chgData name="Aniket Chhabra" userId="598e0514-bef3-4e71-b6aa-f2edd6441cff" providerId="ADAL" clId="{935EF258-ACF9-4C40-8F27-4828ABBE04AA}" dt="2023-01-28T04:56:26.302" v="373"/>
          <ac:inkMkLst>
            <pc:docMk/>
            <pc:sldMk cId="2691590533" sldId="286"/>
            <ac:inkMk id="43" creationId="{B7BC7EE3-DDE1-3B1B-38B9-6508C960FFCA}"/>
          </ac:inkMkLst>
        </pc:inkChg>
        <pc:inkChg chg="add mod">
          <ac:chgData name="Aniket Chhabra" userId="598e0514-bef3-4e71-b6aa-f2edd6441cff" providerId="ADAL" clId="{935EF258-ACF9-4C40-8F27-4828ABBE04AA}" dt="2023-01-28T04:58:44.012" v="414"/>
          <ac:inkMkLst>
            <pc:docMk/>
            <pc:sldMk cId="2691590533" sldId="286"/>
            <ac:inkMk id="44" creationId="{77054C72-B3F2-F4F8-8DA6-1F26D5D2D8BC}"/>
          </ac:inkMkLst>
        </pc:inkChg>
        <pc:inkChg chg="add mod">
          <ac:chgData name="Aniket Chhabra" userId="598e0514-bef3-4e71-b6aa-f2edd6441cff" providerId="ADAL" clId="{935EF258-ACF9-4C40-8F27-4828ABBE04AA}" dt="2023-01-28T04:58:44.012" v="414"/>
          <ac:inkMkLst>
            <pc:docMk/>
            <pc:sldMk cId="2691590533" sldId="286"/>
            <ac:inkMk id="53" creationId="{16E3E735-466B-4214-48A1-5C4F66F8E92A}"/>
          </ac:inkMkLst>
        </pc:inkChg>
        <pc:inkChg chg="add mod">
          <ac:chgData name="Aniket Chhabra" userId="598e0514-bef3-4e71-b6aa-f2edd6441cff" providerId="ADAL" clId="{935EF258-ACF9-4C40-8F27-4828ABBE04AA}" dt="2023-01-28T04:58:44.012" v="414"/>
          <ac:inkMkLst>
            <pc:docMk/>
            <pc:sldMk cId="2691590533" sldId="286"/>
            <ac:inkMk id="54" creationId="{C271414F-A846-D41E-F648-814C28848E4C}"/>
          </ac:inkMkLst>
        </pc:inkChg>
        <pc:inkChg chg="del">
          <ac:chgData name="Aniket Chhabra" userId="598e0514-bef3-4e71-b6aa-f2edd6441cff" providerId="ADAL" clId="{935EF258-ACF9-4C40-8F27-4828ABBE04AA}" dt="2023-01-28T04:56:27.734" v="375"/>
          <ac:inkMkLst>
            <pc:docMk/>
            <pc:sldMk cId="2691590533" sldId="286"/>
            <ac:inkMk id="57" creationId="{E2F913A2-009B-1D0E-76D6-5F4D47C99BAF}"/>
          </ac:inkMkLst>
        </pc:inkChg>
        <pc:inkChg chg="add mod">
          <ac:chgData name="Aniket Chhabra" userId="598e0514-bef3-4e71-b6aa-f2edd6441cff" providerId="ADAL" clId="{935EF258-ACF9-4C40-8F27-4828ABBE04AA}" dt="2023-01-28T04:58:44.012" v="414"/>
          <ac:inkMkLst>
            <pc:docMk/>
            <pc:sldMk cId="2691590533" sldId="286"/>
            <ac:inkMk id="64" creationId="{28D82DFC-E800-35BD-EC29-B95F639903A8}"/>
          </ac:inkMkLst>
        </pc:inkChg>
        <pc:inkChg chg="add mod">
          <ac:chgData name="Aniket Chhabra" userId="598e0514-bef3-4e71-b6aa-f2edd6441cff" providerId="ADAL" clId="{935EF258-ACF9-4C40-8F27-4828ABBE04AA}" dt="2023-01-28T04:58:44.012" v="414"/>
          <ac:inkMkLst>
            <pc:docMk/>
            <pc:sldMk cId="2691590533" sldId="286"/>
            <ac:inkMk id="65" creationId="{E3819210-2746-A7AE-F550-D4CB8E5AB6EA}"/>
          </ac:inkMkLst>
        </pc:inkChg>
        <pc:inkChg chg="add mod">
          <ac:chgData name="Aniket Chhabra" userId="598e0514-bef3-4e71-b6aa-f2edd6441cff" providerId="ADAL" clId="{935EF258-ACF9-4C40-8F27-4828ABBE04AA}" dt="2023-01-28T04:58:44.012" v="414"/>
          <ac:inkMkLst>
            <pc:docMk/>
            <pc:sldMk cId="2691590533" sldId="286"/>
            <ac:inkMk id="67" creationId="{3D6505D8-5FCB-E910-4526-BC4764048A03}"/>
          </ac:inkMkLst>
        </pc:inkChg>
        <pc:inkChg chg="add mod">
          <ac:chgData name="Aniket Chhabra" userId="598e0514-bef3-4e71-b6aa-f2edd6441cff" providerId="ADAL" clId="{935EF258-ACF9-4C40-8F27-4828ABBE04AA}" dt="2023-01-28T04:58:44.012" v="414"/>
          <ac:inkMkLst>
            <pc:docMk/>
            <pc:sldMk cId="2691590533" sldId="286"/>
            <ac:inkMk id="68" creationId="{61FE1546-CFFA-D337-E613-491EC5713954}"/>
          </ac:inkMkLst>
        </pc:inkChg>
        <pc:inkChg chg="add mod">
          <ac:chgData name="Aniket Chhabra" userId="598e0514-bef3-4e71-b6aa-f2edd6441cff" providerId="ADAL" clId="{935EF258-ACF9-4C40-8F27-4828ABBE04AA}" dt="2023-01-28T04:58:44.012" v="414"/>
          <ac:inkMkLst>
            <pc:docMk/>
            <pc:sldMk cId="2691590533" sldId="286"/>
            <ac:inkMk id="70" creationId="{47EC25D2-EB89-F764-586A-A8059C079E2F}"/>
          </ac:inkMkLst>
        </pc:inkChg>
        <pc:inkChg chg="add mod">
          <ac:chgData name="Aniket Chhabra" userId="598e0514-bef3-4e71-b6aa-f2edd6441cff" providerId="ADAL" clId="{935EF258-ACF9-4C40-8F27-4828ABBE04AA}" dt="2023-01-28T04:58:44.012" v="414"/>
          <ac:inkMkLst>
            <pc:docMk/>
            <pc:sldMk cId="2691590533" sldId="286"/>
            <ac:inkMk id="71" creationId="{0DBBC17E-ADF5-EB20-8D53-247F98A17497}"/>
          </ac:inkMkLst>
        </pc:inkChg>
        <pc:inkChg chg="add mod">
          <ac:chgData name="Aniket Chhabra" userId="598e0514-bef3-4e71-b6aa-f2edd6441cff" providerId="ADAL" clId="{935EF258-ACF9-4C40-8F27-4828ABBE04AA}" dt="2023-01-28T04:58:44.012" v="414"/>
          <ac:inkMkLst>
            <pc:docMk/>
            <pc:sldMk cId="2691590533" sldId="286"/>
            <ac:inkMk id="72" creationId="{E507DA4F-6B2F-F4D7-8B02-384924E2B607}"/>
          </ac:inkMkLst>
        </pc:inkChg>
        <pc:inkChg chg="add mod">
          <ac:chgData name="Aniket Chhabra" userId="598e0514-bef3-4e71-b6aa-f2edd6441cff" providerId="ADAL" clId="{935EF258-ACF9-4C40-8F27-4828ABBE04AA}" dt="2023-01-28T04:58:44.012" v="414"/>
          <ac:inkMkLst>
            <pc:docMk/>
            <pc:sldMk cId="2691590533" sldId="286"/>
            <ac:inkMk id="73" creationId="{5806A83C-B070-4ABC-FD52-345562E8380F}"/>
          </ac:inkMkLst>
        </pc:inkChg>
        <pc:inkChg chg="add mod">
          <ac:chgData name="Aniket Chhabra" userId="598e0514-bef3-4e71-b6aa-f2edd6441cff" providerId="ADAL" clId="{935EF258-ACF9-4C40-8F27-4828ABBE04AA}" dt="2023-01-28T04:58:44.012" v="414"/>
          <ac:inkMkLst>
            <pc:docMk/>
            <pc:sldMk cId="2691590533" sldId="286"/>
            <ac:inkMk id="74" creationId="{314D3D6B-C0DA-8EBC-3320-E8DC03CF18B6}"/>
          </ac:inkMkLst>
        </pc:inkChg>
        <pc:inkChg chg="add mod">
          <ac:chgData name="Aniket Chhabra" userId="598e0514-bef3-4e71-b6aa-f2edd6441cff" providerId="ADAL" clId="{935EF258-ACF9-4C40-8F27-4828ABBE04AA}" dt="2023-01-28T04:58:44.012" v="414"/>
          <ac:inkMkLst>
            <pc:docMk/>
            <pc:sldMk cId="2691590533" sldId="286"/>
            <ac:inkMk id="75" creationId="{38F1B2A6-9FC6-08EA-5372-6D2145B4BC51}"/>
          </ac:inkMkLst>
        </pc:inkChg>
        <pc:inkChg chg="add mod">
          <ac:chgData name="Aniket Chhabra" userId="598e0514-bef3-4e71-b6aa-f2edd6441cff" providerId="ADAL" clId="{935EF258-ACF9-4C40-8F27-4828ABBE04AA}" dt="2023-01-28T04:58:46.886" v="417"/>
          <ac:inkMkLst>
            <pc:docMk/>
            <pc:sldMk cId="2691590533" sldId="286"/>
            <ac:inkMk id="76" creationId="{034F51D8-4510-E67B-9E9E-AA0360F3603C}"/>
          </ac:inkMkLst>
        </pc:inkChg>
        <pc:inkChg chg="add mod">
          <ac:chgData name="Aniket Chhabra" userId="598e0514-bef3-4e71-b6aa-f2edd6441cff" providerId="ADAL" clId="{935EF258-ACF9-4C40-8F27-4828ABBE04AA}" dt="2023-01-28T04:58:46.886" v="417"/>
          <ac:inkMkLst>
            <pc:docMk/>
            <pc:sldMk cId="2691590533" sldId="286"/>
            <ac:inkMk id="79" creationId="{88E2BA69-A380-2968-1C74-F31D49ECC211}"/>
          </ac:inkMkLst>
        </pc:inkChg>
        <pc:inkChg chg="add mod">
          <ac:chgData name="Aniket Chhabra" userId="598e0514-bef3-4e71-b6aa-f2edd6441cff" providerId="ADAL" clId="{935EF258-ACF9-4C40-8F27-4828ABBE04AA}" dt="2023-01-28T04:58:46.886" v="417"/>
          <ac:inkMkLst>
            <pc:docMk/>
            <pc:sldMk cId="2691590533" sldId="286"/>
            <ac:inkMk id="80" creationId="{FF261AAB-722E-F351-550B-75022AB7B584}"/>
          </ac:inkMkLst>
        </pc:inkChg>
        <pc:inkChg chg="add mod">
          <ac:chgData name="Aniket Chhabra" userId="598e0514-bef3-4e71-b6aa-f2edd6441cff" providerId="ADAL" clId="{935EF258-ACF9-4C40-8F27-4828ABBE04AA}" dt="2023-01-28T04:58:46.886" v="417"/>
          <ac:inkMkLst>
            <pc:docMk/>
            <pc:sldMk cId="2691590533" sldId="286"/>
            <ac:inkMk id="81" creationId="{1E3C4EFD-AE14-9003-9ABA-9988291BDCE0}"/>
          </ac:inkMkLst>
        </pc:inkChg>
        <pc:inkChg chg="add mod">
          <ac:chgData name="Aniket Chhabra" userId="598e0514-bef3-4e71-b6aa-f2edd6441cff" providerId="ADAL" clId="{935EF258-ACF9-4C40-8F27-4828ABBE04AA}" dt="2023-01-28T04:58:46.886" v="417"/>
          <ac:inkMkLst>
            <pc:docMk/>
            <pc:sldMk cId="2691590533" sldId="286"/>
            <ac:inkMk id="82" creationId="{3E6C7A18-471C-C5F4-D781-92B553FF4006}"/>
          </ac:inkMkLst>
        </pc:inkChg>
        <pc:inkChg chg="add mod">
          <ac:chgData name="Aniket Chhabra" userId="598e0514-bef3-4e71-b6aa-f2edd6441cff" providerId="ADAL" clId="{935EF258-ACF9-4C40-8F27-4828ABBE04AA}" dt="2023-01-28T04:58:46.886" v="417"/>
          <ac:inkMkLst>
            <pc:docMk/>
            <pc:sldMk cId="2691590533" sldId="286"/>
            <ac:inkMk id="83" creationId="{1622C319-C936-5039-C596-CC09630D0E4E}"/>
          </ac:inkMkLst>
        </pc:inkChg>
        <pc:inkChg chg="add mod">
          <ac:chgData name="Aniket Chhabra" userId="598e0514-bef3-4e71-b6aa-f2edd6441cff" providerId="ADAL" clId="{935EF258-ACF9-4C40-8F27-4828ABBE04AA}" dt="2023-01-28T04:58:46.886" v="417"/>
          <ac:inkMkLst>
            <pc:docMk/>
            <pc:sldMk cId="2691590533" sldId="286"/>
            <ac:inkMk id="84" creationId="{F8D6A0B1-ECDD-4344-DB4A-68D393D6BBA5}"/>
          </ac:inkMkLst>
        </pc:inkChg>
        <pc:inkChg chg="del mod">
          <ac:chgData name="Aniket Chhabra" userId="598e0514-bef3-4e71-b6aa-f2edd6441cff" providerId="ADAL" clId="{935EF258-ACF9-4C40-8F27-4828ABBE04AA}" dt="2023-01-28T04:56:27.052" v="374"/>
          <ac:inkMkLst>
            <pc:docMk/>
            <pc:sldMk cId="2691590533" sldId="286"/>
            <ac:inkMk id="85" creationId="{7C1EF4B3-EA0D-0AD3-8DA5-119A6D992B2B}"/>
          </ac:inkMkLst>
        </pc:inkChg>
        <pc:inkChg chg="del mod">
          <ac:chgData name="Aniket Chhabra" userId="598e0514-bef3-4e71-b6aa-f2edd6441cff" providerId="ADAL" clId="{935EF258-ACF9-4C40-8F27-4828ABBE04AA}" dt="2023-01-28T04:56:23.947" v="367"/>
          <ac:inkMkLst>
            <pc:docMk/>
            <pc:sldMk cId="2691590533" sldId="286"/>
            <ac:inkMk id="86" creationId="{43E8612E-BABD-A9C6-98E8-864DC163C456}"/>
          </ac:inkMkLst>
        </pc:inkChg>
        <pc:inkChg chg="del">
          <ac:chgData name="Aniket Chhabra" userId="598e0514-bef3-4e71-b6aa-f2edd6441cff" providerId="ADAL" clId="{935EF258-ACF9-4C40-8F27-4828ABBE04AA}" dt="2023-01-28T04:56:23.945" v="360"/>
          <ac:inkMkLst>
            <pc:docMk/>
            <pc:sldMk cId="2691590533" sldId="286"/>
            <ac:inkMk id="88" creationId="{87160D41-E198-0B05-3FD2-2C6DEEEB5365}"/>
          </ac:inkMkLst>
        </pc:inkChg>
        <pc:inkChg chg="add mod">
          <ac:chgData name="Aniket Chhabra" userId="598e0514-bef3-4e71-b6aa-f2edd6441cff" providerId="ADAL" clId="{935EF258-ACF9-4C40-8F27-4828ABBE04AA}" dt="2023-01-28T04:58:46.886" v="417"/>
          <ac:inkMkLst>
            <pc:docMk/>
            <pc:sldMk cId="2691590533" sldId="286"/>
            <ac:inkMk id="89" creationId="{7F424215-D6B8-763E-F793-4F15B8CFC6E7}"/>
          </ac:inkMkLst>
        </pc:inkChg>
        <pc:inkChg chg="del">
          <ac:chgData name="Aniket Chhabra" userId="598e0514-bef3-4e71-b6aa-f2edd6441cff" providerId="ADAL" clId="{935EF258-ACF9-4C40-8F27-4828ABBE04AA}" dt="2023-01-28T04:56:26.301" v="370"/>
          <ac:inkMkLst>
            <pc:docMk/>
            <pc:sldMk cId="2691590533" sldId="286"/>
            <ac:inkMk id="90" creationId="{D02DF60A-0C08-A98C-A2A0-C07B9226B750}"/>
          </ac:inkMkLst>
        </pc:inkChg>
        <pc:inkChg chg="add mod">
          <ac:chgData name="Aniket Chhabra" userId="598e0514-bef3-4e71-b6aa-f2edd6441cff" providerId="ADAL" clId="{935EF258-ACF9-4C40-8F27-4828ABBE04AA}" dt="2023-01-28T04:58:44.012" v="414"/>
          <ac:inkMkLst>
            <pc:docMk/>
            <pc:sldMk cId="2691590533" sldId="286"/>
            <ac:inkMk id="93" creationId="{C86B8A9E-6B13-D882-F99C-5B5441EF201C}"/>
          </ac:inkMkLst>
        </pc:inkChg>
        <pc:inkChg chg="add mod">
          <ac:chgData name="Aniket Chhabra" userId="598e0514-bef3-4e71-b6aa-f2edd6441cff" providerId="ADAL" clId="{935EF258-ACF9-4C40-8F27-4828ABBE04AA}" dt="2023-01-28T04:58:44.012" v="414"/>
          <ac:inkMkLst>
            <pc:docMk/>
            <pc:sldMk cId="2691590533" sldId="286"/>
            <ac:inkMk id="109" creationId="{DFC51F2D-07CE-0FCB-B437-794B9C2E3873}"/>
          </ac:inkMkLst>
        </pc:inkChg>
        <pc:inkChg chg="add mod">
          <ac:chgData name="Aniket Chhabra" userId="598e0514-bef3-4e71-b6aa-f2edd6441cff" providerId="ADAL" clId="{935EF258-ACF9-4C40-8F27-4828ABBE04AA}" dt="2023-01-28T04:58:44.012" v="414"/>
          <ac:inkMkLst>
            <pc:docMk/>
            <pc:sldMk cId="2691590533" sldId="286"/>
            <ac:inkMk id="125" creationId="{B5455BDE-B234-4203-DCDF-DE8DE3E3D96B}"/>
          </ac:inkMkLst>
        </pc:inkChg>
        <pc:inkChg chg="add mod">
          <ac:chgData name="Aniket Chhabra" userId="598e0514-bef3-4e71-b6aa-f2edd6441cff" providerId="ADAL" clId="{935EF258-ACF9-4C40-8F27-4828ABBE04AA}" dt="2023-01-28T04:58:44.012" v="414"/>
          <ac:inkMkLst>
            <pc:docMk/>
            <pc:sldMk cId="2691590533" sldId="286"/>
            <ac:inkMk id="126" creationId="{DEA16149-DA1C-6A86-778B-7F863885B7C5}"/>
          </ac:inkMkLst>
        </pc:inkChg>
        <pc:inkChg chg="add">
          <ac:chgData name="Aniket Chhabra" userId="598e0514-bef3-4e71-b6aa-f2edd6441cff" providerId="ADAL" clId="{935EF258-ACF9-4C40-8F27-4828ABBE04AA}" dt="2023-01-28T04:56:57.441" v="410" actId="9405"/>
          <ac:inkMkLst>
            <pc:docMk/>
            <pc:sldMk cId="2691590533" sldId="286"/>
            <ac:inkMk id="127" creationId="{265075F4-E095-0855-6A2E-C02CB265D96F}"/>
          </ac:inkMkLst>
        </pc:inkChg>
        <pc:inkChg chg="del">
          <ac:chgData name="Aniket Chhabra" userId="598e0514-bef3-4e71-b6aa-f2edd6441cff" providerId="ADAL" clId="{935EF258-ACF9-4C40-8F27-4828ABBE04AA}" dt="2023-01-28T04:56:26.301" v="369"/>
          <ac:inkMkLst>
            <pc:docMk/>
            <pc:sldMk cId="2691590533" sldId="286"/>
            <ac:inkMk id="129" creationId="{900F6471-811E-9CB8-2FE7-0081879D9E93}"/>
          </ac:inkMkLst>
        </pc:inkChg>
        <pc:inkChg chg="del">
          <ac:chgData name="Aniket Chhabra" userId="598e0514-bef3-4e71-b6aa-f2edd6441cff" providerId="ADAL" clId="{935EF258-ACF9-4C40-8F27-4828ABBE04AA}" dt="2023-01-28T04:56:26.301" v="372"/>
          <ac:inkMkLst>
            <pc:docMk/>
            <pc:sldMk cId="2691590533" sldId="286"/>
            <ac:inkMk id="130" creationId="{9BC85B15-7DC8-7263-0DB5-F024737A046B}"/>
          </ac:inkMkLst>
        </pc:inkChg>
        <pc:inkChg chg="add">
          <ac:chgData name="Aniket Chhabra" userId="598e0514-bef3-4e71-b6aa-f2edd6441cff" providerId="ADAL" clId="{935EF258-ACF9-4C40-8F27-4828ABBE04AA}" dt="2023-01-28T04:56:57.660" v="411" actId="9405"/>
          <ac:inkMkLst>
            <pc:docMk/>
            <pc:sldMk cId="2691590533" sldId="286"/>
            <ac:inkMk id="131" creationId="{05BD58BB-9C8B-F495-8278-3408FE111394}"/>
          </ac:inkMkLst>
        </pc:inkChg>
        <pc:inkChg chg="add mod">
          <ac:chgData name="Aniket Chhabra" userId="598e0514-bef3-4e71-b6aa-f2edd6441cff" providerId="ADAL" clId="{935EF258-ACF9-4C40-8F27-4828ABBE04AA}" dt="2023-01-28T04:58:44.012" v="414"/>
          <ac:inkMkLst>
            <pc:docMk/>
            <pc:sldMk cId="2691590533" sldId="286"/>
            <ac:inkMk id="142" creationId="{3A40A8DA-9D9A-EEE4-67BD-E9C3A61D23F1}"/>
          </ac:inkMkLst>
        </pc:inkChg>
        <pc:inkChg chg="add mod">
          <ac:chgData name="Aniket Chhabra" userId="598e0514-bef3-4e71-b6aa-f2edd6441cff" providerId="ADAL" clId="{935EF258-ACF9-4C40-8F27-4828ABBE04AA}" dt="2023-01-28T04:58:46.886" v="417"/>
          <ac:inkMkLst>
            <pc:docMk/>
            <pc:sldMk cId="2691590533" sldId="286"/>
            <ac:inkMk id="155" creationId="{DB1EFB16-A219-4561-CFD2-FD3647C3E7BB}"/>
          </ac:inkMkLst>
        </pc:inkChg>
        <pc:inkChg chg="add mod">
          <ac:chgData name="Aniket Chhabra" userId="598e0514-bef3-4e71-b6aa-f2edd6441cff" providerId="ADAL" clId="{935EF258-ACF9-4C40-8F27-4828ABBE04AA}" dt="2023-01-28T04:58:46.886" v="417"/>
          <ac:inkMkLst>
            <pc:docMk/>
            <pc:sldMk cId="2691590533" sldId="286"/>
            <ac:inkMk id="163" creationId="{8BC8A003-197D-F0F6-6F1F-7534C2CC78FA}"/>
          </ac:inkMkLst>
        </pc:inkChg>
      </pc:sldChg>
      <pc:sldChg chg="addSp delSp modSp mod">
        <pc:chgData name="Aniket Chhabra" userId="598e0514-bef3-4e71-b6aa-f2edd6441cff" providerId="ADAL" clId="{935EF258-ACF9-4C40-8F27-4828ABBE04AA}" dt="2023-01-28T05:20:42.279" v="555"/>
        <pc:sldMkLst>
          <pc:docMk/>
          <pc:sldMk cId="3090271849" sldId="287"/>
        </pc:sldMkLst>
        <pc:grpChg chg="del mod">
          <ac:chgData name="Aniket Chhabra" userId="598e0514-bef3-4e71-b6aa-f2edd6441cff" providerId="ADAL" clId="{935EF258-ACF9-4C40-8F27-4828ABBE04AA}" dt="2023-01-28T05:17:49.516" v="438"/>
          <ac:grpSpMkLst>
            <pc:docMk/>
            <pc:sldMk cId="3090271849" sldId="287"/>
            <ac:grpSpMk id="11" creationId="{08E0B7B1-2AAB-A93A-A02E-B4479299CB3D}"/>
          </ac:grpSpMkLst>
        </pc:grpChg>
        <pc:grpChg chg="del mod">
          <ac:chgData name="Aniket Chhabra" userId="598e0514-bef3-4e71-b6aa-f2edd6441cff" providerId="ADAL" clId="{935EF258-ACF9-4C40-8F27-4828ABBE04AA}" dt="2023-01-28T05:17:49.516" v="435"/>
          <ac:grpSpMkLst>
            <pc:docMk/>
            <pc:sldMk cId="3090271849" sldId="287"/>
            <ac:grpSpMk id="17" creationId="{05CF43A4-82F7-0A69-E0F4-30F14B17A2B2}"/>
          </ac:grpSpMkLst>
        </pc:grpChg>
        <pc:grpChg chg="del mod">
          <ac:chgData name="Aniket Chhabra" userId="598e0514-bef3-4e71-b6aa-f2edd6441cff" providerId="ADAL" clId="{935EF258-ACF9-4C40-8F27-4828ABBE04AA}" dt="2023-01-28T05:17:49.515" v="430"/>
          <ac:grpSpMkLst>
            <pc:docMk/>
            <pc:sldMk cId="3090271849" sldId="287"/>
            <ac:grpSpMk id="20" creationId="{578A63FF-7F38-45C9-08BE-7A07EE4FA623}"/>
          </ac:grpSpMkLst>
        </pc:grpChg>
        <pc:grpChg chg="del mod">
          <ac:chgData name="Aniket Chhabra" userId="598e0514-bef3-4e71-b6aa-f2edd6441cff" providerId="ADAL" clId="{935EF258-ACF9-4C40-8F27-4828ABBE04AA}" dt="2023-01-28T05:17:53.234" v="450"/>
          <ac:grpSpMkLst>
            <pc:docMk/>
            <pc:sldMk cId="3090271849" sldId="287"/>
            <ac:grpSpMk id="30" creationId="{0D118614-48A6-ACA1-BF2E-7CFB3DC443A3}"/>
          </ac:grpSpMkLst>
        </pc:grpChg>
        <pc:grpChg chg="del mod">
          <ac:chgData name="Aniket Chhabra" userId="598e0514-bef3-4e71-b6aa-f2edd6441cff" providerId="ADAL" clId="{935EF258-ACF9-4C40-8F27-4828ABBE04AA}" dt="2023-01-28T05:17:37.546" v="425"/>
          <ac:grpSpMkLst>
            <pc:docMk/>
            <pc:sldMk cId="3090271849" sldId="287"/>
            <ac:grpSpMk id="36" creationId="{13BF1452-015E-9C0D-768A-A1FFC498214A}"/>
          </ac:grpSpMkLst>
        </pc:grpChg>
        <pc:grpChg chg="del mod">
          <ac:chgData name="Aniket Chhabra" userId="598e0514-bef3-4e71-b6aa-f2edd6441cff" providerId="ADAL" clId="{935EF258-ACF9-4C40-8F27-4828ABBE04AA}" dt="2023-01-28T05:17:49.516" v="436"/>
          <ac:grpSpMkLst>
            <pc:docMk/>
            <pc:sldMk cId="3090271849" sldId="287"/>
            <ac:grpSpMk id="38" creationId="{AD3D311B-F264-D42F-F852-90092F78F54F}"/>
          </ac:grpSpMkLst>
        </pc:grpChg>
        <pc:grpChg chg="del mod">
          <ac:chgData name="Aniket Chhabra" userId="598e0514-bef3-4e71-b6aa-f2edd6441cff" providerId="ADAL" clId="{935EF258-ACF9-4C40-8F27-4828ABBE04AA}" dt="2023-01-28T05:18:30.343" v="458"/>
          <ac:grpSpMkLst>
            <pc:docMk/>
            <pc:sldMk cId="3090271849" sldId="287"/>
            <ac:grpSpMk id="43" creationId="{59DD3CC2-AE30-D0D3-48DE-B7ED85367A19}"/>
          </ac:grpSpMkLst>
        </pc:grpChg>
        <pc:grpChg chg="mod">
          <ac:chgData name="Aniket Chhabra" userId="598e0514-bef3-4e71-b6aa-f2edd6441cff" providerId="ADAL" clId="{935EF258-ACF9-4C40-8F27-4828ABBE04AA}" dt="2023-01-28T05:18:30.343" v="458"/>
          <ac:grpSpMkLst>
            <pc:docMk/>
            <pc:sldMk cId="3090271849" sldId="287"/>
            <ac:grpSpMk id="45" creationId="{E7058C00-62CA-847F-30EC-AC1C530263F8}"/>
          </ac:grpSpMkLst>
        </pc:grpChg>
        <pc:grpChg chg="del mod">
          <ac:chgData name="Aniket Chhabra" userId="598e0514-bef3-4e71-b6aa-f2edd6441cff" providerId="ADAL" clId="{935EF258-ACF9-4C40-8F27-4828ABBE04AA}" dt="2023-01-28T05:19:16.827" v="509"/>
          <ac:grpSpMkLst>
            <pc:docMk/>
            <pc:sldMk cId="3090271849" sldId="287"/>
            <ac:grpSpMk id="59" creationId="{96C0A3CC-602F-1C67-2383-0EA9A5E440AF}"/>
          </ac:grpSpMkLst>
        </pc:grpChg>
        <pc:grpChg chg="mod">
          <ac:chgData name="Aniket Chhabra" userId="598e0514-bef3-4e71-b6aa-f2edd6441cff" providerId="ADAL" clId="{935EF258-ACF9-4C40-8F27-4828ABBE04AA}" dt="2023-01-28T05:19:00.536" v="481"/>
          <ac:grpSpMkLst>
            <pc:docMk/>
            <pc:sldMk cId="3090271849" sldId="287"/>
            <ac:grpSpMk id="68" creationId="{120F0FE8-BB29-4256-33EF-8D50B241C913}"/>
          </ac:grpSpMkLst>
        </pc:grpChg>
        <pc:grpChg chg="del mod">
          <ac:chgData name="Aniket Chhabra" userId="598e0514-bef3-4e71-b6aa-f2edd6441cff" providerId="ADAL" clId="{935EF258-ACF9-4C40-8F27-4828ABBE04AA}" dt="2023-01-28T05:19:09.940" v="497"/>
          <ac:grpSpMkLst>
            <pc:docMk/>
            <pc:sldMk cId="3090271849" sldId="287"/>
            <ac:grpSpMk id="76" creationId="{EBDBEACD-1187-5EC8-8375-4EAE42DBCB18}"/>
          </ac:grpSpMkLst>
        </pc:grpChg>
        <pc:grpChg chg="del mod">
          <ac:chgData name="Aniket Chhabra" userId="598e0514-bef3-4e71-b6aa-f2edd6441cff" providerId="ADAL" clId="{935EF258-ACF9-4C40-8F27-4828ABBE04AA}" dt="2023-01-28T05:19:12.558" v="503"/>
          <ac:grpSpMkLst>
            <pc:docMk/>
            <pc:sldMk cId="3090271849" sldId="287"/>
            <ac:grpSpMk id="77" creationId="{3AB3E2E5-1138-F21B-D463-486E42D574E9}"/>
          </ac:grpSpMkLst>
        </pc:grpChg>
        <pc:grpChg chg="del mod">
          <ac:chgData name="Aniket Chhabra" userId="598e0514-bef3-4e71-b6aa-f2edd6441cff" providerId="ADAL" clId="{935EF258-ACF9-4C40-8F27-4828ABBE04AA}" dt="2023-01-28T05:19:15.335" v="507"/>
          <ac:grpSpMkLst>
            <pc:docMk/>
            <pc:sldMk cId="3090271849" sldId="287"/>
            <ac:grpSpMk id="85" creationId="{F4AD374F-BC17-8FFB-ABAC-266207F7DB27}"/>
          </ac:grpSpMkLst>
        </pc:grpChg>
        <pc:grpChg chg="del mod">
          <ac:chgData name="Aniket Chhabra" userId="598e0514-bef3-4e71-b6aa-f2edd6441cff" providerId="ADAL" clId="{935EF258-ACF9-4C40-8F27-4828ABBE04AA}" dt="2023-01-28T05:19:15.335" v="507"/>
          <ac:grpSpMkLst>
            <pc:docMk/>
            <pc:sldMk cId="3090271849" sldId="287"/>
            <ac:grpSpMk id="91" creationId="{E74AA59C-396E-CA53-D9EE-28C57DF946C3}"/>
          </ac:grpSpMkLst>
        </pc:grpChg>
        <pc:grpChg chg="mod">
          <ac:chgData name="Aniket Chhabra" userId="598e0514-bef3-4e71-b6aa-f2edd6441cff" providerId="ADAL" clId="{935EF258-ACF9-4C40-8F27-4828ABBE04AA}" dt="2023-01-28T05:19:15.335" v="507"/>
          <ac:grpSpMkLst>
            <pc:docMk/>
            <pc:sldMk cId="3090271849" sldId="287"/>
            <ac:grpSpMk id="95" creationId="{FAFE21F2-D361-6508-8000-2C116D431111}"/>
          </ac:grpSpMkLst>
        </pc:grpChg>
        <pc:grpChg chg="mod">
          <ac:chgData name="Aniket Chhabra" userId="598e0514-bef3-4e71-b6aa-f2edd6441cff" providerId="ADAL" clId="{935EF258-ACF9-4C40-8F27-4828ABBE04AA}" dt="2023-01-28T05:19:16.827" v="509"/>
          <ac:grpSpMkLst>
            <pc:docMk/>
            <pc:sldMk cId="3090271849" sldId="287"/>
            <ac:grpSpMk id="97" creationId="{A01E2133-DC79-8A85-5BD4-31305DFA10E9}"/>
          </ac:grpSpMkLst>
        </pc:grpChg>
        <pc:grpChg chg="del mod">
          <ac:chgData name="Aniket Chhabra" userId="598e0514-bef3-4e71-b6aa-f2edd6441cff" providerId="ADAL" clId="{935EF258-ACF9-4C40-8F27-4828ABBE04AA}" dt="2023-01-28T05:20:36.115" v="550"/>
          <ac:grpSpMkLst>
            <pc:docMk/>
            <pc:sldMk cId="3090271849" sldId="287"/>
            <ac:grpSpMk id="100" creationId="{A439AF7A-68F2-6CA4-FF17-C85EC7384E98}"/>
          </ac:grpSpMkLst>
        </pc:grpChg>
        <pc:grpChg chg="del mod">
          <ac:chgData name="Aniket Chhabra" userId="598e0514-bef3-4e71-b6aa-f2edd6441cff" providerId="ADAL" clId="{935EF258-ACF9-4C40-8F27-4828ABBE04AA}" dt="2023-01-28T05:20:36.115" v="550"/>
          <ac:grpSpMkLst>
            <pc:docMk/>
            <pc:sldMk cId="3090271849" sldId="287"/>
            <ac:grpSpMk id="106" creationId="{BB5FEB73-BA26-275B-11FA-F3B39E66DD65}"/>
          </ac:grpSpMkLst>
        </pc:grpChg>
        <pc:grpChg chg="del mod">
          <ac:chgData name="Aniket Chhabra" userId="598e0514-bef3-4e71-b6aa-f2edd6441cff" providerId="ADAL" clId="{935EF258-ACF9-4C40-8F27-4828ABBE04AA}" dt="2023-01-28T05:20:42.279" v="555"/>
          <ac:grpSpMkLst>
            <pc:docMk/>
            <pc:sldMk cId="3090271849" sldId="287"/>
            <ac:grpSpMk id="117" creationId="{5694C7BA-CF90-1C9D-E466-C7E412DE6E58}"/>
          </ac:grpSpMkLst>
        </pc:grpChg>
        <pc:grpChg chg="mod">
          <ac:chgData name="Aniket Chhabra" userId="598e0514-bef3-4e71-b6aa-f2edd6441cff" providerId="ADAL" clId="{935EF258-ACF9-4C40-8F27-4828ABBE04AA}" dt="2023-01-28T05:20:42.279" v="555"/>
          <ac:grpSpMkLst>
            <pc:docMk/>
            <pc:sldMk cId="3090271849" sldId="287"/>
            <ac:grpSpMk id="122" creationId="{1F3B6B42-C99B-F197-1F28-694929DD894E}"/>
          </ac:grpSpMkLst>
        </pc:grpChg>
        <pc:inkChg chg="del">
          <ac:chgData name="Aniket Chhabra" userId="598e0514-bef3-4e71-b6aa-f2edd6441cff" providerId="ADAL" clId="{935EF258-ACF9-4C40-8F27-4828ABBE04AA}" dt="2023-01-28T05:17:49.517" v="439"/>
          <ac:inkMkLst>
            <pc:docMk/>
            <pc:sldMk cId="3090271849" sldId="287"/>
            <ac:inkMk id="5" creationId="{2ECFC2CA-D205-09AB-4862-927F1FF1FCCA}"/>
          </ac:inkMkLst>
        </pc:inkChg>
        <pc:inkChg chg="del">
          <ac:chgData name="Aniket Chhabra" userId="598e0514-bef3-4e71-b6aa-f2edd6441cff" providerId="ADAL" clId="{935EF258-ACF9-4C40-8F27-4828ABBE04AA}" dt="2023-01-28T05:17:49.517" v="440"/>
          <ac:inkMkLst>
            <pc:docMk/>
            <pc:sldMk cId="3090271849" sldId="287"/>
            <ac:inkMk id="7" creationId="{B7D8CEAD-E9EC-0234-CC6F-C41085C302A3}"/>
          </ac:inkMkLst>
        </pc:inkChg>
        <pc:inkChg chg="del">
          <ac:chgData name="Aniket Chhabra" userId="598e0514-bef3-4e71-b6aa-f2edd6441cff" providerId="ADAL" clId="{935EF258-ACF9-4C40-8F27-4828ABBE04AA}" dt="2023-01-28T05:17:49.516" v="433"/>
          <ac:inkMkLst>
            <pc:docMk/>
            <pc:sldMk cId="3090271849" sldId="287"/>
            <ac:inkMk id="8" creationId="{BAB169C9-6DE9-C9B5-9087-835AB62CBAD0}"/>
          </ac:inkMkLst>
        </pc:inkChg>
        <pc:inkChg chg="del mod">
          <ac:chgData name="Aniket Chhabra" userId="598e0514-bef3-4e71-b6aa-f2edd6441cff" providerId="ADAL" clId="{935EF258-ACF9-4C40-8F27-4828ABBE04AA}" dt="2023-01-28T05:17:49.888" v="442"/>
          <ac:inkMkLst>
            <pc:docMk/>
            <pc:sldMk cId="3090271849" sldId="287"/>
            <ac:inkMk id="9" creationId="{6071AAD2-B024-E414-D296-E332C0135C2F}"/>
          </ac:inkMkLst>
        </pc:inkChg>
        <pc:inkChg chg="del">
          <ac:chgData name="Aniket Chhabra" userId="598e0514-bef3-4e71-b6aa-f2edd6441cff" providerId="ADAL" clId="{935EF258-ACF9-4C40-8F27-4828ABBE04AA}" dt="2023-01-28T05:17:49.516" v="438"/>
          <ac:inkMkLst>
            <pc:docMk/>
            <pc:sldMk cId="3090271849" sldId="287"/>
            <ac:inkMk id="10" creationId="{3B38907B-31AA-3582-4BAE-FE53ACFECBF3}"/>
          </ac:inkMkLst>
        </pc:inkChg>
        <pc:inkChg chg="del">
          <ac:chgData name="Aniket Chhabra" userId="598e0514-bef3-4e71-b6aa-f2edd6441cff" providerId="ADAL" clId="{935EF258-ACF9-4C40-8F27-4828ABBE04AA}" dt="2023-01-28T05:17:49.515" v="430"/>
          <ac:inkMkLst>
            <pc:docMk/>
            <pc:sldMk cId="3090271849" sldId="287"/>
            <ac:inkMk id="12" creationId="{0CDD8F52-1EBD-AFB7-CA6F-B008E4DEC3A1}"/>
          </ac:inkMkLst>
        </pc:inkChg>
        <pc:inkChg chg="del mod">
          <ac:chgData name="Aniket Chhabra" userId="598e0514-bef3-4e71-b6aa-f2edd6441cff" providerId="ADAL" clId="{935EF258-ACF9-4C40-8F27-4828ABBE04AA}" dt="2023-01-28T05:17:49.515" v="431"/>
          <ac:inkMkLst>
            <pc:docMk/>
            <pc:sldMk cId="3090271849" sldId="287"/>
            <ac:inkMk id="13" creationId="{1B4E47BD-FE09-B9C3-5F49-70BC16FECC5F}"/>
          </ac:inkMkLst>
        </pc:inkChg>
        <pc:inkChg chg="del mod">
          <ac:chgData name="Aniket Chhabra" userId="598e0514-bef3-4e71-b6aa-f2edd6441cff" providerId="ADAL" clId="{935EF258-ACF9-4C40-8F27-4828ABBE04AA}" dt="2023-01-28T05:17:49.517" v="441"/>
          <ac:inkMkLst>
            <pc:docMk/>
            <pc:sldMk cId="3090271849" sldId="287"/>
            <ac:inkMk id="14" creationId="{9C5870FB-B2F5-F37C-EE6A-B8ED2E7AFD09}"/>
          </ac:inkMkLst>
        </pc:inkChg>
        <pc:inkChg chg="del">
          <ac:chgData name="Aniket Chhabra" userId="598e0514-bef3-4e71-b6aa-f2edd6441cff" providerId="ADAL" clId="{935EF258-ACF9-4C40-8F27-4828ABBE04AA}" dt="2023-01-28T05:17:49.516" v="435"/>
          <ac:inkMkLst>
            <pc:docMk/>
            <pc:sldMk cId="3090271849" sldId="287"/>
            <ac:inkMk id="16" creationId="{E4D0EA86-0206-AEC7-D434-202C24EE34CD}"/>
          </ac:inkMkLst>
        </pc:inkChg>
        <pc:inkChg chg="del">
          <ac:chgData name="Aniket Chhabra" userId="598e0514-bef3-4e71-b6aa-f2edd6441cff" providerId="ADAL" clId="{935EF258-ACF9-4C40-8F27-4828ABBE04AA}" dt="2023-01-28T05:17:49.515" v="427"/>
          <ac:inkMkLst>
            <pc:docMk/>
            <pc:sldMk cId="3090271849" sldId="287"/>
            <ac:inkMk id="21" creationId="{CC020DBC-08A4-02A3-B560-B549719736FD}"/>
          </ac:inkMkLst>
        </pc:inkChg>
        <pc:inkChg chg="del">
          <ac:chgData name="Aniket Chhabra" userId="598e0514-bef3-4e71-b6aa-f2edd6441cff" providerId="ADAL" clId="{935EF258-ACF9-4C40-8F27-4828ABBE04AA}" dt="2023-01-28T05:17:53.233" v="443"/>
          <ac:inkMkLst>
            <pc:docMk/>
            <pc:sldMk cId="3090271849" sldId="287"/>
            <ac:inkMk id="22" creationId="{7B54E845-263F-392D-DF13-AFFD9936F525}"/>
          </ac:inkMkLst>
        </pc:inkChg>
        <pc:inkChg chg="del mod">
          <ac:chgData name="Aniket Chhabra" userId="598e0514-bef3-4e71-b6aa-f2edd6441cff" providerId="ADAL" clId="{935EF258-ACF9-4C40-8F27-4828ABBE04AA}" dt="2023-01-28T05:17:53.234" v="447"/>
          <ac:inkMkLst>
            <pc:docMk/>
            <pc:sldMk cId="3090271849" sldId="287"/>
            <ac:inkMk id="23" creationId="{9EE2AB89-EA43-DBF7-ADE0-6ED2831EFB2E}"/>
          </ac:inkMkLst>
        </pc:inkChg>
        <pc:inkChg chg="del mod">
          <ac:chgData name="Aniket Chhabra" userId="598e0514-bef3-4e71-b6aa-f2edd6441cff" providerId="ADAL" clId="{935EF258-ACF9-4C40-8F27-4828ABBE04AA}" dt="2023-01-28T05:17:53.234" v="448"/>
          <ac:inkMkLst>
            <pc:docMk/>
            <pc:sldMk cId="3090271849" sldId="287"/>
            <ac:inkMk id="24" creationId="{DF93C811-1629-1E0F-5B78-3F692318B028}"/>
          </ac:inkMkLst>
        </pc:inkChg>
        <pc:inkChg chg="del mod">
          <ac:chgData name="Aniket Chhabra" userId="598e0514-bef3-4e71-b6aa-f2edd6441cff" providerId="ADAL" clId="{935EF258-ACF9-4C40-8F27-4828ABBE04AA}" dt="2023-01-28T05:17:53.235" v="451"/>
          <ac:inkMkLst>
            <pc:docMk/>
            <pc:sldMk cId="3090271849" sldId="287"/>
            <ac:inkMk id="25" creationId="{D96D85A6-A70B-1BF4-A9E2-6F30C21E8403}"/>
          </ac:inkMkLst>
        </pc:inkChg>
        <pc:inkChg chg="del mod">
          <ac:chgData name="Aniket Chhabra" userId="598e0514-bef3-4e71-b6aa-f2edd6441cff" providerId="ADAL" clId="{935EF258-ACF9-4C40-8F27-4828ABBE04AA}" dt="2023-01-28T05:17:53.233" v="444"/>
          <ac:inkMkLst>
            <pc:docMk/>
            <pc:sldMk cId="3090271849" sldId="287"/>
            <ac:inkMk id="26" creationId="{573C71FF-FDA5-1C11-404A-D870317354B4}"/>
          </ac:inkMkLst>
        </pc:inkChg>
        <pc:inkChg chg="del mod">
          <ac:chgData name="Aniket Chhabra" userId="598e0514-bef3-4e71-b6aa-f2edd6441cff" providerId="ADAL" clId="{935EF258-ACF9-4C40-8F27-4828ABBE04AA}" dt="2023-01-28T05:17:53.234" v="450"/>
          <ac:inkMkLst>
            <pc:docMk/>
            <pc:sldMk cId="3090271849" sldId="287"/>
            <ac:inkMk id="27" creationId="{8C527A7F-F131-F2EC-C0E7-B5F6D5FE9BD5}"/>
          </ac:inkMkLst>
        </pc:inkChg>
        <pc:inkChg chg="del mod">
          <ac:chgData name="Aniket Chhabra" userId="598e0514-bef3-4e71-b6aa-f2edd6441cff" providerId="ADAL" clId="{935EF258-ACF9-4C40-8F27-4828ABBE04AA}" dt="2023-01-28T05:17:53.233" v="445"/>
          <ac:inkMkLst>
            <pc:docMk/>
            <pc:sldMk cId="3090271849" sldId="287"/>
            <ac:inkMk id="28" creationId="{C6671E02-739C-386B-8B7B-B05784596302}"/>
          </ac:inkMkLst>
        </pc:inkChg>
        <pc:inkChg chg="del mod">
          <ac:chgData name="Aniket Chhabra" userId="598e0514-bef3-4e71-b6aa-f2edd6441cff" providerId="ADAL" clId="{935EF258-ACF9-4C40-8F27-4828ABBE04AA}" dt="2023-01-28T05:17:53.234" v="449"/>
          <ac:inkMkLst>
            <pc:docMk/>
            <pc:sldMk cId="3090271849" sldId="287"/>
            <ac:inkMk id="29" creationId="{0CA4C9A4-7115-8E7E-5FA1-1994809B5842}"/>
          </ac:inkMkLst>
        </pc:inkChg>
        <pc:inkChg chg="add del">
          <ac:chgData name="Aniket Chhabra" userId="598e0514-bef3-4e71-b6aa-f2edd6441cff" providerId="ADAL" clId="{935EF258-ACF9-4C40-8F27-4828ABBE04AA}" dt="2023-01-28T05:17:49.515" v="428"/>
          <ac:inkMkLst>
            <pc:docMk/>
            <pc:sldMk cId="3090271849" sldId="287"/>
            <ac:inkMk id="31" creationId="{5A8134F1-9D39-93E1-1D65-F1B4EDCED048}"/>
          </ac:inkMkLst>
        </pc:inkChg>
        <pc:inkChg chg="add del">
          <ac:chgData name="Aniket Chhabra" userId="598e0514-bef3-4e71-b6aa-f2edd6441cff" providerId="ADAL" clId="{935EF258-ACF9-4C40-8F27-4828ABBE04AA}" dt="2023-01-28T05:17:49.515" v="429"/>
          <ac:inkMkLst>
            <pc:docMk/>
            <pc:sldMk cId="3090271849" sldId="287"/>
            <ac:inkMk id="32" creationId="{3733951F-38A1-4A4C-513D-D23C34B708BD}"/>
          </ac:inkMkLst>
        </pc:inkChg>
        <pc:inkChg chg="add del">
          <ac:chgData name="Aniket Chhabra" userId="598e0514-bef3-4e71-b6aa-f2edd6441cff" providerId="ADAL" clId="{935EF258-ACF9-4C40-8F27-4828ABBE04AA}" dt="2023-01-28T05:17:49.514" v="426"/>
          <ac:inkMkLst>
            <pc:docMk/>
            <pc:sldMk cId="3090271849" sldId="287"/>
            <ac:inkMk id="33" creationId="{72671836-A27F-332F-3F9C-0BDE061535D1}"/>
          </ac:inkMkLst>
        </pc:inkChg>
        <pc:inkChg chg="add del mod">
          <ac:chgData name="Aniket Chhabra" userId="598e0514-bef3-4e71-b6aa-f2edd6441cff" providerId="ADAL" clId="{935EF258-ACF9-4C40-8F27-4828ABBE04AA}" dt="2023-01-28T05:17:49.516" v="436"/>
          <ac:inkMkLst>
            <pc:docMk/>
            <pc:sldMk cId="3090271849" sldId="287"/>
            <ac:inkMk id="34" creationId="{E49A88AB-FFF8-72B5-DD56-CBF0B854B578}"/>
          </ac:inkMkLst>
        </pc:inkChg>
        <pc:inkChg chg="add del mod">
          <ac:chgData name="Aniket Chhabra" userId="598e0514-bef3-4e71-b6aa-f2edd6441cff" providerId="ADAL" clId="{935EF258-ACF9-4C40-8F27-4828ABBE04AA}" dt="2023-01-28T05:17:49.516" v="437"/>
          <ac:inkMkLst>
            <pc:docMk/>
            <pc:sldMk cId="3090271849" sldId="287"/>
            <ac:inkMk id="35" creationId="{3308638B-B7D0-F6A9-DFA9-3C8C21511334}"/>
          </ac:inkMkLst>
        </pc:inkChg>
        <pc:inkChg chg="add del mod">
          <ac:chgData name="Aniket Chhabra" userId="598e0514-bef3-4e71-b6aa-f2edd6441cff" providerId="ADAL" clId="{935EF258-ACF9-4C40-8F27-4828ABBE04AA}" dt="2023-01-28T05:17:49.516" v="434"/>
          <ac:inkMkLst>
            <pc:docMk/>
            <pc:sldMk cId="3090271849" sldId="287"/>
            <ac:inkMk id="37" creationId="{5E894B98-2695-6975-707C-3CB4FB513A00}"/>
          </ac:inkMkLst>
        </pc:inkChg>
        <pc:inkChg chg="add">
          <ac:chgData name="Aniket Chhabra" userId="598e0514-bef3-4e71-b6aa-f2edd6441cff" providerId="ADAL" clId="{935EF258-ACF9-4C40-8F27-4828ABBE04AA}" dt="2023-01-28T05:18:02.577" v="452" actId="9405"/>
          <ac:inkMkLst>
            <pc:docMk/>
            <pc:sldMk cId="3090271849" sldId="287"/>
            <ac:inkMk id="39" creationId="{52158227-3224-E673-FF6B-261AE79DD7B4}"/>
          </ac:inkMkLst>
        </pc:inkChg>
        <pc:inkChg chg="add">
          <ac:chgData name="Aniket Chhabra" userId="598e0514-bef3-4e71-b6aa-f2edd6441cff" providerId="ADAL" clId="{935EF258-ACF9-4C40-8F27-4828ABBE04AA}" dt="2023-01-28T05:18:07.754" v="453" actId="9405"/>
          <ac:inkMkLst>
            <pc:docMk/>
            <pc:sldMk cId="3090271849" sldId="287"/>
            <ac:inkMk id="40" creationId="{8B17A602-9D3A-F25F-3807-654D23A63DD1}"/>
          </ac:inkMkLst>
        </pc:inkChg>
        <pc:inkChg chg="add mod">
          <ac:chgData name="Aniket Chhabra" userId="598e0514-bef3-4e71-b6aa-f2edd6441cff" providerId="ADAL" clId="{935EF258-ACF9-4C40-8F27-4828ABBE04AA}" dt="2023-01-28T05:18:30.343" v="458"/>
          <ac:inkMkLst>
            <pc:docMk/>
            <pc:sldMk cId="3090271849" sldId="287"/>
            <ac:inkMk id="41" creationId="{092D0DC5-91C3-D4E1-D1D6-87B74D8C4D7E}"/>
          </ac:inkMkLst>
        </pc:inkChg>
        <pc:inkChg chg="add mod">
          <ac:chgData name="Aniket Chhabra" userId="598e0514-bef3-4e71-b6aa-f2edd6441cff" providerId="ADAL" clId="{935EF258-ACF9-4C40-8F27-4828ABBE04AA}" dt="2023-01-28T05:18:30.343" v="458"/>
          <ac:inkMkLst>
            <pc:docMk/>
            <pc:sldMk cId="3090271849" sldId="287"/>
            <ac:inkMk id="42" creationId="{2EF8A7AB-3D88-6A1D-088D-DC7DB9FF24C0}"/>
          </ac:inkMkLst>
        </pc:inkChg>
        <pc:inkChg chg="add mod">
          <ac:chgData name="Aniket Chhabra" userId="598e0514-bef3-4e71-b6aa-f2edd6441cff" providerId="ADAL" clId="{935EF258-ACF9-4C40-8F27-4828ABBE04AA}" dt="2023-01-28T05:18:30.343" v="458"/>
          <ac:inkMkLst>
            <pc:docMk/>
            <pc:sldMk cId="3090271849" sldId="287"/>
            <ac:inkMk id="44" creationId="{182403CF-FD9C-596B-261D-593B47DD2178}"/>
          </ac:inkMkLst>
        </pc:inkChg>
        <pc:inkChg chg="add">
          <ac:chgData name="Aniket Chhabra" userId="598e0514-bef3-4e71-b6aa-f2edd6441cff" providerId="ADAL" clId="{935EF258-ACF9-4C40-8F27-4828ABBE04AA}" dt="2023-01-28T05:18:38.084" v="459" actId="9405"/>
          <ac:inkMkLst>
            <pc:docMk/>
            <pc:sldMk cId="3090271849" sldId="287"/>
            <ac:inkMk id="46" creationId="{1EDF7F99-6CDD-8802-3BDB-38F402A96AEE}"/>
          </ac:inkMkLst>
        </pc:inkChg>
        <pc:inkChg chg="add">
          <ac:chgData name="Aniket Chhabra" userId="598e0514-bef3-4e71-b6aa-f2edd6441cff" providerId="ADAL" clId="{935EF258-ACF9-4C40-8F27-4828ABBE04AA}" dt="2023-01-28T05:18:41.882" v="460" actId="9405"/>
          <ac:inkMkLst>
            <pc:docMk/>
            <pc:sldMk cId="3090271849" sldId="287"/>
            <ac:inkMk id="47" creationId="{B823A015-E347-074E-CE72-0D4E33C377E0}"/>
          </ac:inkMkLst>
        </pc:inkChg>
        <pc:inkChg chg="add mod">
          <ac:chgData name="Aniket Chhabra" userId="598e0514-bef3-4e71-b6aa-f2edd6441cff" providerId="ADAL" clId="{935EF258-ACF9-4C40-8F27-4828ABBE04AA}" dt="2023-01-28T05:19:16.827" v="509"/>
          <ac:inkMkLst>
            <pc:docMk/>
            <pc:sldMk cId="3090271849" sldId="287"/>
            <ac:inkMk id="48" creationId="{A8E86A4C-256C-A80F-E5D3-06AA7CEB130F}"/>
          </ac:inkMkLst>
        </pc:inkChg>
        <pc:inkChg chg="add mod">
          <ac:chgData name="Aniket Chhabra" userId="598e0514-bef3-4e71-b6aa-f2edd6441cff" providerId="ADAL" clId="{935EF258-ACF9-4C40-8F27-4828ABBE04AA}" dt="2023-01-28T05:19:16.827" v="509"/>
          <ac:inkMkLst>
            <pc:docMk/>
            <pc:sldMk cId="3090271849" sldId="287"/>
            <ac:inkMk id="49" creationId="{68ACAA6B-E0E5-8797-1FA0-08FDCCDBE61E}"/>
          </ac:inkMkLst>
        </pc:inkChg>
        <pc:inkChg chg="add mod">
          <ac:chgData name="Aniket Chhabra" userId="598e0514-bef3-4e71-b6aa-f2edd6441cff" providerId="ADAL" clId="{935EF258-ACF9-4C40-8F27-4828ABBE04AA}" dt="2023-01-28T05:19:16.827" v="509"/>
          <ac:inkMkLst>
            <pc:docMk/>
            <pc:sldMk cId="3090271849" sldId="287"/>
            <ac:inkMk id="50" creationId="{425E80A1-B895-C80B-2879-A34858800854}"/>
          </ac:inkMkLst>
        </pc:inkChg>
        <pc:inkChg chg="add mod">
          <ac:chgData name="Aniket Chhabra" userId="598e0514-bef3-4e71-b6aa-f2edd6441cff" providerId="ADAL" clId="{935EF258-ACF9-4C40-8F27-4828ABBE04AA}" dt="2023-01-28T05:19:16.827" v="509"/>
          <ac:inkMkLst>
            <pc:docMk/>
            <pc:sldMk cId="3090271849" sldId="287"/>
            <ac:inkMk id="51" creationId="{BB861F8E-5B60-2A32-1D26-92E36FEDCD58}"/>
          </ac:inkMkLst>
        </pc:inkChg>
        <pc:inkChg chg="add mod">
          <ac:chgData name="Aniket Chhabra" userId="598e0514-bef3-4e71-b6aa-f2edd6441cff" providerId="ADAL" clId="{935EF258-ACF9-4C40-8F27-4828ABBE04AA}" dt="2023-01-28T05:19:16.827" v="509"/>
          <ac:inkMkLst>
            <pc:docMk/>
            <pc:sldMk cId="3090271849" sldId="287"/>
            <ac:inkMk id="52" creationId="{3D412B7E-8E5C-7889-37CD-5B9EEA773311}"/>
          </ac:inkMkLst>
        </pc:inkChg>
        <pc:inkChg chg="add mod">
          <ac:chgData name="Aniket Chhabra" userId="598e0514-bef3-4e71-b6aa-f2edd6441cff" providerId="ADAL" clId="{935EF258-ACF9-4C40-8F27-4828ABBE04AA}" dt="2023-01-28T05:19:16.827" v="509"/>
          <ac:inkMkLst>
            <pc:docMk/>
            <pc:sldMk cId="3090271849" sldId="287"/>
            <ac:inkMk id="53" creationId="{BBC638DF-65AA-E709-041A-C5A74384B31A}"/>
          </ac:inkMkLst>
        </pc:inkChg>
        <pc:inkChg chg="add mod">
          <ac:chgData name="Aniket Chhabra" userId="598e0514-bef3-4e71-b6aa-f2edd6441cff" providerId="ADAL" clId="{935EF258-ACF9-4C40-8F27-4828ABBE04AA}" dt="2023-01-28T05:19:16.827" v="509"/>
          <ac:inkMkLst>
            <pc:docMk/>
            <pc:sldMk cId="3090271849" sldId="287"/>
            <ac:inkMk id="54" creationId="{9EE83EDD-52E4-62BA-C36A-84C192877541}"/>
          </ac:inkMkLst>
        </pc:inkChg>
        <pc:inkChg chg="add mod">
          <ac:chgData name="Aniket Chhabra" userId="598e0514-bef3-4e71-b6aa-f2edd6441cff" providerId="ADAL" clId="{935EF258-ACF9-4C40-8F27-4828ABBE04AA}" dt="2023-01-28T05:19:16.827" v="509"/>
          <ac:inkMkLst>
            <pc:docMk/>
            <pc:sldMk cId="3090271849" sldId="287"/>
            <ac:inkMk id="55" creationId="{D128C51E-C7B7-2E4C-5529-814D9DD0A82F}"/>
          </ac:inkMkLst>
        </pc:inkChg>
        <pc:inkChg chg="add mod">
          <ac:chgData name="Aniket Chhabra" userId="598e0514-bef3-4e71-b6aa-f2edd6441cff" providerId="ADAL" clId="{935EF258-ACF9-4C40-8F27-4828ABBE04AA}" dt="2023-01-28T05:19:16.827" v="509"/>
          <ac:inkMkLst>
            <pc:docMk/>
            <pc:sldMk cId="3090271849" sldId="287"/>
            <ac:inkMk id="56" creationId="{B066E43C-5F05-8BA5-3552-BD9EC304EF99}"/>
          </ac:inkMkLst>
        </pc:inkChg>
        <pc:inkChg chg="add mod">
          <ac:chgData name="Aniket Chhabra" userId="598e0514-bef3-4e71-b6aa-f2edd6441cff" providerId="ADAL" clId="{935EF258-ACF9-4C40-8F27-4828ABBE04AA}" dt="2023-01-28T05:19:16.827" v="509"/>
          <ac:inkMkLst>
            <pc:docMk/>
            <pc:sldMk cId="3090271849" sldId="287"/>
            <ac:inkMk id="57" creationId="{904F1C3B-B558-296D-BF0B-DF5064D1285D}"/>
          </ac:inkMkLst>
        </pc:inkChg>
        <pc:inkChg chg="add mod">
          <ac:chgData name="Aniket Chhabra" userId="598e0514-bef3-4e71-b6aa-f2edd6441cff" providerId="ADAL" clId="{935EF258-ACF9-4C40-8F27-4828ABBE04AA}" dt="2023-01-28T05:19:16.827" v="509"/>
          <ac:inkMkLst>
            <pc:docMk/>
            <pc:sldMk cId="3090271849" sldId="287"/>
            <ac:inkMk id="58" creationId="{84104513-5FBF-8733-9D68-EB8C5E9165D4}"/>
          </ac:inkMkLst>
        </pc:inkChg>
        <pc:inkChg chg="add mod">
          <ac:chgData name="Aniket Chhabra" userId="598e0514-bef3-4e71-b6aa-f2edd6441cff" providerId="ADAL" clId="{935EF258-ACF9-4C40-8F27-4828ABBE04AA}" dt="2023-01-28T05:19:00.536" v="481"/>
          <ac:inkMkLst>
            <pc:docMk/>
            <pc:sldMk cId="3090271849" sldId="287"/>
            <ac:inkMk id="60" creationId="{3F02CB52-AFB9-C48F-7C67-5F5E39EB108E}"/>
          </ac:inkMkLst>
        </pc:inkChg>
        <pc:inkChg chg="add mod">
          <ac:chgData name="Aniket Chhabra" userId="598e0514-bef3-4e71-b6aa-f2edd6441cff" providerId="ADAL" clId="{935EF258-ACF9-4C40-8F27-4828ABBE04AA}" dt="2023-01-28T05:19:00.536" v="481"/>
          <ac:inkMkLst>
            <pc:docMk/>
            <pc:sldMk cId="3090271849" sldId="287"/>
            <ac:inkMk id="61" creationId="{ABBFB1AB-E557-5ACA-47DE-5B3802E20EE0}"/>
          </ac:inkMkLst>
        </pc:inkChg>
        <pc:inkChg chg="add mod">
          <ac:chgData name="Aniket Chhabra" userId="598e0514-bef3-4e71-b6aa-f2edd6441cff" providerId="ADAL" clId="{935EF258-ACF9-4C40-8F27-4828ABBE04AA}" dt="2023-01-28T05:19:00.536" v="481"/>
          <ac:inkMkLst>
            <pc:docMk/>
            <pc:sldMk cId="3090271849" sldId="287"/>
            <ac:inkMk id="62" creationId="{EAE2E439-D07B-78C4-5C36-62F6D78A1042}"/>
          </ac:inkMkLst>
        </pc:inkChg>
        <pc:inkChg chg="add mod">
          <ac:chgData name="Aniket Chhabra" userId="598e0514-bef3-4e71-b6aa-f2edd6441cff" providerId="ADAL" clId="{935EF258-ACF9-4C40-8F27-4828ABBE04AA}" dt="2023-01-28T05:19:00.536" v="481"/>
          <ac:inkMkLst>
            <pc:docMk/>
            <pc:sldMk cId="3090271849" sldId="287"/>
            <ac:inkMk id="63" creationId="{2BDCB6B6-A2DC-3ED6-C38D-8FF9E82ED578}"/>
          </ac:inkMkLst>
        </pc:inkChg>
        <pc:inkChg chg="add mod">
          <ac:chgData name="Aniket Chhabra" userId="598e0514-bef3-4e71-b6aa-f2edd6441cff" providerId="ADAL" clId="{935EF258-ACF9-4C40-8F27-4828ABBE04AA}" dt="2023-01-28T05:19:00.536" v="481"/>
          <ac:inkMkLst>
            <pc:docMk/>
            <pc:sldMk cId="3090271849" sldId="287"/>
            <ac:inkMk id="64" creationId="{D238A2F9-EE40-F7F5-2B6B-F0A2AF20747E}"/>
          </ac:inkMkLst>
        </pc:inkChg>
        <pc:inkChg chg="add mod">
          <ac:chgData name="Aniket Chhabra" userId="598e0514-bef3-4e71-b6aa-f2edd6441cff" providerId="ADAL" clId="{935EF258-ACF9-4C40-8F27-4828ABBE04AA}" dt="2023-01-28T05:19:00.536" v="481"/>
          <ac:inkMkLst>
            <pc:docMk/>
            <pc:sldMk cId="3090271849" sldId="287"/>
            <ac:inkMk id="65" creationId="{D31DFAAB-A0B2-B19D-959C-0893B6A6CB89}"/>
          </ac:inkMkLst>
        </pc:inkChg>
        <pc:inkChg chg="add mod">
          <ac:chgData name="Aniket Chhabra" userId="598e0514-bef3-4e71-b6aa-f2edd6441cff" providerId="ADAL" clId="{935EF258-ACF9-4C40-8F27-4828ABBE04AA}" dt="2023-01-28T05:19:00.536" v="481"/>
          <ac:inkMkLst>
            <pc:docMk/>
            <pc:sldMk cId="3090271849" sldId="287"/>
            <ac:inkMk id="66" creationId="{143B0548-860F-3EB5-757A-DB1D3CEA9083}"/>
          </ac:inkMkLst>
        </pc:inkChg>
        <pc:inkChg chg="add mod">
          <ac:chgData name="Aniket Chhabra" userId="598e0514-bef3-4e71-b6aa-f2edd6441cff" providerId="ADAL" clId="{935EF258-ACF9-4C40-8F27-4828ABBE04AA}" dt="2023-01-28T05:19:00.536" v="481"/>
          <ac:inkMkLst>
            <pc:docMk/>
            <pc:sldMk cId="3090271849" sldId="287"/>
            <ac:inkMk id="67" creationId="{B4683B63-C90F-9972-750C-F85F3C7E4C96}"/>
          </ac:inkMkLst>
        </pc:inkChg>
        <pc:inkChg chg="add mod">
          <ac:chgData name="Aniket Chhabra" userId="598e0514-bef3-4e71-b6aa-f2edd6441cff" providerId="ADAL" clId="{935EF258-ACF9-4C40-8F27-4828ABBE04AA}" dt="2023-01-28T05:19:15.335" v="507"/>
          <ac:inkMkLst>
            <pc:docMk/>
            <pc:sldMk cId="3090271849" sldId="287"/>
            <ac:inkMk id="69" creationId="{F6CE6882-5915-D613-1837-C810680B3CBF}"/>
          </ac:inkMkLst>
        </pc:inkChg>
        <pc:inkChg chg="add mod">
          <ac:chgData name="Aniket Chhabra" userId="598e0514-bef3-4e71-b6aa-f2edd6441cff" providerId="ADAL" clId="{935EF258-ACF9-4C40-8F27-4828ABBE04AA}" dt="2023-01-28T05:19:15.335" v="507"/>
          <ac:inkMkLst>
            <pc:docMk/>
            <pc:sldMk cId="3090271849" sldId="287"/>
            <ac:inkMk id="70" creationId="{811FE10C-5EB4-DA20-4AC6-053D249A79C8}"/>
          </ac:inkMkLst>
        </pc:inkChg>
        <pc:inkChg chg="add mod">
          <ac:chgData name="Aniket Chhabra" userId="598e0514-bef3-4e71-b6aa-f2edd6441cff" providerId="ADAL" clId="{935EF258-ACF9-4C40-8F27-4828ABBE04AA}" dt="2023-01-28T05:19:15.335" v="507"/>
          <ac:inkMkLst>
            <pc:docMk/>
            <pc:sldMk cId="3090271849" sldId="287"/>
            <ac:inkMk id="71" creationId="{5ADF311F-DEF6-16C0-D5DE-2BDC48AC6BF5}"/>
          </ac:inkMkLst>
        </pc:inkChg>
        <pc:inkChg chg="add mod">
          <ac:chgData name="Aniket Chhabra" userId="598e0514-bef3-4e71-b6aa-f2edd6441cff" providerId="ADAL" clId="{935EF258-ACF9-4C40-8F27-4828ABBE04AA}" dt="2023-01-28T05:19:15.335" v="507"/>
          <ac:inkMkLst>
            <pc:docMk/>
            <pc:sldMk cId="3090271849" sldId="287"/>
            <ac:inkMk id="72" creationId="{A7CACE33-3713-68FF-20DF-E6384AF8B7AC}"/>
          </ac:inkMkLst>
        </pc:inkChg>
        <pc:inkChg chg="add mod">
          <ac:chgData name="Aniket Chhabra" userId="598e0514-bef3-4e71-b6aa-f2edd6441cff" providerId="ADAL" clId="{935EF258-ACF9-4C40-8F27-4828ABBE04AA}" dt="2023-01-28T05:19:15.335" v="507"/>
          <ac:inkMkLst>
            <pc:docMk/>
            <pc:sldMk cId="3090271849" sldId="287"/>
            <ac:inkMk id="73" creationId="{67FE70C2-4315-1548-50DF-E12EEA7EC039}"/>
          </ac:inkMkLst>
        </pc:inkChg>
        <pc:inkChg chg="add mod">
          <ac:chgData name="Aniket Chhabra" userId="598e0514-bef3-4e71-b6aa-f2edd6441cff" providerId="ADAL" clId="{935EF258-ACF9-4C40-8F27-4828ABBE04AA}" dt="2023-01-28T05:19:15.335" v="507"/>
          <ac:inkMkLst>
            <pc:docMk/>
            <pc:sldMk cId="3090271849" sldId="287"/>
            <ac:inkMk id="74" creationId="{7AD46C5E-FC2D-4E67-B1CF-FB9A325BEFBD}"/>
          </ac:inkMkLst>
        </pc:inkChg>
        <pc:inkChg chg="add mod">
          <ac:chgData name="Aniket Chhabra" userId="598e0514-bef3-4e71-b6aa-f2edd6441cff" providerId="ADAL" clId="{935EF258-ACF9-4C40-8F27-4828ABBE04AA}" dt="2023-01-28T05:19:15.335" v="507"/>
          <ac:inkMkLst>
            <pc:docMk/>
            <pc:sldMk cId="3090271849" sldId="287"/>
            <ac:inkMk id="75" creationId="{7905194A-CBC3-0D00-8BF7-7A94C4391F3A}"/>
          </ac:inkMkLst>
        </pc:inkChg>
        <pc:inkChg chg="add mod">
          <ac:chgData name="Aniket Chhabra" userId="598e0514-bef3-4e71-b6aa-f2edd6441cff" providerId="ADAL" clId="{935EF258-ACF9-4C40-8F27-4828ABBE04AA}" dt="2023-01-28T05:19:15.335" v="507"/>
          <ac:inkMkLst>
            <pc:docMk/>
            <pc:sldMk cId="3090271849" sldId="287"/>
            <ac:inkMk id="78" creationId="{ABADD1B9-58E2-A1EB-B685-3F99B9C685DF}"/>
          </ac:inkMkLst>
        </pc:inkChg>
        <pc:inkChg chg="add mod">
          <ac:chgData name="Aniket Chhabra" userId="598e0514-bef3-4e71-b6aa-f2edd6441cff" providerId="ADAL" clId="{935EF258-ACF9-4C40-8F27-4828ABBE04AA}" dt="2023-01-28T05:19:15.335" v="507"/>
          <ac:inkMkLst>
            <pc:docMk/>
            <pc:sldMk cId="3090271849" sldId="287"/>
            <ac:inkMk id="79" creationId="{02473758-C254-2519-4A7E-EB55D9658C2B}"/>
          </ac:inkMkLst>
        </pc:inkChg>
        <pc:inkChg chg="add mod">
          <ac:chgData name="Aniket Chhabra" userId="598e0514-bef3-4e71-b6aa-f2edd6441cff" providerId="ADAL" clId="{935EF258-ACF9-4C40-8F27-4828ABBE04AA}" dt="2023-01-28T05:19:15.335" v="507"/>
          <ac:inkMkLst>
            <pc:docMk/>
            <pc:sldMk cId="3090271849" sldId="287"/>
            <ac:inkMk id="80" creationId="{A19F2677-D8C1-F1F3-907C-27839E19F95E}"/>
          </ac:inkMkLst>
        </pc:inkChg>
        <pc:inkChg chg="add mod">
          <ac:chgData name="Aniket Chhabra" userId="598e0514-bef3-4e71-b6aa-f2edd6441cff" providerId="ADAL" clId="{935EF258-ACF9-4C40-8F27-4828ABBE04AA}" dt="2023-01-28T05:19:15.335" v="507"/>
          <ac:inkMkLst>
            <pc:docMk/>
            <pc:sldMk cId="3090271849" sldId="287"/>
            <ac:inkMk id="81" creationId="{862D5809-24BE-29E9-D205-E59FB40FD0E5}"/>
          </ac:inkMkLst>
        </pc:inkChg>
        <pc:inkChg chg="add mod">
          <ac:chgData name="Aniket Chhabra" userId="598e0514-bef3-4e71-b6aa-f2edd6441cff" providerId="ADAL" clId="{935EF258-ACF9-4C40-8F27-4828ABBE04AA}" dt="2023-01-28T05:19:15.335" v="507"/>
          <ac:inkMkLst>
            <pc:docMk/>
            <pc:sldMk cId="3090271849" sldId="287"/>
            <ac:inkMk id="82" creationId="{BC6AA2F0-0156-EC91-0170-A9269A09C263}"/>
          </ac:inkMkLst>
        </pc:inkChg>
        <pc:inkChg chg="add mod">
          <ac:chgData name="Aniket Chhabra" userId="598e0514-bef3-4e71-b6aa-f2edd6441cff" providerId="ADAL" clId="{935EF258-ACF9-4C40-8F27-4828ABBE04AA}" dt="2023-01-28T05:19:15.335" v="507"/>
          <ac:inkMkLst>
            <pc:docMk/>
            <pc:sldMk cId="3090271849" sldId="287"/>
            <ac:inkMk id="83" creationId="{F4E3E7D8-E644-CABC-6672-C989374B9F29}"/>
          </ac:inkMkLst>
        </pc:inkChg>
        <pc:inkChg chg="add mod">
          <ac:chgData name="Aniket Chhabra" userId="598e0514-bef3-4e71-b6aa-f2edd6441cff" providerId="ADAL" clId="{935EF258-ACF9-4C40-8F27-4828ABBE04AA}" dt="2023-01-28T05:19:15.335" v="507"/>
          <ac:inkMkLst>
            <pc:docMk/>
            <pc:sldMk cId="3090271849" sldId="287"/>
            <ac:inkMk id="84" creationId="{1A627ACF-7D7D-CC10-69EF-0BBC70604C05}"/>
          </ac:inkMkLst>
        </pc:inkChg>
        <pc:inkChg chg="add mod">
          <ac:chgData name="Aniket Chhabra" userId="598e0514-bef3-4e71-b6aa-f2edd6441cff" providerId="ADAL" clId="{935EF258-ACF9-4C40-8F27-4828ABBE04AA}" dt="2023-01-28T05:19:15.335" v="507"/>
          <ac:inkMkLst>
            <pc:docMk/>
            <pc:sldMk cId="3090271849" sldId="287"/>
            <ac:inkMk id="86" creationId="{4DC533DE-5809-22BB-D03B-11918A470335}"/>
          </ac:inkMkLst>
        </pc:inkChg>
        <pc:inkChg chg="add mod">
          <ac:chgData name="Aniket Chhabra" userId="598e0514-bef3-4e71-b6aa-f2edd6441cff" providerId="ADAL" clId="{935EF258-ACF9-4C40-8F27-4828ABBE04AA}" dt="2023-01-28T05:19:15.335" v="507"/>
          <ac:inkMkLst>
            <pc:docMk/>
            <pc:sldMk cId="3090271849" sldId="287"/>
            <ac:inkMk id="87" creationId="{0A4C2FB4-2CFF-BC51-E64B-E193326E13C2}"/>
          </ac:inkMkLst>
        </pc:inkChg>
        <pc:inkChg chg="add mod">
          <ac:chgData name="Aniket Chhabra" userId="598e0514-bef3-4e71-b6aa-f2edd6441cff" providerId="ADAL" clId="{935EF258-ACF9-4C40-8F27-4828ABBE04AA}" dt="2023-01-28T05:19:15.335" v="507"/>
          <ac:inkMkLst>
            <pc:docMk/>
            <pc:sldMk cId="3090271849" sldId="287"/>
            <ac:inkMk id="88" creationId="{735C62B9-28C6-C7AD-3514-DA71B64E3DA6}"/>
          </ac:inkMkLst>
        </pc:inkChg>
        <pc:inkChg chg="add mod">
          <ac:chgData name="Aniket Chhabra" userId="598e0514-bef3-4e71-b6aa-f2edd6441cff" providerId="ADAL" clId="{935EF258-ACF9-4C40-8F27-4828ABBE04AA}" dt="2023-01-28T05:19:15.335" v="507"/>
          <ac:inkMkLst>
            <pc:docMk/>
            <pc:sldMk cId="3090271849" sldId="287"/>
            <ac:inkMk id="89" creationId="{41531036-346E-5265-8BD1-BA37F3B83E3C}"/>
          </ac:inkMkLst>
        </pc:inkChg>
        <pc:inkChg chg="add mod">
          <ac:chgData name="Aniket Chhabra" userId="598e0514-bef3-4e71-b6aa-f2edd6441cff" providerId="ADAL" clId="{935EF258-ACF9-4C40-8F27-4828ABBE04AA}" dt="2023-01-28T05:19:15.335" v="507"/>
          <ac:inkMkLst>
            <pc:docMk/>
            <pc:sldMk cId="3090271849" sldId="287"/>
            <ac:inkMk id="90" creationId="{0C6831F5-8A73-88F2-FC66-FF386941C344}"/>
          </ac:inkMkLst>
        </pc:inkChg>
        <pc:inkChg chg="add mod">
          <ac:chgData name="Aniket Chhabra" userId="598e0514-bef3-4e71-b6aa-f2edd6441cff" providerId="ADAL" clId="{935EF258-ACF9-4C40-8F27-4828ABBE04AA}" dt="2023-01-28T05:19:15.335" v="507"/>
          <ac:inkMkLst>
            <pc:docMk/>
            <pc:sldMk cId="3090271849" sldId="287"/>
            <ac:inkMk id="92" creationId="{AD464ECC-0869-16B8-6051-679652056060}"/>
          </ac:inkMkLst>
        </pc:inkChg>
        <pc:inkChg chg="add mod">
          <ac:chgData name="Aniket Chhabra" userId="598e0514-bef3-4e71-b6aa-f2edd6441cff" providerId="ADAL" clId="{935EF258-ACF9-4C40-8F27-4828ABBE04AA}" dt="2023-01-28T05:19:15.335" v="507"/>
          <ac:inkMkLst>
            <pc:docMk/>
            <pc:sldMk cId="3090271849" sldId="287"/>
            <ac:inkMk id="93" creationId="{A996DC68-C238-280A-80EC-62533BA08A05}"/>
          </ac:inkMkLst>
        </pc:inkChg>
        <pc:inkChg chg="add mod">
          <ac:chgData name="Aniket Chhabra" userId="598e0514-bef3-4e71-b6aa-f2edd6441cff" providerId="ADAL" clId="{935EF258-ACF9-4C40-8F27-4828ABBE04AA}" dt="2023-01-28T05:19:15.335" v="507"/>
          <ac:inkMkLst>
            <pc:docMk/>
            <pc:sldMk cId="3090271849" sldId="287"/>
            <ac:inkMk id="94" creationId="{2154B789-35A0-F651-8E55-C722D90184F8}"/>
          </ac:inkMkLst>
        </pc:inkChg>
        <pc:inkChg chg="add mod">
          <ac:chgData name="Aniket Chhabra" userId="598e0514-bef3-4e71-b6aa-f2edd6441cff" providerId="ADAL" clId="{935EF258-ACF9-4C40-8F27-4828ABBE04AA}" dt="2023-01-28T05:19:16.827" v="509"/>
          <ac:inkMkLst>
            <pc:docMk/>
            <pc:sldMk cId="3090271849" sldId="287"/>
            <ac:inkMk id="96" creationId="{85E81247-6D69-6F2C-D68F-5CA9B1B9EF2D}"/>
          </ac:inkMkLst>
        </pc:inkChg>
        <pc:inkChg chg="add mod">
          <ac:chgData name="Aniket Chhabra" userId="598e0514-bef3-4e71-b6aa-f2edd6441cff" providerId="ADAL" clId="{935EF258-ACF9-4C40-8F27-4828ABBE04AA}" dt="2023-01-28T05:20:42.279" v="555"/>
          <ac:inkMkLst>
            <pc:docMk/>
            <pc:sldMk cId="3090271849" sldId="287"/>
            <ac:inkMk id="98" creationId="{E1B5BA29-CB15-784A-1319-098C03B188A8}"/>
          </ac:inkMkLst>
        </pc:inkChg>
        <pc:inkChg chg="add mod">
          <ac:chgData name="Aniket Chhabra" userId="598e0514-bef3-4e71-b6aa-f2edd6441cff" providerId="ADAL" clId="{935EF258-ACF9-4C40-8F27-4828ABBE04AA}" dt="2023-01-28T05:20:42.279" v="555"/>
          <ac:inkMkLst>
            <pc:docMk/>
            <pc:sldMk cId="3090271849" sldId="287"/>
            <ac:inkMk id="99" creationId="{AB14E799-4BE3-5B95-1D34-CFD1B75CE7C7}"/>
          </ac:inkMkLst>
        </pc:inkChg>
        <pc:inkChg chg="add mod">
          <ac:chgData name="Aniket Chhabra" userId="598e0514-bef3-4e71-b6aa-f2edd6441cff" providerId="ADAL" clId="{935EF258-ACF9-4C40-8F27-4828ABBE04AA}" dt="2023-01-28T05:20:42.279" v="555"/>
          <ac:inkMkLst>
            <pc:docMk/>
            <pc:sldMk cId="3090271849" sldId="287"/>
            <ac:inkMk id="101" creationId="{8890C9FB-1E8F-070B-97E5-3729D1D97395}"/>
          </ac:inkMkLst>
        </pc:inkChg>
        <pc:inkChg chg="add mod">
          <ac:chgData name="Aniket Chhabra" userId="598e0514-bef3-4e71-b6aa-f2edd6441cff" providerId="ADAL" clId="{935EF258-ACF9-4C40-8F27-4828ABBE04AA}" dt="2023-01-28T05:20:42.279" v="555"/>
          <ac:inkMkLst>
            <pc:docMk/>
            <pc:sldMk cId="3090271849" sldId="287"/>
            <ac:inkMk id="102" creationId="{4028808D-4FA7-0488-846C-55FBB8F18142}"/>
          </ac:inkMkLst>
        </pc:inkChg>
        <pc:inkChg chg="add mod">
          <ac:chgData name="Aniket Chhabra" userId="598e0514-bef3-4e71-b6aa-f2edd6441cff" providerId="ADAL" clId="{935EF258-ACF9-4C40-8F27-4828ABBE04AA}" dt="2023-01-28T05:20:42.279" v="555"/>
          <ac:inkMkLst>
            <pc:docMk/>
            <pc:sldMk cId="3090271849" sldId="287"/>
            <ac:inkMk id="103" creationId="{0EE2A943-5E45-7C30-4F03-DB2C088A7538}"/>
          </ac:inkMkLst>
        </pc:inkChg>
        <pc:inkChg chg="add mod">
          <ac:chgData name="Aniket Chhabra" userId="598e0514-bef3-4e71-b6aa-f2edd6441cff" providerId="ADAL" clId="{935EF258-ACF9-4C40-8F27-4828ABBE04AA}" dt="2023-01-28T05:20:42.279" v="555"/>
          <ac:inkMkLst>
            <pc:docMk/>
            <pc:sldMk cId="3090271849" sldId="287"/>
            <ac:inkMk id="104" creationId="{E3D7626A-1C40-8872-FC43-82B3CC2ACA3F}"/>
          </ac:inkMkLst>
        </pc:inkChg>
        <pc:inkChg chg="add mod">
          <ac:chgData name="Aniket Chhabra" userId="598e0514-bef3-4e71-b6aa-f2edd6441cff" providerId="ADAL" clId="{935EF258-ACF9-4C40-8F27-4828ABBE04AA}" dt="2023-01-28T05:20:42.279" v="555"/>
          <ac:inkMkLst>
            <pc:docMk/>
            <pc:sldMk cId="3090271849" sldId="287"/>
            <ac:inkMk id="105" creationId="{B020EE5F-1DF2-A3C0-901B-1AB073C6ED17}"/>
          </ac:inkMkLst>
        </pc:inkChg>
        <pc:inkChg chg="del">
          <ac:chgData name="Aniket Chhabra" userId="598e0514-bef3-4e71-b6aa-f2edd6441cff" providerId="ADAL" clId="{935EF258-ACF9-4C40-8F27-4828ABBE04AA}" dt="2023-01-28T05:17:49.515" v="432"/>
          <ac:inkMkLst>
            <pc:docMk/>
            <pc:sldMk cId="3090271849" sldId="287"/>
            <ac:inkMk id="107" creationId="{C4754391-06DE-19D9-79FC-F72F559DD56F}"/>
          </ac:inkMkLst>
        </pc:inkChg>
        <pc:inkChg chg="add mod">
          <ac:chgData name="Aniket Chhabra" userId="598e0514-bef3-4e71-b6aa-f2edd6441cff" providerId="ADAL" clId="{935EF258-ACF9-4C40-8F27-4828ABBE04AA}" dt="2023-01-28T05:20:42.279" v="555"/>
          <ac:inkMkLst>
            <pc:docMk/>
            <pc:sldMk cId="3090271849" sldId="287"/>
            <ac:inkMk id="108" creationId="{D73E7F67-86F7-CDA8-A9E2-313F1A30D460}"/>
          </ac:inkMkLst>
        </pc:inkChg>
        <pc:inkChg chg="add mod">
          <ac:chgData name="Aniket Chhabra" userId="598e0514-bef3-4e71-b6aa-f2edd6441cff" providerId="ADAL" clId="{935EF258-ACF9-4C40-8F27-4828ABBE04AA}" dt="2023-01-28T05:20:42.279" v="555"/>
          <ac:inkMkLst>
            <pc:docMk/>
            <pc:sldMk cId="3090271849" sldId="287"/>
            <ac:inkMk id="109" creationId="{709A7457-44F7-98E6-E169-EA6B25F65393}"/>
          </ac:inkMkLst>
        </pc:inkChg>
        <pc:inkChg chg="add mod">
          <ac:chgData name="Aniket Chhabra" userId="598e0514-bef3-4e71-b6aa-f2edd6441cff" providerId="ADAL" clId="{935EF258-ACF9-4C40-8F27-4828ABBE04AA}" dt="2023-01-28T05:20:42.279" v="555"/>
          <ac:inkMkLst>
            <pc:docMk/>
            <pc:sldMk cId="3090271849" sldId="287"/>
            <ac:inkMk id="110" creationId="{1C5C0F91-CECC-68DE-CC99-44324DA6A7E9}"/>
          </ac:inkMkLst>
        </pc:inkChg>
        <pc:inkChg chg="add mod">
          <ac:chgData name="Aniket Chhabra" userId="598e0514-bef3-4e71-b6aa-f2edd6441cff" providerId="ADAL" clId="{935EF258-ACF9-4C40-8F27-4828ABBE04AA}" dt="2023-01-28T05:20:42.279" v="555"/>
          <ac:inkMkLst>
            <pc:docMk/>
            <pc:sldMk cId="3090271849" sldId="287"/>
            <ac:inkMk id="111" creationId="{00D0539D-FAC6-0CB8-26D9-E56BB84C4218}"/>
          </ac:inkMkLst>
        </pc:inkChg>
        <pc:inkChg chg="add mod">
          <ac:chgData name="Aniket Chhabra" userId="598e0514-bef3-4e71-b6aa-f2edd6441cff" providerId="ADAL" clId="{935EF258-ACF9-4C40-8F27-4828ABBE04AA}" dt="2023-01-28T05:20:42.279" v="555"/>
          <ac:inkMkLst>
            <pc:docMk/>
            <pc:sldMk cId="3090271849" sldId="287"/>
            <ac:inkMk id="112" creationId="{822CE8C7-1881-5BD7-D764-DB0D2607EE73}"/>
          </ac:inkMkLst>
        </pc:inkChg>
        <pc:inkChg chg="add mod">
          <ac:chgData name="Aniket Chhabra" userId="598e0514-bef3-4e71-b6aa-f2edd6441cff" providerId="ADAL" clId="{935EF258-ACF9-4C40-8F27-4828ABBE04AA}" dt="2023-01-28T05:20:42.279" v="555"/>
          <ac:inkMkLst>
            <pc:docMk/>
            <pc:sldMk cId="3090271849" sldId="287"/>
            <ac:inkMk id="113" creationId="{9D0C6387-72C9-FAFD-4791-694B3F50C6B6}"/>
          </ac:inkMkLst>
        </pc:inkChg>
        <pc:inkChg chg="add mod">
          <ac:chgData name="Aniket Chhabra" userId="598e0514-bef3-4e71-b6aa-f2edd6441cff" providerId="ADAL" clId="{935EF258-ACF9-4C40-8F27-4828ABBE04AA}" dt="2023-01-28T05:20:42.279" v="555"/>
          <ac:inkMkLst>
            <pc:docMk/>
            <pc:sldMk cId="3090271849" sldId="287"/>
            <ac:inkMk id="114" creationId="{664185F9-9C0D-31A7-A4B7-7DBC2969DE96}"/>
          </ac:inkMkLst>
        </pc:inkChg>
        <pc:inkChg chg="add mod">
          <ac:chgData name="Aniket Chhabra" userId="598e0514-bef3-4e71-b6aa-f2edd6441cff" providerId="ADAL" clId="{935EF258-ACF9-4C40-8F27-4828ABBE04AA}" dt="2023-01-28T05:20:42.279" v="555"/>
          <ac:inkMkLst>
            <pc:docMk/>
            <pc:sldMk cId="3090271849" sldId="287"/>
            <ac:inkMk id="115" creationId="{40E3C56B-8F55-D9DD-2182-FA41A7537C28}"/>
          </ac:inkMkLst>
        </pc:inkChg>
        <pc:inkChg chg="add mod">
          <ac:chgData name="Aniket Chhabra" userId="598e0514-bef3-4e71-b6aa-f2edd6441cff" providerId="ADAL" clId="{935EF258-ACF9-4C40-8F27-4828ABBE04AA}" dt="2023-01-28T05:20:42.279" v="555"/>
          <ac:inkMkLst>
            <pc:docMk/>
            <pc:sldMk cId="3090271849" sldId="287"/>
            <ac:inkMk id="116" creationId="{02FDAF88-8FE2-DA41-DE0F-862676E02C51}"/>
          </ac:inkMkLst>
        </pc:inkChg>
        <pc:inkChg chg="add mod">
          <ac:chgData name="Aniket Chhabra" userId="598e0514-bef3-4e71-b6aa-f2edd6441cff" providerId="ADAL" clId="{935EF258-ACF9-4C40-8F27-4828ABBE04AA}" dt="2023-01-28T05:20:42.279" v="555"/>
          <ac:inkMkLst>
            <pc:docMk/>
            <pc:sldMk cId="3090271849" sldId="287"/>
            <ac:inkMk id="118" creationId="{9CD048A0-B996-7E48-B04F-C4B595DE5599}"/>
          </ac:inkMkLst>
        </pc:inkChg>
        <pc:inkChg chg="add mod">
          <ac:chgData name="Aniket Chhabra" userId="598e0514-bef3-4e71-b6aa-f2edd6441cff" providerId="ADAL" clId="{935EF258-ACF9-4C40-8F27-4828ABBE04AA}" dt="2023-01-28T05:20:42.279" v="555"/>
          <ac:inkMkLst>
            <pc:docMk/>
            <pc:sldMk cId="3090271849" sldId="287"/>
            <ac:inkMk id="119" creationId="{D6C90523-0F5C-3FC4-40FC-50C53F2472A8}"/>
          </ac:inkMkLst>
        </pc:inkChg>
        <pc:inkChg chg="add mod">
          <ac:chgData name="Aniket Chhabra" userId="598e0514-bef3-4e71-b6aa-f2edd6441cff" providerId="ADAL" clId="{935EF258-ACF9-4C40-8F27-4828ABBE04AA}" dt="2023-01-28T05:20:42.279" v="555"/>
          <ac:inkMkLst>
            <pc:docMk/>
            <pc:sldMk cId="3090271849" sldId="287"/>
            <ac:inkMk id="120" creationId="{D365E559-0C39-7B38-9DE3-8506934EDE3D}"/>
          </ac:inkMkLst>
        </pc:inkChg>
        <pc:inkChg chg="add mod">
          <ac:chgData name="Aniket Chhabra" userId="598e0514-bef3-4e71-b6aa-f2edd6441cff" providerId="ADAL" clId="{935EF258-ACF9-4C40-8F27-4828ABBE04AA}" dt="2023-01-28T05:20:42.279" v="555"/>
          <ac:inkMkLst>
            <pc:docMk/>
            <pc:sldMk cId="3090271849" sldId="287"/>
            <ac:inkMk id="121" creationId="{284946F6-9E07-2038-629F-B817683F5058}"/>
          </ac:inkMkLst>
        </pc:inkChg>
        <pc:inkChg chg="del">
          <ac:chgData name="Aniket Chhabra" userId="598e0514-bef3-4e71-b6aa-f2edd6441cff" providerId="ADAL" clId="{935EF258-ACF9-4C40-8F27-4828ABBE04AA}" dt="2023-01-28T05:17:53.234" v="446"/>
          <ac:inkMkLst>
            <pc:docMk/>
            <pc:sldMk cId="3090271849" sldId="287"/>
            <ac:inkMk id="159" creationId="{B114ECD7-157D-2BCB-E5B5-9052DB462A29}"/>
          </ac:inkMkLst>
        </pc:inkChg>
      </pc:sldChg>
      <pc:sldChg chg="addSp delSp modSp mod">
        <pc:chgData name="Aniket Chhabra" userId="598e0514-bef3-4e71-b6aa-f2edd6441cff" providerId="ADAL" clId="{935EF258-ACF9-4C40-8F27-4828ABBE04AA}" dt="2023-01-28T04:43:25.521" v="111"/>
        <pc:sldMkLst>
          <pc:docMk/>
          <pc:sldMk cId="3979036142" sldId="296"/>
        </pc:sldMkLst>
        <pc:grpChg chg="del mod">
          <ac:chgData name="Aniket Chhabra" userId="598e0514-bef3-4e71-b6aa-f2edd6441cff" providerId="ADAL" clId="{935EF258-ACF9-4C40-8F27-4828ABBE04AA}" dt="2023-01-28T04:42:10.824" v="70"/>
          <ac:grpSpMkLst>
            <pc:docMk/>
            <pc:sldMk cId="3979036142" sldId="296"/>
            <ac:grpSpMk id="29" creationId="{861D5401-A210-68D2-D78C-88F3A7B333F8}"/>
          </ac:grpSpMkLst>
        </pc:grpChg>
        <pc:grpChg chg="del mod">
          <ac:chgData name="Aniket Chhabra" userId="598e0514-bef3-4e71-b6aa-f2edd6441cff" providerId="ADAL" clId="{935EF258-ACF9-4C40-8F27-4828ABBE04AA}" dt="2023-01-28T04:41:48.522" v="27"/>
          <ac:grpSpMkLst>
            <pc:docMk/>
            <pc:sldMk cId="3979036142" sldId="296"/>
            <ac:grpSpMk id="38" creationId="{8863E949-E301-E42A-DDAF-BA1D636AD1ED}"/>
          </ac:grpSpMkLst>
        </pc:grpChg>
        <pc:grpChg chg="del mod">
          <ac:chgData name="Aniket Chhabra" userId="598e0514-bef3-4e71-b6aa-f2edd6441cff" providerId="ADAL" clId="{935EF258-ACF9-4C40-8F27-4828ABBE04AA}" dt="2023-01-28T04:41:58.884" v="47"/>
          <ac:grpSpMkLst>
            <pc:docMk/>
            <pc:sldMk cId="3979036142" sldId="296"/>
            <ac:grpSpMk id="47" creationId="{C79D323D-ADD3-3EDF-549A-E25AB2F53F1E}"/>
          </ac:grpSpMkLst>
        </pc:grpChg>
        <pc:grpChg chg="del mod">
          <ac:chgData name="Aniket Chhabra" userId="598e0514-bef3-4e71-b6aa-f2edd6441cff" providerId="ADAL" clId="{935EF258-ACF9-4C40-8F27-4828ABBE04AA}" dt="2023-01-28T04:42:10.824" v="70"/>
          <ac:grpSpMkLst>
            <pc:docMk/>
            <pc:sldMk cId="3979036142" sldId="296"/>
            <ac:grpSpMk id="48" creationId="{9E2C57E8-4C1B-D6E2-759A-813ADF2DC53A}"/>
          </ac:grpSpMkLst>
        </pc:grpChg>
        <pc:grpChg chg="del mod">
          <ac:chgData name="Aniket Chhabra" userId="598e0514-bef3-4e71-b6aa-f2edd6441cff" providerId="ADAL" clId="{935EF258-ACF9-4C40-8F27-4828ABBE04AA}" dt="2023-01-28T04:41:55.215" v="41"/>
          <ac:grpSpMkLst>
            <pc:docMk/>
            <pc:sldMk cId="3979036142" sldId="296"/>
            <ac:grpSpMk id="58" creationId="{914E47A0-4817-6041-4265-8092B18C6824}"/>
          </ac:grpSpMkLst>
        </pc:grpChg>
        <pc:grpChg chg="del mod">
          <ac:chgData name="Aniket Chhabra" userId="598e0514-bef3-4e71-b6aa-f2edd6441cff" providerId="ADAL" clId="{935EF258-ACF9-4C40-8F27-4828ABBE04AA}" dt="2023-01-28T04:42:10.824" v="70"/>
          <ac:grpSpMkLst>
            <pc:docMk/>
            <pc:sldMk cId="3979036142" sldId="296"/>
            <ac:grpSpMk id="62" creationId="{D5602E86-E78F-DA3D-7DCC-1D99EE67B260}"/>
          </ac:grpSpMkLst>
        </pc:grpChg>
        <pc:grpChg chg="del mod">
          <ac:chgData name="Aniket Chhabra" userId="598e0514-bef3-4e71-b6aa-f2edd6441cff" providerId="ADAL" clId="{935EF258-ACF9-4C40-8F27-4828ABBE04AA}" dt="2023-01-28T04:42:10.824" v="70"/>
          <ac:grpSpMkLst>
            <pc:docMk/>
            <pc:sldMk cId="3979036142" sldId="296"/>
            <ac:grpSpMk id="65" creationId="{4E03BAD5-F08F-2093-1498-7909A487BB63}"/>
          </ac:grpSpMkLst>
        </pc:grpChg>
        <pc:grpChg chg="del mod">
          <ac:chgData name="Aniket Chhabra" userId="598e0514-bef3-4e71-b6aa-f2edd6441cff" providerId="ADAL" clId="{935EF258-ACF9-4C40-8F27-4828ABBE04AA}" dt="2023-01-28T04:42:01.666" v="54"/>
          <ac:grpSpMkLst>
            <pc:docMk/>
            <pc:sldMk cId="3979036142" sldId="296"/>
            <ac:grpSpMk id="68" creationId="{1C992B69-468E-D3DD-0D57-FF7000CF66FF}"/>
          </ac:grpSpMkLst>
        </pc:grpChg>
        <pc:grpChg chg="del mod">
          <ac:chgData name="Aniket Chhabra" userId="598e0514-bef3-4e71-b6aa-f2edd6441cff" providerId="ADAL" clId="{935EF258-ACF9-4C40-8F27-4828ABBE04AA}" dt="2023-01-28T04:42:10.824" v="70"/>
          <ac:grpSpMkLst>
            <pc:docMk/>
            <pc:sldMk cId="3979036142" sldId="296"/>
            <ac:grpSpMk id="81" creationId="{D4E36F12-9ACD-2B93-FFC2-B657B47F4D6B}"/>
          </ac:grpSpMkLst>
        </pc:grpChg>
        <pc:grpChg chg="del mod">
          <ac:chgData name="Aniket Chhabra" userId="598e0514-bef3-4e71-b6aa-f2edd6441cff" providerId="ADAL" clId="{935EF258-ACF9-4C40-8F27-4828ABBE04AA}" dt="2023-01-28T04:42:10.824" v="70"/>
          <ac:grpSpMkLst>
            <pc:docMk/>
            <pc:sldMk cId="3979036142" sldId="296"/>
            <ac:grpSpMk id="82" creationId="{34C35E88-A297-4A64-692E-3243F501597F}"/>
          </ac:grpSpMkLst>
        </pc:grpChg>
        <pc:grpChg chg="del mod">
          <ac:chgData name="Aniket Chhabra" userId="598e0514-bef3-4e71-b6aa-f2edd6441cff" providerId="ADAL" clId="{935EF258-ACF9-4C40-8F27-4828ABBE04AA}" dt="2023-01-28T04:42:10.824" v="70"/>
          <ac:grpSpMkLst>
            <pc:docMk/>
            <pc:sldMk cId="3979036142" sldId="296"/>
            <ac:grpSpMk id="98" creationId="{2D2F4FB6-8B83-8B2F-B6EC-869AFBA53DE6}"/>
          </ac:grpSpMkLst>
        </pc:grpChg>
        <pc:grpChg chg="del mod">
          <ac:chgData name="Aniket Chhabra" userId="598e0514-bef3-4e71-b6aa-f2edd6441cff" providerId="ADAL" clId="{935EF258-ACF9-4C40-8F27-4828ABBE04AA}" dt="2023-01-28T04:42:10.824" v="70"/>
          <ac:grpSpMkLst>
            <pc:docMk/>
            <pc:sldMk cId="3979036142" sldId="296"/>
            <ac:grpSpMk id="99" creationId="{DCF22230-90B7-6670-1E12-000667A96F2F}"/>
          </ac:grpSpMkLst>
        </pc:grpChg>
        <pc:grpChg chg="del mod">
          <ac:chgData name="Aniket Chhabra" userId="598e0514-bef3-4e71-b6aa-f2edd6441cff" providerId="ADAL" clId="{935EF258-ACF9-4C40-8F27-4828ABBE04AA}" dt="2023-01-28T04:42:10.824" v="70"/>
          <ac:grpSpMkLst>
            <pc:docMk/>
            <pc:sldMk cId="3979036142" sldId="296"/>
            <ac:grpSpMk id="100" creationId="{38ED8E72-A185-7A39-9AFB-D50A86FF584F}"/>
          </ac:grpSpMkLst>
        </pc:grpChg>
        <pc:grpChg chg="del mod">
          <ac:chgData name="Aniket Chhabra" userId="598e0514-bef3-4e71-b6aa-f2edd6441cff" providerId="ADAL" clId="{935EF258-ACF9-4C40-8F27-4828ABBE04AA}" dt="2023-01-28T04:42:13.937" v="75"/>
          <ac:grpSpMkLst>
            <pc:docMk/>
            <pc:sldMk cId="3979036142" sldId="296"/>
            <ac:grpSpMk id="101" creationId="{B9D9509C-3CE5-A70D-D798-5B4B4B3E32A9}"/>
          </ac:grpSpMkLst>
        </pc:grpChg>
        <pc:grpChg chg="mod">
          <ac:chgData name="Aniket Chhabra" userId="598e0514-bef3-4e71-b6aa-f2edd6441cff" providerId="ADAL" clId="{935EF258-ACF9-4C40-8F27-4828ABBE04AA}" dt="2023-01-28T04:42:13.937" v="75"/>
          <ac:grpSpMkLst>
            <pc:docMk/>
            <pc:sldMk cId="3979036142" sldId="296"/>
            <ac:grpSpMk id="106" creationId="{587A1653-39B1-3E38-FD4B-99D90BEA5126}"/>
          </ac:grpSpMkLst>
        </pc:grpChg>
        <pc:grpChg chg="del mod">
          <ac:chgData name="Aniket Chhabra" userId="598e0514-bef3-4e71-b6aa-f2edd6441cff" providerId="ADAL" clId="{935EF258-ACF9-4C40-8F27-4828ABBE04AA}" dt="2023-01-28T04:43:25.521" v="111"/>
          <ac:grpSpMkLst>
            <pc:docMk/>
            <pc:sldMk cId="3979036142" sldId="296"/>
            <ac:grpSpMk id="111" creationId="{B1E0F3C7-B32D-1336-E34E-662140DEA774}"/>
          </ac:grpSpMkLst>
        </pc:grpChg>
        <pc:grpChg chg="del mod">
          <ac:chgData name="Aniket Chhabra" userId="598e0514-bef3-4e71-b6aa-f2edd6441cff" providerId="ADAL" clId="{935EF258-ACF9-4C40-8F27-4828ABBE04AA}" dt="2023-01-28T04:43:25.521" v="111"/>
          <ac:grpSpMkLst>
            <pc:docMk/>
            <pc:sldMk cId="3979036142" sldId="296"/>
            <ac:grpSpMk id="120" creationId="{AB36787F-1BCA-F2DB-8FA1-DCBDDD62ED78}"/>
          </ac:grpSpMkLst>
        </pc:grpChg>
        <pc:grpChg chg="del mod">
          <ac:chgData name="Aniket Chhabra" userId="598e0514-bef3-4e71-b6aa-f2edd6441cff" providerId="ADAL" clId="{935EF258-ACF9-4C40-8F27-4828ABBE04AA}" dt="2023-01-28T04:43:06.870" v="102"/>
          <ac:grpSpMkLst>
            <pc:docMk/>
            <pc:sldMk cId="3979036142" sldId="296"/>
            <ac:grpSpMk id="121" creationId="{C06E8731-565D-5A8A-827C-2AAD7CC5BC34}"/>
          </ac:grpSpMkLst>
        </pc:grpChg>
        <pc:grpChg chg="del mod">
          <ac:chgData name="Aniket Chhabra" userId="598e0514-bef3-4e71-b6aa-f2edd6441cff" providerId="ADAL" clId="{935EF258-ACF9-4C40-8F27-4828ABBE04AA}" dt="2023-01-28T04:43:25.521" v="111"/>
          <ac:grpSpMkLst>
            <pc:docMk/>
            <pc:sldMk cId="3979036142" sldId="296"/>
            <ac:grpSpMk id="134" creationId="{B9606E52-8BDF-A8FA-65A8-F6E3A6A9B725}"/>
          </ac:grpSpMkLst>
        </pc:grpChg>
        <pc:grpChg chg="mod">
          <ac:chgData name="Aniket Chhabra" userId="598e0514-bef3-4e71-b6aa-f2edd6441cff" providerId="ADAL" clId="{935EF258-ACF9-4C40-8F27-4828ABBE04AA}" dt="2023-01-28T04:43:25.521" v="111"/>
          <ac:grpSpMkLst>
            <pc:docMk/>
            <pc:sldMk cId="3979036142" sldId="296"/>
            <ac:grpSpMk id="143" creationId="{58623D91-C62C-AA50-0842-9ED12A11ACE9}"/>
          </ac:grpSpMkLst>
        </pc:grpChg>
        <pc:inkChg chg="add">
          <ac:chgData name="Aniket Chhabra" userId="598e0514-bef3-4e71-b6aa-f2edd6441cff" providerId="ADAL" clId="{935EF258-ACF9-4C40-8F27-4828ABBE04AA}" dt="2023-01-28T04:41:33.395" v="0" actId="9405"/>
          <ac:inkMkLst>
            <pc:docMk/>
            <pc:sldMk cId="3979036142" sldId="296"/>
            <ac:inkMk id="10" creationId="{8BABC922-A9E4-9D0B-E385-5AC691392682}"/>
          </ac:inkMkLst>
        </pc:inkChg>
        <pc:inkChg chg="add">
          <ac:chgData name="Aniket Chhabra" userId="598e0514-bef3-4e71-b6aa-f2edd6441cff" providerId="ADAL" clId="{935EF258-ACF9-4C40-8F27-4828ABBE04AA}" dt="2023-01-28T04:41:34.492" v="1" actId="9405"/>
          <ac:inkMkLst>
            <pc:docMk/>
            <pc:sldMk cId="3979036142" sldId="296"/>
            <ac:inkMk id="12" creationId="{18A93E18-A160-1B32-6E84-54C94D84B112}"/>
          </ac:inkMkLst>
        </pc:inkChg>
        <pc:inkChg chg="add">
          <ac:chgData name="Aniket Chhabra" userId="598e0514-bef3-4e71-b6aa-f2edd6441cff" providerId="ADAL" clId="{935EF258-ACF9-4C40-8F27-4828ABBE04AA}" dt="2023-01-28T04:41:35.057" v="2" actId="9405"/>
          <ac:inkMkLst>
            <pc:docMk/>
            <pc:sldMk cId="3979036142" sldId="296"/>
            <ac:inkMk id="17" creationId="{1A1FD346-6339-9814-1DB0-3D9A1E53B973}"/>
          </ac:inkMkLst>
        </pc:inkChg>
        <pc:inkChg chg="add mod">
          <ac:chgData name="Aniket Chhabra" userId="598e0514-bef3-4e71-b6aa-f2edd6441cff" providerId="ADAL" clId="{935EF258-ACF9-4C40-8F27-4828ABBE04AA}" dt="2023-01-28T04:42:13.937" v="75"/>
          <ac:inkMkLst>
            <pc:docMk/>
            <pc:sldMk cId="3979036142" sldId="296"/>
            <ac:inkMk id="18" creationId="{EC98C2E1-3C22-5E7D-043A-988EA6CFDCC3}"/>
          </ac:inkMkLst>
        </pc:inkChg>
        <pc:inkChg chg="add mod">
          <ac:chgData name="Aniket Chhabra" userId="598e0514-bef3-4e71-b6aa-f2edd6441cff" providerId="ADAL" clId="{935EF258-ACF9-4C40-8F27-4828ABBE04AA}" dt="2023-01-28T04:42:13.937" v="75"/>
          <ac:inkMkLst>
            <pc:docMk/>
            <pc:sldMk cId="3979036142" sldId="296"/>
            <ac:inkMk id="19" creationId="{8D7FB4DF-5A06-6753-CFAF-64612DD35E6E}"/>
          </ac:inkMkLst>
        </pc:inkChg>
        <pc:inkChg chg="add">
          <ac:chgData name="Aniket Chhabra" userId="598e0514-bef3-4e71-b6aa-f2edd6441cff" providerId="ADAL" clId="{935EF258-ACF9-4C40-8F27-4828ABBE04AA}" dt="2023-01-28T04:41:36.706" v="5" actId="9405"/>
          <ac:inkMkLst>
            <pc:docMk/>
            <pc:sldMk cId="3979036142" sldId="296"/>
            <ac:inkMk id="20" creationId="{7D875D33-C04E-E9B6-A061-7FA044EDF5FE}"/>
          </ac:inkMkLst>
        </pc:inkChg>
        <pc:inkChg chg="add">
          <ac:chgData name="Aniket Chhabra" userId="598e0514-bef3-4e71-b6aa-f2edd6441cff" providerId="ADAL" clId="{935EF258-ACF9-4C40-8F27-4828ABBE04AA}" dt="2023-01-28T04:41:37.023" v="6" actId="9405"/>
          <ac:inkMkLst>
            <pc:docMk/>
            <pc:sldMk cId="3979036142" sldId="296"/>
            <ac:inkMk id="21" creationId="{A4A031D3-2DC5-7FEF-0587-584D86A011F2}"/>
          </ac:inkMkLst>
        </pc:inkChg>
        <pc:inkChg chg="add">
          <ac:chgData name="Aniket Chhabra" userId="598e0514-bef3-4e71-b6aa-f2edd6441cff" providerId="ADAL" clId="{935EF258-ACF9-4C40-8F27-4828ABBE04AA}" dt="2023-01-28T04:41:37.466" v="7" actId="9405"/>
          <ac:inkMkLst>
            <pc:docMk/>
            <pc:sldMk cId="3979036142" sldId="296"/>
            <ac:inkMk id="22" creationId="{FF55CCA8-D548-4E26-FB60-08C5EA9D3A3F}"/>
          </ac:inkMkLst>
        </pc:inkChg>
        <pc:inkChg chg="add mod">
          <ac:chgData name="Aniket Chhabra" userId="598e0514-bef3-4e71-b6aa-f2edd6441cff" providerId="ADAL" clId="{935EF258-ACF9-4C40-8F27-4828ABBE04AA}" dt="2023-01-28T04:42:13.937" v="75"/>
          <ac:inkMkLst>
            <pc:docMk/>
            <pc:sldMk cId="3979036142" sldId="296"/>
            <ac:inkMk id="23" creationId="{5B3A44F8-325A-B35D-0138-971F249DD668}"/>
          </ac:inkMkLst>
        </pc:inkChg>
        <pc:inkChg chg="add">
          <ac:chgData name="Aniket Chhabra" userId="598e0514-bef3-4e71-b6aa-f2edd6441cff" providerId="ADAL" clId="{935EF258-ACF9-4C40-8F27-4828ABBE04AA}" dt="2023-01-28T04:41:39.408" v="10" actId="9405"/>
          <ac:inkMkLst>
            <pc:docMk/>
            <pc:sldMk cId="3979036142" sldId="296"/>
            <ac:inkMk id="30" creationId="{CA861569-E4DD-434F-B1E0-57CC1DADA1DC}"/>
          </ac:inkMkLst>
        </pc:inkChg>
        <pc:inkChg chg="add mod">
          <ac:chgData name="Aniket Chhabra" userId="598e0514-bef3-4e71-b6aa-f2edd6441cff" providerId="ADAL" clId="{935EF258-ACF9-4C40-8F27-4828ABBE04AA}" dt="2023-01-28T04:42:13.937" v="75"/>
          <ac:inkMkLst>
            <pc:docMk/>
            <pc:sldMk cId="3979036142" sldId="296"/>
            <ac:inkMk id="31" creationId="{8DCA8C6D-D783-2087-E16A-549F23679F5F}"/>
          </ac:inkMkLst>
        </pc:inkChg>
        <pc:inkChg chg="add mod">
          <ac:chgData name="Aniket Chhabra" userId="598e0514-bef3-4e71-b6aa-f2edd6441cff" providerId="ADAL" clId="{935EF258-ACF9-4C40-8F27-4828ABBE04AA}" dt="2023-01-28T04:42:13.937" v="75"/>
          <ac:inkMkLst>
            <pc:docMk/>
            <pc:sldMk cId="3979036142" sldId="296"/>
            <ac:inkMk id="32" creationId="{AF2FAB23-3C40-8B45-F7B3-496C3DE7828B}"/>
          </ac:inkMkLst>
        </pc:inkChg>
        <pc:inkChg chg="add mod">
          <ac:chgData name="Aniket Chhabra" userId="598e0514-bef3-4e71-b6aa-f2edd6441cff" providerId="ADAL" clId="{935EF258-ACF9-4C40-8F27-4828ABBE04AA}" dt="2023-01-28T04:42:13.937" v="75"/>
          <ac:inkMkLst>
            <pc:docMk/>
            <pc:sldMk cId="3979036142" sldId="296"/>
            <ac:inkMk id="33" creationId="{F695E4F5-683A-ECCA-902E-A48CA8895878}"/>
          </ac:inkMkLst>
        </pc:inkChg>
        <pc:inkChg chg="add mod">
          <ac:chgData name="Aniket Chhabra" userId="598e0514-bef3-4e71-b6aa-f2edd6441cff" providerId="ADAL" clId="{935EF258-ACF9-4C40-8F27-4828ABBE04AA}" dt="2023-01-28T04:42:13.937" v="75"/>
          <ac:inkMkLst>
            <pc:docMk/>
            <pc:sldMk cId="3979036142" sldId="296"/>
            <ac:inkMk id="34" creationId="{C631D54C-6B58-67D5-962C-B2E333263F34}"/>
          </ac:inkMkLst>
        </pc:inkChg>
        <pc:inkChg chg="add mod">
          <ac:chgData name="Aniket Chhabra" userId="598e0514-bef3-4e71-b6aa-f2edd6441cff" providerId="ADAL" clId="{935EF258-ACF9-4C40-8F27-4828ABBE04AA}" dt="2023-01-28T04:42:13.937" v="75"/>
          <ac:inkMkLst>
            <pc:docMk/>
            <pc:sldMk cId="3979036142" sldId="296"/>
            <ac:inkMk id="35" creationId="{B0A6545F-74E2-A803-8E02-E3CB09D6FB87}"/>
          </ac:inkMkLst>
        </pc:inkChg>
        <pc:inkChg chg="add mod">
          <ac:chgData name="Aniket Chhabra" userId="598e0514-bef3-4e71-b6aa-f2edd6441cff" providerId="ADAL" clId="{935EF258-ACF9-4C40-8F27-4828ABBE04AA}" dt="2023-01-28T04:42:13.937" v="75"/>
          <ac:inkMkLst>
            <pc:docMk/>
            <pc:sldMk cId="3979036142" sldId="296"/>
            <ac:inkMk id="36" creationId="{2C62D1C1-B323-3E9C-3711-4ECEBBA0D96E}"/>
          </ac:inkMkLst>
        </pc:inkChg>
        <pc:inkChg chg="add mod">
          <ac:chgData name="Aniket Chhabra" userId="598e0514-bef3-4e71-b6aa-f2edd6441cff" providerId="ADAL" clId="{935EF258-ACF9-4C40-8F27-4828ABBE04AA}" dt="2023-01-28T04:42:13.937" v="75"/>
          <ac:inkMkLst>
            <pc:docMk/>
            <pc:sldMk cId="3979036142" sldId="296"/>
            <ac:inkMk id="37" creationId="{9D1E68B2-BCDB-715C-7147-ACF164EED1EC}"/>
          </ac:inkMkLst>
        </pc:inkChg>
        <pc:inkChg chg="add mod">
          <ac:chgData name="Aniket Chhabra" userId="598e0514-bef3-4e71-b6aa-f2edd6441cff" providerId="ADAL" clId="{935EF258-ACF9-4C40-8F27-4828ABBE04AA}" dt="2023-01-28T04:42:13.937" v="75"/>
          <ac:inkMkLst>
            <pc:docMk/>
            <pc:sldMk cId="3979036142" sldId="296"/>
            <ac:inkMk id="39" creationId="{4A85E728-226D-E8C3-F8FC-ADC59FF2D415}"/>
          </ac:inkMkLst>
        </pc:inkChg>
        <pc:inkChg chg="add mod">
          <ac:chgData name="Aniket Chhabra" userId="598e0514-bef3-4e71-b6aa-f2edd6441cff" providerId="ADAL" clId="{935EF258-ACF9-4C40-8F27-4828ABBE04AA}" dt="2023-01-28T04:42:13.937" v="75"/>
          <ac:inkMkLst>
            <pc:docMk/>
            <pc:sldMk cId="3979036142" sldId="296"/>
            <ac:inkMk id="40" creationId="{56BAB4CE-553B-27EE-BE21-CE58A45E9B32}"/>
          </ac:inkMkLst>
        </pc:inkChg>
        <pc:inkChg chg="add mod">
          <ac:chgData name="Aniket Chhabra" userId="598e0514-bef3-4e71-b6aa-f2edd6441cff" providerId="ADAL" clId="{935EF258-ACF9-4C40-8F27-4828ABBE04AA}" dt="2023-01-28T04:42:13.937" v="75"/>
          <ac:inkMkLst>
            <pc:docMk/>
            <pc:sldMk cId="3979036142" sldId="296"/>
            <ac:inkMk id="41" creationId="{4B1FD35F-29EA-1656-A7B3-9E68A36341AE}"/>
          </ac:inkMkLst>
        </pc:inkChg>
        <pc:inkChg chg="add mod">
          <ac:chgData name="Aniket Chhabra" userId="598e0514-bef3-4e71-b6aa-f2edd6441cff" providerId="ADAL" clId="{935EF258-ACF9-4C40-8F27-4828ABBE04AA}" dt="2023-01-28T04:42:13.937" v="75"/>
          <ac:inkMkLst>
            <pc:docMk/>
            <pc:sldMk cId="3979036142" sldId="296"/>
            <ac:inkMk id="42" creationId="{0B19DDA6-74B5-7D4C-AD26-3A41CA3B487F}"/>
          </ac:inkMkLst>
        </pc:inkChg>
        <pc:inkChg chg="add mod">
          <ac:chgData name="Aniket Chhabra" userId="598e0514-bef3-4e71-b6aa-f2edd6441cff" providerId="ADAL" clId="{935EF258-ACF9-4C40-8F27-4828ABBE04AA}" dt="2023-01-28T04:42:13.937" v="75"/>
          <ac:inkMkLst>
            <pc:docMk/>
            <pc:sldMk cId="3979036142" sldId="296"/>
            <ac:inkMk id="43" creationId="{F1A51706-EEEB-6767-292D-1D695A3DEF84}"/>
          </ac:inkMkLst>
        </pc:inkChg>
        <pc:inkChg chg="add mod">
          <ac:chgData name="Aniket Chhabra" userId="598e0514-bef3-4e71-b6aa-f2edd6441cff" providerId="ADAL" clId="{935EF258-ACF9-4C40-8F27-4828ABBE04AA}" dt="2023-01-28T04:42:13.937" v="75"/>
          <ac:inkMkLst>
            <pc:docMk/>
            <pc:sldMk cId="3979036142" sldId="296"/>
            <ac:inkMk id="44" creationId="{6EE5C348-7BEC-F09D-CDEE-21A383144A89}"/>
          </ac:inkMkLst>
        </pc:inkChg>
        <pc:inkChg chg="add mod">
          <ac:chgData name="Aniket Chhabra" userId="598e0514-bef3-4e71-b6aa-f2edd6441cff" providerId="ADAL" clId="{935EF258-ACF9-4C40-8F27-4828ABBE04AA}" dt="2023-01-28T04:42:13.937" v="75"/>
          <ac:inkMkLst>
            <pc:docMk/>
            <pc:sldMk cId="3979036142" sldId="296"/>
            <ac:inkMk id="45" creationId="{07A4B057-D632-ADE7-EF9F-0848F0466BED}"/>
          </ac:inkMkLst>
        </pc:inkChg>
        <pc:inkChg chg="add mod">
          <ac:chgData name="Aniket Chhabra" userId="598e0514-bef3-4e71-b6aa-f2edd6441cff" providerId="ADAL" clId="{935EF258-ACF9-4C40-8F27-4828ABBE04AA}" dt="2023-01-28T04:42:13.937" v="75"/>
          <ac:inkMkLst>
            <pc:docMk/>
            <pc:sldMk cId="3979036142" sldId="296"/>
            <ac:inkMk id="46" creationId="{2B17E6C3-9E26-2295-B496-3871B7E6919C}"/>
          </ac:inkMkLst>
        </pc:inkChg>
        <pc:inkChg chg="add mod">
          <ac:chgData name="Aniket Chhabra" userId="598e0514-bef3-4e71-b6aa-f2edd6441cff" providerId="ADAL" clId="{935EF258-ACF9-4C40-8F27-4828ABBE04AA}" dt="2023-01-28T04:42:13.937" v="75"/>
          <ac:inkMkLst>
            <pc:docMk/>
            <pc:sldMk cId="3979036142" sldId="296"/>
            <ac:inkMk id="49" creationId="{74B5E1C9-6BE8-6927-2FBE-97B144234930}"/>
          </ac:inkMkLst>
        </pc:inkChg>
        <pc:inkChg chg="add mod">
          <ac:chgData name="Aniket Chhabra" userId="598e0514-bef3-4e71-b6aa-f2edd6441cff" providerId="ADAL" clId="{935EF258-ACF9-4C40-8F27-4828ABBE04AA}" dt="2023-01-28T04:42:13.937" v="75"/>
          <ac:inkMkLst>
            <pc:docMk/>
            <pc:sldMk cId="3979036142" sldId="296"/>
            <ac:inkMk id="50" creationId="{25558204-1B4A-BD82-D1B0-676AA96E503E}"/>
          </ac:inkMkLst>
        </pc:inkChg>
        <pc:inkChg chg="add mod">
          <ac:chgData name="Aniket Chhabra" userId="598e0514-bef3-4e71-b6aa-f2edd6441cff" providerId="ADAL" clId="{935EF258-ACF9-4C40-8F27-4828ABBE04AA}" dt="2023-01-28T04:42:13.937" v="75"/>
          <ac:inkMkLst>
            <pc:docMk/>
            <pc:sldMk cId="3979036142" sldId="296"/>
            <ac:inkMk id="51" creationId="{E5FA715D-8EAA-394E-43F5-48B882658639}"/>
          </ac:inkMkLst>
        </pc:inkChg>
        <pc:inkChg chg="add mod">
          <ac:chgData name="Aniket Chhabra" userId="598e0514-bef3-4e71-b6aa-f2edd6441cff" providerId="ADAL" clId="{935EF258-ACF9-4C40-8F27-4828ABBE04AA}" dt="2023-01-28T04:42:13.937" v="75"/>
          <ac:inkMkLst>
            <pc:docMk/>
            <pc:sldMk cId="3979036142" sldId="296"/>
            <ac:inkMk id="52" creationId="{40C70AE5-83DD-E89A-78A8-A6696132EA3D}"/>
          </ac:inkMkLst>
        </pc:inkChg>
        <pc:inkChg chg="add mod">
          <ac:chgData name="Aniket Chhabra" userId="598e0514-bef3-4e71-b6aa-f2edd6441cff" providerId="ADAL" clId="{935EF258-ACF9-4C40-8F27-4828ABBE04AA}" dt="2023-01-28T04:42:13.937" v="75"/>
          <ac:inkMkLst>
            <pc:docMk/>
            <pc:sldMk cId="3979036142" sldId="296"/>
            <ac:inkMk id="53" creationId="{E54F1BAC-2C70-0EC5-D15B-AFB8187CBF08}"/>
          </ac:inkMkLst>
        </pc:inkChg>
        <pc:inkChg chg="add mod">
          <ac:chgData name="Aniket Chhabra" userId="598e0514-bef3-4e71-b6aa-f2edd6441cff" providerId="ADAL" clId="{935EF258-ACF9-4C40-8F27-4828ABBE04AA}" dt="2023-01-28T04:42:13.937" v="75"/>
          <ac:inkMkLst>
            <pc:docMk/>
            <pc:sldMk cId="3979036142" sldId="296"/>
            <ac:inkMk id="54" creationId="{C10CAA9F-87BC-38E7-C080-6B1419E4D44D}"/>
          </ac:inkMkLst>
        </pc:inkChg>
        <pc:inkChg chg="add mod">
          <ac:chgData name="Aniket Chhabra" userId="598e0514-bef3-4e71-b6aa-f2edd6441cff" providerId="ADAL" clId="{935EF258-ACF9-4C40-8F27-4828ABBE04AA}" dt="2023-01-28T04:42:13.937" v="75"/>
          <ac:inkMkLst>
            <pc:docMk/>
            <pc:sldMk cId="3979036142" sldId="296"/>
            <ac:inkMk id="55" creationId="{2FA10A6C-FF2F-8518-047A-AB337E7101E0}"/>
          </ac:inkMkLst>
        </pc:inkChg>
        <pc:inkChg chg="add mod">
          <ac:chgData name="Aniket Chhabra" userId="598e0514-bef3-4e71-b6aa-f2edd6441cff" providerId="ADAL" clId="{935EF258-ACF9-4C40-8F27-4828ABBE04AA}" dt="2023-01-28T04:42:13.937" v="75"/>
          <ac:inkMkLst>
            <pc:docMk/>
            <pc:sldMk cId="3979036142" sldId="296"/>
            <ac:inkMk id="56" creationId="{97E69C6C-0702-EC6F-FCD7-DD7EA31CCFE8}"/>
          </ac:inkMkLst>
        </pc:inkChg>
        <pc:inkChg chg="add mod">
          <ac:chgData name="Aniket Chhabra" userId="598e0514-bef3-4e71-b6aa-f2edd6441cff" providerId="ADAL" clId="{935EF258-ACF9-4C40-8F27-4828ABBE04AA}" dt="2023-01-28T04:42:13.937" v="75"/>
          <ac:inkMkLst>
            <pc:docMk/>
            <pc:sldMk cId="3979036142" sldId="296"/>
            <ac:inkMk id="57" creationId="{BC0092B1-AF82-CDF7-B08E-5BBD4FB36ED7}"/>
          </ac:inkMkLst>
        </pc:inkChg>
        <pc:inkChg chg="add mod">
          <ac:chgData name="Aniket Chhabra" userId="598e0514-bef3-4e71-b6aa-f2edd6441cff" providerId="ADAL" clId="{935EF258-ACF9-4C40-8F27-4828ABBE04AA}" dt="2023-01-28T04:42:13.937" v="75"/>
          <ac:inkMkLst>
            <pc:docMk/>
            <pc:sldMk cId="3979036142" sldId="296"/>
            <ac:inkMk id="59" creationId="{8B08C0D5-95A8-BD2E-5FD4-293872238B00}"/>
          </ac:inkMkLst>
        </pc:inkChg>
        <pc:inkChg chg="add mod">
          <ac:chgData name="Aniket Chhabra" userId="598e0514-bef3-4e71-b6aa-f2edd6441cff" providerId="ADAL" clId="{935EF258-ACF9-4C40-8F27-4828ABBE04AA}" dt="2023-01-28T04:42:13.937" v="75"/>
          <ac:inkMkLst>
            <pc:docMk/>
            <pc:sldMk cId="3979036142" sldId="296"/>
            <ac:inkMk id="60" creationId="{9E7721D6-A733-0829-18C5-B9401887EC92}"/>
          </ac:inkMkLst>
        </pc:inkChg>
        <pc:inkChg chg="add mod">
          <ac:chgData name="Aniket Chhabra" userId="598e0514-bef3-4e71-b6aa-f2edd6441cff" providerId="ADAL" clId="{935EF258-ACF9-4C40-8F27-4828ABBE04AA}" dt="2023-01-28T04:42:13.937" v="75"/>
          <ac:inkMkLst>
            <pc:docMk/>
            <pc:sldMk cId="3979036142" sldId="296"/>
            <ac:inkMk id="61" creationId="{66642D38-6AF7-BC57-689E-9EFB8D7BEDBA}"/>
          </ac:inkMkLst>
        </pc:inkChg>
        <pc:inkChg chg="add mod">
          <ac:chgData name="Aniket Chhabra" userId="598e0514-bef3-4e71-b6aa-f2edd6441cff" providerId="ADAL" clId="{935EF258-ACF9-4C40-8F27-4828ABBE04AA}" dt="2023-01-28T04:42:13.937" v="75"/>
          <ac:inkMkLst>
            <pc:docMk/>
            <pc:sldMk cId="3979036142" sldId="296"/>
            <ac:inkMk id="63" creationId="{ED98CB38-6C2C-EF25-0607-093E8661167D}"/>
          </ac:inkMkLst>
        </pc:inkChg>
        <pc:inkChg chg="add mod">
          <ac:chgData name="Aniket Chhabra" userId="598e0514-bef3-4e71-b6aa-f2edd6441cff" providerId="ADAL" clId="{935EF258-ACF9-4C40-8F27-4828ABBE04AA}" dt="2023-01-28T04:42:13.937" v="75"/>
          <ac:inkMkLst>
            <pc:docMk/>
            <pc:sldMk cId="3979036142" sldId="296"/>
            <ac:inkMk id="64" creationId="{BE360DD8-79CE-C17C-4FEA-8E4C124909DD}"/>
          </ac:inkMkLst>
        </pc:inkChg>
        <pc:inkChg chg="add mod">
          <ac:chgData name="Aniket Chhabra" userId="598e0514-bef3-4e71-b6aa-f2edd6441cff" providerId="ADAL" clId="{935EF258-ACF9-4C40-8F27-4828ABBE04AA}" dt="2023-01-28T04:42:13.937" v="75"/>
          <ac:inkMkLst>
            <pc:docMk/>
            <pc:sldMk cId="3979036142" sldId="296"/>
            <ac:inkMk id="66" creationId="{A1084DDB-5634-BDB4-1D22-B9352F1BFDF8}"/>
          </ac:inkMkLst>
        </pc:inkChg>
        <pc:inkChg chg="add mod">
          <ac:chgData name="Aniket Chhabra" userId="598e0514-bef3-4e71-b6aa-f2edd6441cff" providerId="ADAL" clId="{935EF258-ACF9-4C40-8F27-4828ABBE04AA}" dt="2023-01-28T04:42:13.937" v="75"/>
          <ac:inkMkLst>
            <pc:docMk/>
            <pc:sldMk cId="3979036142" sldId="296"/>
            <ac:inkMk id="67" creationId="{4EBEADF0-DE04-CA47-0675-BC8A67FB96D1}"/>
          </ac:inkMkLst>
        </pc:inkChg>
        <pc:inkChg chg="add mod">
          <ac:chgData name="Aniket Chhabra" userId="598e0514-bef3-4e71-b6aa-f2edd6441cff" providerId="ADAL" clId="{935EF258-ACF9-4C40-8F27-4828ABBE04AA}" dt="2023-01-28T04:42:13.937" v="75"/>
          <ac:inkMkLst>
            <pc:docMk/>
            <pc:sldMk cId="3979036142" sldId="296"/>
            <ac:inkMk id="69" creationId="{B362FB94-F365-C9C3-2D3C-750C7788B5E0}"/>
          </ac:inkMkLst>
        </pc:inkChg>
        <pc:inkChg chg="add mod">
          <ac:chgData name="Aniket Chhabra" userId="598e0514-bef3-4e71-b6aa-f2edd6441cff" providerId="ADAL" clId="{935EF258-ACF9-4C40-8F27-4828ABBE04AA}" dt="2023-01-28T04:42:13.937" v="75"/>
          <ac:inkMkLst>
            <pc:docMk/>
            <pc:sldMk cId="3979036142" sldId="296"/>
            <ac:inkMk id="70" creationId="{361D7069-7F84-E44B-0566-CE3BCB4A97CC}"/>
          </ac:inkMkLst>
        </pc:inkChg>
        <pc:inkChg chg="add mod">
          <ac:chgData name="Aniket Chhabra" userId="598e0514-bef3-4e71-b6aa-f2edd6441cff" providerId="ADAL" clId="{935EF258-ACF9-4C40-8F27-4828ABBE04AA}" dt="2023-01-28T04:42:13.937" v="75"/>
          <ac:inkMkLst>
            <pc:docMk/>
            <pc:sldMk cId="3979036142" sldId="296"/>
            <ac:inkMk id="71" creationId="{995A6BF9-124E-7DFA-32E4-D496EEF68E6A}"/>
          </ac:inkMkLst>
        </pc:inkChg>
        <pc:inkChg chg="add mod">
          <ac:chgData name="Aniket Chhabra" userId="598e0514-bef3-4e71-b6aa-f2edd6441cff" providerId="ADAL" clId="{935EF258-ACF9-4C40-8F27-4828ABBE04AA}" dt="2023-01-28T04:42:13.937" v="75"/>
          <ac:inkMkLst>
            <pc:docMk/>
            <pc:sldMk cId="3979036142" sldId="296"/>
            <ac:inkMk id="72" creationId="{7F22940B-F727-BDE0-F40F-7A4BF22F2479}"/>
          </ac:inkMkLst>
        </pc:inkChg>
        <pc:inkChg chg="add mod">
          <ac:chgData name="Aniket Chhabra" userId="598e0514-bef3-4e71-b6aa-f2edd6441cff" providerId="ADAL" clId="{935EF258-ACF9-4C40-8F27-4828ABBE04AA}" dt="2023-01-28T04:42:13.937" v="75"/>
          <ac:inkMkLst>
            <pc:docMk/>
            <pc:sldMk cId="3979036142" sldId="296"/>
            <ac:inkMk id="79" creationId="{C0B4D498-8536-524D-4162-C52F9B4B3BC3}"/>
          </ac:inkMkLst>
        </pc:inkChg>
        <pc:inkChg chg="add mod">
          <ac:chgData name="Aniket Chhabra" userId="598e0514-bef3-4e71-b6aa-f2edd6441cff" providerId="ADAL" clId="{935EF258-ACF9-4C40-8F27-4828ABBE04AA}" dt="2023-01-28T04:42:13.937" v="75"/>
          <ac:inkMkLst>
            <pc:docMk/>
            <pc:sldMk cId="3979036142" sldId="296"/>
            <ac:inkMk id="80" creationId="{ECB4C4F9-9000-1125-AA15-0BFBC78E166D}"/>
          </ac:inkMkLst>
        </pc:inkChg>
        <pc:inkChg chg="add mod">
          <ac:chgData name="Aniket Chhabra" userId="598e0514-bef3-4e71-b6aa-f2edd6441cff" providerId="ADAL" clId="{935EF258-ACF9-4C40-8F27-4828ABBE04AA}" dt="2023-01-28T04:42:13.937" v="75"/>
          <ac:inkMkLst>
            <pc:docMk/>
            <pc:sldMk cId="3979036142" sldId="296"/>
            <ac:inkMk id="83" creationId="{627324B4-BF68-6AF4-7212-1D04B724ECCC}"/>
          </ac:inkMkLst>
        </pc:inkChg>
        <pc:inkChg chg="add mod">
          <ac:chgData name="Aniket Chhabra" userId="598e0514-bef3-4e71-b6aa-f2edd6441cff" providerId="ADAL" clId="{935EF258-ACF9-4C40-8F27-4828ABBE04AA}" dt="2023-01-28T04:42:13.937" v="75"/>
          <ac:inkMkLst>
            <pc:docMk/>
            <pc:sldMk cId="3979036142" sldId="296"/>
            <ac:inkMk id="84" creationId="{B624ECB0-8BE9-F1FC-7038-DF1D0F97D5BC}"/>
          </ac:inkMkLst>
        </pc:inkChg>
        <pc:inkChg chg="add mod">
          <ac:chgData name="Aniket Chhabra" userId="598e0514-bef3-4e71-b6aa-f2edd6441cff" providerId="ADAL" clId="{935EF258-ACF9-4C40-8F27-4828ABBE04AA}" dt="2023-01-28T04:42:13.937" v="75"/>
          <ac:inkMkLst>
            <pc:docMk/>
            <pc:sldMk cId="3979036142" sldId="296"/>
            <ac:inkMk id="85" creationId="{398F285E-85F1-D969-2EBB-9EAA10076C9F}"/>
          </ac:inkMkLst>
        </pc:inkChg>
        <pc:inkChg chg="add mod">
          <ac:chgData name="Aniket Chhabra" userId="598e0514-bef3-4e71-b6aa-f2edd6441cff" providerId="ADAL" clId="{935EF258-ACF9-4C40-8F27-4828ABBE04AA}" dt="2023-01-28T04:42:13.937" v="75"/>
          <ac:inkMkLst>
            <pc:docMk/>
            <pc:sldMk cId="3979036142" sldId="296"/>
            <ac:inkMk id="86" creationId="{72229D19-E0EF-B579-8585-2CA74B67D23F}"/>
          </ac:inkMkLst>
        </pc:inkChg>
        <pc:inkChg chg="add mod">
          <ac:chgData name="Aniket Chhabra" userId="598e0514-bef3-4e71-b6aa-f2edd6441cff" providerId="ADAL" clId="{935EF258-ACF9-4C40-8F27-4828ABBE04AA}" dt="2023-01-28T04:42:13.937" v="75"/>
          <ac:inkMkLst>
            <pc:docMk/>
            <pc:sldMk cId="3979036142" sldId="296"/>
            <ac:inkMk id="87" creationId="{0C78978A-7E95-569E-39C3-7611C47C71E2}"/>
          </ac:inkMkLst>
        </pc:inkChg>
        <pc:inkChg chg="add mod">
          <ac:chgData name="Aniket Chhabra" userId="598e0514-bef3-4e71-b6aa-f2edd6441cff" providerId="ADAL" clId="{935EF258-ACF9-4C40-8F27-4828ABBE04AA}" dt="2023-01-28T04:42:13.937" v="75"/>
          <ac:inkMkLst>
            <pc:docMk/>
            <pc:sldMk cId="3979036142" sldId="296"/>
            <ac:inkMk id="88" creationId="{A23C5ADF-ADA9-B230-B57E-544EA23EF036}"/>
          </ac:inkMkLst>
        </pc:inkChg>
        <pc:inkChg chg="add mod">
          <ac:chgData name="Aniket Chhabra" userId="598e0514-bef3-4e71-b6aa-f2edd6441cff" providerId="ADAL" clId="{935EF258-ACF9-4C40-8F27-4828ABBE04AA}" dt="2023-01-28T04:42:13.937" v="75"/>
          <ac:inkMkLst>
            <pc:docMk/>
            <pc:sldMk cId="3979036142" sldId="296"/>
            <ac:inkMk id="89" creationId="{8F1C9229-EE51-5C20-B581-2A2782C1B407}"/>
          </ac:inkMkLst>
        </pc:inkChg>
        <pc:inkChg chg="add mod">
          <ac:chgData name="Aniket Chhabra" userId="598e0514-bef3-4e71-b6aa-f2edd6441cff" providerId="ADAL" clId="{935EF258-ACF9-4C40-8F27-4828ABBE04AA}" dt="2023-01-28T04:42:13.937" v="75"/>
          <ac:inkMkLst>
            <pc:docMk/>
            <pc:sldMk cId="3979036142" sldId="296"/>
            <ac:inkMk id="90" creationId="{A7103EC1-29F8-AFBB-8CAD-EA7899F9815D}"/>
          </ac:inkMkLst>
        </pc:inkChg>
        <pc:inkChg chg="add mod">
          <ac:chgData name="Aniket Chhabra" userId="598e0514-bef3-4e71-b6aa-f2edd6441cff" providerId="ADAL" clId="{935EF258-ACF9-4C40-8F27-4828ABBE04AA}" dt="2023-01-28T04:42:13.937" v="75"/>
          <ac:inkMkLst>
            <pc:docMk/>
            <pc:sldMk cId="3979036142" sldId="296"/>
            <ac:inkMk id="91" creationId="{7DC1B667-44FB-0A34-43F9-F0BC6027878B}"/>
          </ac:inkMkLst>
        </pc:inkChg>
        <pc:inkChg chg="add mod">
          <ac:chgData name="Aniket Chhabra" userId="598e0514-bef3-4e71-b6aa-f2edd6441cff" providerId="ADAL" clId="{935EF258-ACF9-4C40-8F27-4828ABBE04AA}" dt="2023-01-28T04:42:13.937" v="75"/>
          <ac:inkMkLst>
            <pc:docMk/>
            <pc:sldMk cId="3979036142" sldId="296"/>
            <ac:inkMk id="92" creationId="{84CE8DF4-DDB6-8081-E349-1BE62EA10EED}"/>
          </ac:inkMkLst>
        </pc:inkChg>
        <pc:inkChg chg="add mod">
          <ac:chgData name="Aniket Chhabra" userId="598e0514-bef3-4e71-b6aa-f2edd6441cff" providerId="ADAL" clId="{935EF258-ACF9-4C40-8F27-4828ABBE04AA}" dt="2023-01-28T04:42:13.937" v="75"/>
          <ac:inkMkLst>
            <pc:docMk/>
            <pc:sldMk cId="3979036142" sldId="296"/>
            <ac:inkMk id="93" creationId="{241060A5-6143-5323-67B2-51BDA648F0DA}"/>
          </ac:inkMkLst>
        </pc:inkChg>
        <pc:inkChg chg="add mod">
          <ac:chgData name="Aniket Chhabra" userId="598e0514-bef3-4e71-b6aa-f2edd6441cff" providerId="ADAL" clId="{935EF258-ACF9-4C40-8F27-4828ABBE04AA}" dt="2023-01-28T04:42:13.937" v="75"/>
          <ac:inkMkLst>
            <pc:docMk/>
            <pc:sldMk cId="3979036142" sldId="296"/>
            <ac:inkMk id="94" creationId="{43082363-747C-26B3-154F-5EC4980F4422}"/>
          </ac:inkMkLst>
        </pc:inkChg>
        <pc:inkChg chg="add mod">
          <ac:chgData name="Aniket Chhabra" userId="598e0514-bef3-4e71-b6aa-f2edd6441cff" providerId="ADAL" clId="{935EF258-ACF9-4C40-8F27-4828ABBE04AA}" dt="2023-01-28T04:42:13.937" v="75"/>
          <ac:inkMkLst>
            <pc:docMk/>
            <pc:sldMk cId="3979036142" sldId="296"/>
            <ac:inkMk id="95" creationId="{3872381C-2C53-F15E-B99F-960F0351CDA5}"/>
          </ac:inkMkLst>
        </pc:inkChg>
        <pc:inkChg chg="add mod">
          <ac:chgData name="Aniket Chhabra" userId="598e0514-bef3-4e71-b6aa-f2edd6441cff" providerId="ADAL" clId="{935EF258-ACF9-4C40-8F27-4828ABBE04AA}" dt="2023-01-28T04:42:13.937" v="75"/>
          <ac:inkMkLst>
            <pc:docMk/>
            <pc:sldMk cId="3979036142" sldId="296"/>
            <ac:inkMk id="96" creationId="{3A990038-E8B2-E519-ED7F-AC62F712D43B}"/>
          </ac:inkMkLst>
        </pc:inkChg>
        <pc:inkChg chg="add mod">
          <ac:chgData name="Aniket Chhabra" userId="598e0514-bef3-4e71-b6aa-f2edd6441cff" providerId="ADAL" clId="{935EF258-ACF9-4C40-8F27-4828ABBE04AA}" dt="2023-01-28T04:42:13.937" v="75"/>
          <ac:inkMkLst>
            <pc:docMk/>
            <pc:sldMk cId="3979036142" sldId="296"/>
            <ac:inkMk id="97" creationId="{EAE4D36A-CF24-773D-A4E3-CB743BB1B2A6}"/>
          </ac:inkMkLst>
        </pc:inkChg>
        <pc:inkChg chg="add">
          <ac:chgData name="Aniket Chhabra" userId="598e0514-bef3-4e71-b6aa-f2edd6441cff" providerId="ADAL" clId="{935EF258-ACF9-4C40-8F27-4828ABBE04AA}" dt="2023-01-28T04:42:11.545" v="71" actId="9405"/>
          <ac:inkMkLst>
            <pc:docMk/>
            <pc:sldMk cId="3979036142" sldId="296"/>
            <ac:inkMk id="102" creationId="{C037533D-C836-7D86-ABBE-9E26AAE9FB79}"/>
          </ac:inkMkLst>
        </pc:inkChg>
        <pc:inkChg chg="add">
          <ac:chgData name="Aniket Chhabra" userId="598e0514-bef3-4e71-b6aa-f2edd6441cff" providerId="ADAL" clId="{935EF258-ACF9-4C40-8F27-4828ABBE04AA}" dt="2023-01-28T04:42:11.946" v="72" actId="9405"/>
          <ac:inkMkLst>
            <pc:docMk/>
            <pc:sldMk cId="3979036142" sldId="296"/>
            <ac:inkMk id="103" creationId="{A975E556-1559-864E-8281-2F93C5C2F84A}"/>
          </ac:inkMkLst>
        </pc:inkChg>
        <pc:inkChg chg="add mod">
          <ac:chgData name="Aniket Chhabra" userId="598e0514-bef3-4e71-b6aa-f2edd6441cff" providerId="ADAL" clId="{935EF258-ACF9-4C40-8F27-4828ABBE04AA}" dt="2023-01-28T04:42:13.937" v="75"/>
          <ac:inkMkLst>
            <pc:docMk/>
            <pc:sldMk cId="3979036142" sldId="296"/>
            <ac:inkMk id="104" creationId="{9203DF9B-312F-CBD8-539B-38FD988FA1C9}"/>
          </ac:inkMkLst>
        </pc:inkChg>
        <pc:inkChg chg="add mod">
          <ac:chgData name="Aniket Chhabra" userId="598e0514-bef3-4e71-b6aa-f2edd6441cff" providerId="ADAL" clId="{935EF258-ACF9-4C40-8F27-4828ABBE04AA}" dt="2023-01-28T04:42:13.937" v="75"/>
          <ac:inkMkLst>
            <pc:docMk/>
            <pc:sldMk cId="3979036142" sldId="296"/>
            <ac:inkMk id="105" creationId="{64754274-AE79-4BE6-26C2-1A9DAEB3C851}"/>
          </ac:inkMkLst>
        </pc:inkChg>
        <pc:inkChg chg="add mod">
          <ac:chgData name="Aniket Chhabra" userId="598e0514-bef3-4e71-b6aa-f2edd6441cff" providerId="ADAL" clId="{935EF258-ACF9-4C40-8F27-4828ABBE04AA}" dt="2023-01-28T04:43:25.521" v="111"/>
          <ac:inkMkLst>
            <pc:docMk/>
            <pc:sldMk cId="3979036142" sldId="296"/>
            <ac:inkMk id="107" creationId="{B0B019CA-FD1D-9997-7719-48A5F586AA28}"/>
          </ac:inkMkLst>
        </pc:inkChg>
        <pc:inkChg chg="add mod">
          <ac:chgData name="Aniket Chhabra" userId="598e0514-bef3-4e71-b6aa-f2edd6441cff" providerId="ADAL" clId="{935EF258-ACF9-4C40-8F27-4828ABBE04AA}" dt="2023-01-28T04:43:25.521" v="111"/>
          <ac:inkMkLst>
            <pc:docMk/>
            <pc:sldMk cId="3979036142" sldId="296"/>
            <ac:inkMk id="108" creationId="{D1D9C7BC-4FEC-4C20-4422-D6102C840A95}"/>
          </ac:inkMkLst>
        </pc:inkChg>
        <pc:inkChg chg="add mod">
          <ac:chgData name="Aniket Chhabra" userId="598e0514-bef3-4e71-b6aa-f2edd6441cff" providerId="ADAL" clId="{935EF258-ACF9-4C40-8F27-4828ABBE04AA}" dt="2023-01-28T04:43:25.521" v="111"/>
          <ac:inkMkLst>
            <pc:docMk/>
            <pc:sldMk cId="3979036142" sldId="296"/>
            <ac:inkMk id="109" creationId="{1DF943E4-77B0-2757-8A07-D99F4C191896}"/>
          </ac:inkMkLst>
        </pc:inkChg>
        <pc:inkChg chg="add mod">
          <ac:chgData name="Aniket Chhabra" userId="598e0514-bef3-4e71-b6aa-f2edd6441cff" providerId="ADAL" clId="{935EF258-ACF9-4C40-8F27-4828ABBE04AA}" dt="2023-01-28T04:43:25.521" v="111"/>
          <ac:inkMkLst>
            <pc:docMk/>
            <pc:sldMk cId="3979036142" sldId="296"/>
            <ac:inkMk id="110" creationId="{ECE84183-8BAB-40E2-4E26-51B0F3E553E1}"/>
          </ac:inkMkLst>
        </pc:inkChg>
        <pc:inkChg chg="add mod">
          <ac:chgData name="Aniket Chhabra" userId="598e0514-bef3-4e71-b6aa-f2edd6441cff" providerId="ADAL" clId="{935EF258-ACF9-4C40-8F27-4828ABBE04AA}" dt="2023-01-28T04:43:25.521" v="111"/>
          <ac:inkMkLst>
            <pc:docMk/>
            <pc:sldMk cId="3979036142" sldId="296"/>
            <ac:inkMk id="112" creationId="{14C58377-4F5C-0D5D-18FB-D4B40BF1E21D}"/>
          </ac:inkMkLst>
        </pc:inkChg>
        <pc:inkChg chg="add mod">
          <ac:chgData name="Aniket Chhabra" userId="598e0514-bef3-4e71-b6aa-f2edd6441cff" providerId="ADAL" clId="{935EF258-ACF9-4C40-8F27-4828ABBE04AA}" dt="2023-01-28T04:43:25.521" v="111"/>
          <ac:inkMkLst>
            <pc:docMk/>
            <pc:sldMk cId="3979036142" sldId="296"/>
            <ac:inkMk id="113" creationId="{AC17703D-680C-7B84-61A3-73D3F41371CB}"/>
          </ac:inkMkLst>
        </pc:inkChg>
        <pc:inkChg chg="add mod">
          <ac:chgData name="Aniket Chhabra" userId="598e0514-bef3-4e71-b6aa-f2edd6441cff" providerId="ADAL" clId="{935EF258-ACF9-4C40-8F27-4828ABBE04AA}" dt="2023-01-28T04:43:25.521" v="111"/>
          <ac:inkMkLst>
            <pc:docMk/>
            <pc:sldMk cId="3979036142" sldId="296"/>
            <ac:inkMk id="114" creationId="{21D376D4-E16D-E560-593A-18C91DE61DFF}"/>
          </ac:inkMkLst>
        </pc:inkChg>
        <pc:inkChg chg="add mod">
          <ac:chgData name="Aniket Chhabra" userId="598e0514-bef3-4e71-b6aa-f2edd6441cff" providerId="ADAL" clId="{935EF258-ACF9-4C40-8F27-4828ABBE04AA}" dt="2023-01-28T04:43:25.521" v="111"/>
          <ac:inkMkLst>
            <pc:docMk/>
            <pc:sldMk cId="3979036142" sldId="296"/>
            <ac:inkMk id="115" creationId="{C24D6A48-730F-71FA-B0CC-A0C88F73E630}"/>
          </ac:inkMkLst>
        </pc:inkChg>
        <pc:inkChg chg="add mod">
          <ac:chgData name="Aniket Chhabra" userId="598e0514-bef3-4e71-b6aa-f2edd6441cff" providerId="ADAL" clId="{935EF258-ACF9-4C40-8F27-4828ABBE04AA}" dt="2023-01-28T04:43:25.521" v="111"/>
          <ac:inkMkLst>
            <pc:docMk/>
            <pc:sldMk cId="3979036142" sldId="296"/>
            <ac:inkMk id="116" creationId="{2D17249E-2F2F-DA18-D2D4-1D24713CD783}"/>
          </ac:inkMkLst>
        </pc:inkChg>
        <pc:inkChg chg="add mod">
          <ac:chgData name="Aniket Chhabra" userId="598e0514-bef3-4e71-b6aa-f2edd6441cff" providerId="ADAL" clId="{935EF258-ACF9-4C40-8F27-4828ABBE04AA}" dt="2023-01-28T04:43:25.521" v="111"/>
          <ac:inkMkLst>
            <pc:docMk/>
            <pc:sldMk cId="3979036142" sldId="296"/>
            <ac:inkMk id="117" creationId="{0FCD19A3-FDF5-76B5-1874-CC1D8F0B95BF}"/>
          </ac:inkMkLst>
        </pc:inkChg>
        <pc:inkChg chg="add mod">
          <ac:chgData name="Aniket Chhabra" userId="598e0514-bef3-4e71-b6aa-f2edd6441cff" providerId="ADAL" clId="{935EF258-ACF9-4C40-8F27-4828ABBE04AA}" dt="2023-01-28T04:43:25.521" v="111"/>
          <ac:inkMkLst>
            <pc:docMk/>
            <pc:sldMk cId="3979036142" sldId="296"/>
            <ac:inkMk id="118" creationId="{B8AE9CD1-31BE-0955-AFBF-9F2E3B3EE100}"/>
          </ac:inkMkLst>
        </pc:inkChg>
        <pc:inkChg chg="add mod">
          <ac:chgData name="Aniket Chhabra" userId="598e0514-bef3-4e71-b6aa-f2edd6441cff" providerId="ADAL" clId="{935EF258-ACF9-4C40-8F27-4828ABBE04AA}" dt="2023-01-28T04:43:25.521" v="111"/>
          <ac:inkMkLst>
            <pc:docMk/>
            <pc:sldMk cId="3979036142" sldId="296"/>
            <ac:inkMk id="119" creationId="{D5965070-507C-144E-7D8F-07E7604DA097}"/>
          </ac:inkMkLst>
        </pc:inkChg>
        <pc:inkChg chg="add mod">
          <ac:chgData name="Aniket Chhabra" userId="598e0514-bef3-4e71-b6aa-f2edd6441cff" providerId="ADAL" clId="{935EF258-ACF9-4C40-8F27-4828ABBE04AA}" dt="2023-01-28T04:43:25.521" v="111"/>
          <ac:inkMkLst>
            <pc:docMk/>
            <pc:sldMk cId="3979036142" sldId="296"/>
            <ac:inkMk id="122" creationId="{047AB57C-7838-C29D-FE63-3D1877EACC56}"/>
          </ac:inkMkLst>
        </pc:inkChg>
        <pc:inkChg chg="add mod">
          <ac:chgData name="Aniket Chhabra" userId="598e0514-bef3-4e71-b6aa-f2edd6441cff" providerId="ADAL" clId="{935EF258-ACF9-4C40-8F27-4828ABBE04AA}" dt="2023-01-28T04:43:25.521" v="111"/>
          <ac:inkMkLst>
            <pc:docMk/>
            <pc:sldMk cId="3979036142" sldId="296"/>
            <ac:inkMk id="123" creationId="{BB4BFD64-DCBB-1861-50CB-A5F1649554AF}"/>
          </ac:inkMkLst>
        </pc:inkChg>
        <pc:inkChg chg="add mod">
          <ac:chgData name="Aniket Chhabra" userId="598e0514-bef3-4e71-b6aa-f2edd6441cff" providerId="ADAL" clId="{935EF258-ACF9-4C40-8F27-4828ABBE04AA}" dt="2023-01-28T04:43:25.521" v="111"/>
          <ac:inkMkLst>
            <pc:docMk/>
            <pc:sldMk cId="3979036142" sldId="296"/>
            <ac:inkMk id="124" creationId="{D6046C9C-843A-63F3-00A7-D7F41D96AF11}"/>
          </ac:inkMkLst>
        </pc:inkChg>
        <pc:inkChg chg="add mod">
          <ac:chgData name="Aniket Chhabra" userId="598e0514-bef3-4e71-b6aa-f2edd6441cff" providerId="ADAL" clId="{935EF258-ACF9-4C40-8F27-4828ABBE04AA}" dt="2023-01-28T04:43:25.521" v="111"/>
          <ac:inkMkLst>
            <pc:docMk/>
            <pc:sldMk cId="3979036142" sldId="296"/>
            <ac:inkMk id="125" creationId="{875C104B-FFB5-9E8E-F148-7DD32E847A62}"/>
          </ac:inkMkLst>
        </pc:inkChg>
        <pc:inkChg chg="add mod">
          <ac:chgData name="Aniket Chhabra" userId="598e0514-bef3-4e71-b6aa-f2edd6441cff" providerId="ADAL" clId="{935EF258-ACF9-4C40-8F27-4828ABBE04AA}" dt="2023-01-28T04:43:25.521" v="111"/>
          <ac:inkMkLst>
            <pc:docMk/>
            <pc:sldMk cId="3979036142" sldId="296"/>
            <ac:inkMk id="126" creationId="{823B9035-B9CB-9344-20F8-EC9A9788944A}"/>
          </ac:inkMkLst>
        </pc:inkChg>
        <pc:inkChg chg="add mod">
          <ac:chgData name="Aniket Chhabra" userId="598e0514-bef3-4e71-b6aa-f2edd6441cff" providerId="ADAL" clId="{935EF258-ACF9-4C40-8F27-4828ABBE04AA}" dt="2023-01-28T04:43:25.521" v="111"/>
          <ac:inkMkLst>
            <pc:docMk/>
            <pc:sldMk cId="3979036142" sldId="296"/>
            <ac:inkMk id="127" creationId="{C82A2B58-19E0-BE7D-C02F-1259ABE97AEB}"/>
          </ac:inkMkLst>
        </pc:inkChg>
        <pc:inkChg chg="add mod">
          <ac:chgData name="Aniket Chhabra" userId="598e0514-bef3-4e71-b6aa-f2edd6441cff" providerId="ADAL" clId="{935EF258-ACF9-4C40-8F27-4828ABBE04AA}" dt="2023-01-28T04:43:25.521" v="111"/>
          <ac:inkMkLst>
            <pc:docMk/>
            <pc:sldMk cId="3979036142" sldId="296"/>
            <ac:inkMk id="128" creationId="{FDC99DF8-DCC5-3BFF-CD42-73D5FF49D03F}"/>
          </ac:inkMkLst>
        </pc:inkChg>
        <pc:inkChg chg="add mod">
          <ac:chgData name="Aniket Chhabra" userId="598e0514-bef3-4e71-b6aa-f2edd6441cff" providerId="ADAL" clId="{935EF258-ACF9-4C40-8F27-4828ABBE04AA}" dt="2023-01-28T04:43:25.521" v="111"/>
          <ac:inkMkLst>
            <pc:docMk/>
            <pc:sldMk cId="3979036142" sldId="296"/>
            <ac:inkMk id="129" creationId="{95137124-4A90-2DCA-C801-8D664AB2103D}"/>
          </ac:inkMkLst>
        </pc:inkChg>
        <pc:inkChg chg="add mod">
          <ac:chgData name="Aniket Chhabra" userId="598e0514-bef3-4e71-b6aa-f2edd6441cff" providerId="ADAL" clId="{935EF258-ACF9-4C40-8F27-4828ABBE04AA}" dt="2023-01-28T04:43:25.521" v="111"/>
          <ac:inkMkLst>
            <pc:docMk/>
            <pc:sldMk cId="3979036142" sldId="296"/>
            <ac:inkMk id="130" creationId="{4CACA5FA-0519-62BA-C90D-D5B0D716A48B}"/>
          </ac:inkMkLst>
        </pc:inkChg>
        <pc:inkChg chg="add mod">
          <ac:chgData name="Aniket Chhabra" userId="598e0514-bef3-4e71-b6aa-f2edd6441cff" providerId="ADAL" clId="{935EF258-ACF9-4C40-8F27-4828ABBE04AA}" dt="2023-01-28T04:43:25.521" v="111"/>
          <ac:inkMkLst>
            <pc:docMk/>
            <pc:sldMk cId="3979036142" sldId="296"/>
            <ac:inkMk id="131" creationId="{3A2DCF67-00D3-6493-8DFA-9E23209BC349}"/>
          </ac:inkMkLst>
        </pc:inkChg>
        <pc:inkChg chg="add mod">
          <ac:chgData name="Aniket Chhabra" userId="598e0514-bef3-4e71-b6aa-f2edd6441cff" providerId="ADAL" clId="{935EF258-ACF9-4C40-8F27-4828ABBE04AA}" dt="2023-01-28T04:43:25.521" v="111"/>
          <ac:inkMkLst>
            <pc:docMk/>
            <pc:sldMk cId="3979036142" sldId="296"/>
            <ac:inkMk id="132" creationId="{906229F9-638E-D762-F0E1-1768FF14A14A}"/>
          </ac:inkMkLst>
        </pc:inkChg>
        <pc:inkChg chg="add mod">
          <ac:chgData name="Aniket Chhabra" userId="598e0514-bef3-4e71-b6aa-f2edd6441cff" providerId="ADAL" clId="{935EF258-ACF9-4C40-8F27-4828ABBE04AA}" dt="2023-01-28T04:43:25.521" v="111"/>
          <ac:inkMkLst>
            <pc:docMk/>
            <pc:sldMk cId="3979036142" sldId="296"/>
            <ac:inkMk id="133" creationId="{0272E0F9-7AFB-859C-4A04-3FDD6B979960}"/>
          </ac:inkMkLst>
        </pc:inkChg>
        <pc:inkChg chg="add mod">
          <ac:chgData name="Aniket Chhabra" userId="598e0514-bef3-4e71-b6aa-f2edd6441cff" providerId="ADAL" clId="{935EF258-ACF9-4C40-8F27-4828ABBE04AA}" dt="2023-01-28T04:43:25.521" v="111"/>
          <ac:inkMkLst>
            <pc:docMk/>
            <pc:sldMk cId="3979036142" sldId="296"/>
            <ac:inkMk id="135" creationId="{228AA1E3-9380-82B9-F56D-5973F6A16C6F}"/>
          </ac:inkMkLst>
        </pc:inkChg>
        <pc:inkChg chg="add mod">
          <ac:chgData name="Aniket Chhabra" userId="598e0514-bef3-4e71-b6aa-f2edd6441cff" providerId="ADAL" clId="{935EF258-ACF9-4C40-8F27-4828ABBE04AA}" dt="2023-01-28T04:43:25.521" v="111"/>
          <ac:inkMkLst>
            <pc:docMk/>
            <pc:sldMk cId="3979036142" sldId="296"/>
            <ac:inkMk id="136" creationId="{38DEEA40-BC5A-C0C4-1962-E6B89D2B3FBD}"/>
          </ac:inkMkLst>
        </pc:inkChg>
        <pc:inkChg chg="add mod">
          <ac:chgData name="Aniket Chhabra" userId="598e0514-bef3-4e71-b6aa-f2edd6441cff" providerId="ADAL" clId="{935EF258-ACF9-4C40-8F27-4828ABBE04AA}" dt="2023-01-28T04:43:25.521" v="111"/>
          <ac:inkMkLst>
            <pc:docMk/>
            <pc:sldMk cId="3979036142" sldId="296"/>
            <ac:inkMk id="137" creationId="{691DD5C9-4AB3-EF96-977E-83DE37D9C974}"/>
          </ac:inkMkLst>
        </pc:inkChg>
        <pc:inkChg chg="add mod">
          <ac:chgData name="Aniket Chhabra" userId="598e0514-bef3-4e71-b6aa-f2edd6441cff" providerId="ADAL" clId="{935EF258-ACF9-4C40-8F27-4828ABBE04AA}" dt="2023-01-28T04:43:25.521" v="111"/>
          <ac:inkMkLst>
            <pc:docMk/>
            <pc:sldMk cId="3979036142" sldId="296"/>
            <ac:inkMk id="138" creationId="{FD0F10D5-34DD-0FD2-DFDB-0D512AAB58C8}"/>
          </ac:inkMkLst>
        </pc:inkChg>
        <pc:inkChg chg="add mod">
          <ac:chgData name="Aniket Chhabra" userId="598e0514-bef3-4e71-b6aa-f2edd6441cff" providerId="ADAL" clId="{935EF258-ACF9-4C40-8F27-4828ABBE04AA}" dt="2023-01-28T04:43:25.521" v="111"/>
          <ac:inkMkLst>
            <pc:docMk/>
            <pc:sldMk cId="3979036142" sldId="296"/>
            <ac:inkMk id="139" creationId="{8BD04DBD-DE0D-1E06-2BF4-9D69E100128D}"/>
          </ac:inkMkLst>
        </pc:inkChg>
        <pc:inkChg chg="add mod">
          <ac:chgData name="Aniket Chhabra" userId="598e0514-bef3-4e71-b6aa-f2edd6441cff" providerId="ADAL" clId="{935EF258-ACF9-4C40-8F27-4828ABBE04AA}" dt="2023-01-28T04:43:25.521" v="111"/>
          <ac:inkMkLst>
            <pc:docMk/>
            <pc:sldMk cId="3979036142" sldId="296"/>
            <ac:inkMk id="140" creationId="{A7BE84A9-5C85-87A6-82FF-8B43E8EFFEDC}"/>
          </ac:inkMkLst>
        </pc:inkChg>
        <pc:inkChg chg="add mod">
          <ac:chgData name="Aniket Chhabra" userId="598e0514-bef3-4e71-b6aa-f2edd6441cff" providerId="ADAL" clId="{935EF258-ACF9-4C40-8F27-4828ABBE04AA}" dt="2023-01-28T04:43:25.521" v="111"/>
          <ac:inkMkLst>
            <pc:docMk/>
            <pc:sldMk cId="3979036142" sldId="296"/>
            <ac:inkMk id="141" creationId="{E4FC6136-8543-359F-64D0-BAE202BB81D3}"/>
          </ac:inkMkLst>
        </pc:inkChg>
        <pc:inkChg chg="add mod">
          <ac:chgData name="Aniket Chhabra" userId="598e0514-bef3-4e71-b6aa-f2edd6441cff" providerId="ADAL" clId="{935EF258-ACF9-4C40-8F27-4828ABBE04AA}" dt="2023-01-28T04:43:25.521" v="111"/>
          <ac:inkMkLst>
            <pc:docMk/>
            <pc:sldMk cId="3979036142" sldId="296"/>
            <ac:inkMk id="142" creationId="{83FB91AC-65F9-94FC-BB5E-BF57D951C83E}"/>
          </ac:inkMkLst>
        </pc:inkChg>
      </pc:sldChg>
      <pc:sldChg chg="addSp delSp modSp mod">
        <pc:chgData name="Aniket Chhabra" userId="598e0514-bef3-4e71-b6aa-f2edd6441cff" providerId="ADAL" clId="{935EF258-ACF9-4C40-8F27-4828ABBE04AA}" dt="2023-01-28T05:19:52.939" v="531"/>
        <pc:sldMkLst>
          <pc:docMk/>
          <pc:sldMk cId="2888229444" sldId="297"/>
        </pc:sldMkLst>
        <pc:grpChg chg="mod">
          <ac:chgData name="Aniket Chhabra" userId="598e0514-bef3-4e71-b6aa-f2edd6441cff" providerId="ADAL" clId="{935EF258-ACF9-4C40-8F27-4828ABBE04AA}" dt="2023-01-28T05:19:32.814" v="512"/>
          <ac:grpSpMkLst>
            <pc:docMk/>
            <pc:sldMk cId="2888229444" sldId="297"/>
            <ac:grpSpMk id="11" creationId="{F0ABBC6C-3BAC-40C6-B831-76C260C68CDF}"/>
          </ac:grpSpMkLst>
        </pc:grpChg>
        <pc:grpChg chg="mod">
          <ac:chgData name="Aniket Chhabra" userId="598e0514-bef3-4e71-b6aa-f2edd6441cff" providerId="ADAL" clId="{935EF258-ACF9-4C40-8F27-4828ABBE04AA}" dt="2023-01-28T05:19:42.999" v="518"/>
          <ac:grpSpMkLst>
            <pc:docMk/>
            <pc:sldMk cId="2888229444" sldId="297"/>
            <ac:grpSpMk id="14" creationId="{2226B16F-2616-C542-5EE3-AF6CBEDE67EC}"/>
          </ac:grpSpMkLst>
        </pc:grpChg>
        <pc:grpChg chg="del mod">
          <ac:chgData name="Aniket Chhabra" userId="598e0514-bef3-4e71-b6aa-f2edd6441cff" providerId="ADAL" clId="{935EF258-ACF9-4C40-8F27-4828ABBE04AA}" dt="2023-01-28T05:19:36.597" v="515"/>
          <ac:grpSpMkLst>
            <pc:docMk/>
            <pc:sldMk cId="2888229444" sldId="297"/>
            <ac:grpSpMk id="36" creationId="{721FBF19-7BF1-9C0D-7F58-18E69276842A}"/>
          </ac:grpSpMkLst>
        </pc:grpChg>
        <pc:grpChg chg="mod">
          <ac:chgData name="Aniket Chhabra" userId="598e0514-bef3-4e71-b6aa-f2edd6441cff" providerId="ADAL" clId="{935EF258-ACF9-4C40-8F27-4828ABBE04AA}" dt="2023-01-28T05:19:49.646" v="526"/>
          <ac:grpSpMkLst>
            <pc:docMk/>
            <pc:sldMk cId="2888229444" sldId="297"/>
            <ac:grpSpMk id="76" creationId="{BC759320-4BEF-CAB0-20C7-512E87FD6A56}"/>
          </ac:grpSpMkLst>
        </pc:grpChg>
        <pc:grpChg chg="del mod">
          <ac:chgData name="Aniket Chhabra" userId="598e0514-bef3-4e71-b6aa-f2edd6441cff" providerId="ADAL" clId="{935EF258-ACF9-4C40-8F27-4828ABBE04AA}" dt="2023-01-28T05:19:52.939" v="531"/>
          <ac:grpSpMkLst>
            <pc:docMk/>
            <pc:sldMk cId="2888229444" sldId="297"/>
            <ac:grpSpMk id="77" creationId="{7C8D254B-706D-D349-3267-43E95E554CAC}"/>
          </ac:grpSpMkLst>
        </pc:grpChg>
        <pc:grpChg chg="mod">
          <ac:chgData name="Aniket Chhabra" userId="598e0514-bef3-4e71-b6aa-f2edd6441cff" providerId="ADAL" clId="{935EF258-ACF9-4C40-8F27-4828ABBE04AA}" dt="2023-01-28T05:19:52.939" v="531"/>
          <ac:grpSpMkLst>
            <pc:docMk/>
            <pc:sldMk cId="2888229444" sldId="297"/>
            <ac:grpSpMk id="136" creationId="{BEFB2420-2C73-9820-1F07-1D269548C62C}"/>
          </ac:grpSpMkLst>
        </pc:grpChg>
        <pc:inkChg chg="add mod">
          <ac:chgData name="Aniket Chhabra" userId="598e0514-bef3-4e71-b6aa-f2edd6441cff" providerId="ADAL" clId="{935EF258-ACF9-4C40-8F27-4828ABBE04AA}" dt="2023-01-28T05:19:32.814" v="512"/>
          <ac:inkMkLst>
            <pc:docMk/>
            <pc:sldMk cId="2888229444" sldId="297"/>
            <ac:inkMk id="9" creationId="{BAAE1FBA-CB24-85AE-2F41-5BF8B8AB7E3B}"/>
          </ac:inkMkLst>
        </pc:inkChg>
        <pc:inkChg chg="add mod">
          <ac:chgData name="Aniket Chhabra" userId="598e0514-bef3-4e71-b6aa-f2edd6441cff" providerId="ADAL" clId="{935EF258-ACF9-4C40-8F27-4828ABBE04AA}" dt="2023-01-28T05:19:32.814" v="512"/>
          <ac:inkMkLst>
            <pc:docMk/>
            <pc:sldMk cId="2888229444" sldId="297"/>
            <ac:inkMk id="10" creationId="{14C97E09-5E68-5340-54D3-5CB20869901D}"/>
          </ac:inkMkLst>
        </pc:inkChg>
        <pc:inkChg chg="add mod">
          <ac:chgData name="Aniket Chhabra" userId="598e0514-bef3-4e71-b6aa-f2edd6441cff" providerId="ADAL" clId="{935EF258-ACF9-4C40-8F27-4828ABBE04AA}" dt="2023-01-28T05:19:42.999" v="518"/>
          <ac:inkMkLst>
            <pc:docMk/>
            <pc:sldMk cId="2888229444" sldId="297"/>
            <ac:inkMk id="12" creationId="{BB9C59B4-F5B7-0FE3-CFA1-B3E7AC3DEA4F}"/>
          </ac:inkMkLst>
        </pc:inkChg>
        <pc:inkChg chg="add mod">
          <ac:chgData name="Aniket Chhabra" userId="598e0514-bef3-4e71-b6aa-f2edd6441cff" providerId="ADAL" clId="{935EF258-ACF9-4C40-8F27-4828ABBE04AA}" dt="2023-01-28T05:19:42.999" v="518"/>
          <ac:inkMkLst>
            <pc:docMk/>
            <pc:sldMk cId="2888229444" sldId="297"/>
            <ac:inkMk id="13" creationId="{80D69C91-458A-32C3-1A61-9D7141EC0293}"/>
          </ac:inkMkLst>
        </pc:inkChg>
        <pc:inkChg chg="add">
          <ac:chgData name="Aniket Chhabra" userId="598e0514-bef3-4e71-b6aa-f2edd6441cff" providerId="ADAL" clId="{935EF258-ACF9-4C40-8F27-4828ABBE04AA}" dt="2023-01-28T05:19:44.280" v="519" actId="9405"/>
          <ac:inkMkLst>
            <pc:docMk/>
            <pc:sldMk cId="2888229444" sldId="297"/>
            <ac:inkMk id="15" creationId="{54762A89-5FC3-33D0-870C-A08444A7EC9C}"/>
          </ac:inkMkLst>
        </pc:inkChg>
        <pc:inkChg chg="add mod">
          <ac:chgData name="Aniket Chhabra" userId="598e0514-bef3-4e71-b6aa-f2edd6441cff" providerId="ADAL" clId="{935EF258-ACF9-4C40-8F27-4828ABBE04AA}" dt="2023-01-28T05:19:52.939" v="531"/>
          <ac:inkMkLst>
            <pc:docMk/>
            <pc:sldMk cId="2888229444" sldId="297"/>
            <ac:inkMk id="16" creationId="{BB7EF556-8757-FACE-3A02-1E999F24F027}"/>
          </ac:inkMkLst>
        </pc:inkChg>
        <pc:inkChg chg="add mod">
          <ac:chgData name="Aniket Chhabra" userId="598e0514-bef3-4e71-b6aa-f2edd6441cff" providerId="ADAL" clId="{935EF258-ACF9-4C40-8F27-4828ABBE04AA}" dt="2023-01-28T05:19:52.939" v="531"/>
          <ac:inkMkLst>
            <pc:docMk/>
            <pc:sldMk cId="2888229444" sldId="297"/>
            <ac:inkMk id="17" creationId="{5A74E67C-7552-96A0-1C93-BBFA2CA67381}"/>
          </ac:inkMkLst>
        </pc:inkChg>
        <pc:inkChg chg="add mod">
          <ac:chgData name="Aniket Chhabra" userId="598e0514-bef3-4e71-b6aa-f2edd6441cff" providerId="ADAL" clId="{935EF258-ACF9-4C40-8F27-4828ABBE04AA}" dt="2023-01-28T05:19:52.939" v="531"/>
          <ac:inkMkLst>
            <pc:docMk/>
            <pc:sldMk cId="2888229444" sldId="297"/>
            <ac:inkMk id="18" creationId="{352A5B59-C4AF-2F3E-AFC3-FB7FF77F2781}"/>
          </ac:inkMkLst>
        </pc:inkChg>
        <pc:inkChg chg="add mod">
          <ac:chgData name="Aniket Chhabra" userId="598e0514-bef3-4e71-b6aa-f2edd6441cff" providerId="ADAL" clId="{935EF258-ACF9-4C40-8F27-4828ABBE04AA}" dt="2023-01-28T05:19:49.646" v="526"/>
          <ac:inkMkLst>
            <pc:docMk/>
            <pc:sldMk cId="2888229444" sldId="297"/>
            <ac:inkMk id="22" creationId="{9D17D398-5858-38A3-FF8F-A9DC60C53B80}"/>
          </ac:inkMkLst>
        </pc:inkChg>
        <pc:inkChg chg="add mod">
          <ac:chgData name="Aniket Chhabra" userId="598e0514-bef3-4e71-b6aa-f2edd6441cff" providerId="ADAL" clId="{935EF258-ACF9-4C40-8F27-4828ABBE04AA}" dt="2023-01-28T05:19:49.646" v="526"/>
          <ac:inkMkLst>
            <pc:docMk/>
            <pc:sldMk cId="2888229444" sldId="297"/>
            <ac:inkMk id="23" creationId="{DFC4711D-D6D3-663D-2773-3060962FE9D5}"/>
          </ac:inkMkLst>
        </pc:inkChg>
        <pc:inkChg chg="add mod">
          <ac:chgData name="Aniket Chhabra" userId="598e0514-bef3-4e71-b6aa-f2edd6441cff" providerId="ADAL" clId="{935EF258-ACF9-4C40-8F27-4828ABBE04AA}" dt="2023-01-28T05:19:52.939" v="531"/>
          <ac:inkMkLst>
            <pc:docMk/>
            <pc:sldMk cId="2888229444" sldId="297"/>
            <ac:inkMk id="27" creationId="{C9738F33-BF0C-4EBD-F3EE-5D320E122CEC}"/>
          </ac:inkMkLst>
        </pc:inkChg>
        <pc:inkChg chg="del">
          <ac:chgData name="Aniket Chhabra" userId="598e0514-bef3-4e71-b6aa-f2edd6441cff" providerId="ADAL" clId="{935EF258-ACF9-4C40-8F27-4828ABBE04AA}" dt="2023-01-28T05:19:36.597" v="514"/>
          <ac:inkMkLst>
            <pc:docMk/>
            <pc:sldMk cId="2888229444" sldId="297"/>
            <ac:inkMk id="29" creationId="{C773F4CB-8880-63E6-D5D9-0C3786DF2C44}"/>
          </ac:inkMkLst>
        </pc:inkChg>
        <pc:inkChg chg="mod">
          <ac:chgData name="Aniket Chhabra" userId="598e0514-bef3-4e71-b6aa-f2edd6441cff" providerId="ADAL" clId="{935EF258-ACF9-4C40-8F27-4828ABBE04AA}" dt="2023-01-28T05:19:36.597" v="515"/>
          <ac:inkMkLst>
            <pc:docMk/>
            <pc:sldMk cId="2888229444" sldId="297"/>
            <ac:inkMk id="34" creationId="{493A5045-B420-0232-2049-788308714317}"/>
          </ac:inkMkLst>
        </pc:inkChg>
        <pc:inkChg chg="del">
          <ac:chgData name="Aniket Chhabra" userId="598e0514-bef3-4e71-b6aa-f2edd6441cff" providerId="ADAL" clId="{935EF258-ACF9-4C40-8F27-4828ABBE04AA}" dt="2023-01-28T05:19:36.597" v="515"/>
          <ac:inkMkLst>
            <pc:docMk/>
            <pc:sldMk cId="2888229444" sldId="297"/>
            <ac:inkMk id="35" creationId="{04B50CF7-920E-08C2-C407-8F1E12AC4B71}"/>
          </ac:inkMkLst>
        </pc:inkChg>
        <pc:inkChg chg="del">
          <ac:chgData name="Aniket Chhabra" userId="598e0514-bef3-4e71-b6aa-f2edd6441cff" providerId="ADAL" clId="{935EF258-ACF9-4C40-8F27-4828ABBE04AA}" dt="2023-01-28T05:19:36.596" v="513"/>
          <ac:inkMkLst>
            <pc:docMk/>
            <pc:sldMk cId="2888229444" sldId="297"/>
            <ac:inkMk id="37" creationId="{69A4474F-766B-B545-DD64-158EF828B77F}"/>
          </ac:inkMkLst>
        </pc:inkChg>
        <pc:inkChg chg="add mod">
          <ac:chgData name="Aniket Chhabra" userId="598e0514-bef3-4e71-b6aa-f2edd6441cff" providerId="ADAL" clId="{935EF258-ACF9-4C40-8F27-4828ABBE04AA}" dt="2023-01-28T05:19:52.939" v="531"/>
          <ac:inkMkLst>
            <pc:docMk/>
            <pc:sldMk cId="2888229444" sldId="297"/>
            <ac:inkMk id="78" creationId="{CF345F07-4527-448E-E15D-02FEE9930977}"/>
          </ac:inkMkLst>
        </pc:inkChg>
        <pc:inkChg chg="add mod">
          <ac:chgData name="Aniket Chhabra" userId="598e0514-bef3-4e71-b6aa-f2edd6441cff" providerId="ADAL" clId="{935EF258-ACF9-4C40-8F27-4828ABBE04AA}" dt="2023-01-28T05:19:52.939" v="531"/>
          <ac:inkMkLst>
            <pc:docMk/>
            <pc:sldMk cId="2888229444" sldId="297"/>
            <ac:inkMk id="90" creationId="{3660AFFC-8E6A-365B-77B1-3EFD509366D5}"/>
          </ac:inkMkLst>
        </pc:inkChg>
        <pc:inkChg chg="add mod">
          <ac:chgData name="Aniket Chhabra" userId="598e0514-bef3-4e71-b6aa-f2edd6441cff" providerId="ADAL" clId="{935EF258-ACF9-4C40-8F27-4828ABBE04AA}" dt="2023-01-28T05:19:52.939" v="531"/>
          <ac:inkMkLst>
            <pc:docMk/>
            <pc:sldMk cId="2888229444" sldId="297"/>
            <ac:inkMk id="134" creationId="{557720C7-0ACF-B00B-35AC-FC845DCD74DF}"/>
          </ac:inkMkLst>
        </pc:inkChg>
        <pc:inkChg chg="add">
          <ac:chgData name="Aniket Chhabra" userId="598e0514-bef3-4e71-b6aa-f2edd6441cff" providerId="ADAL" clId="{935EF258-ACF9-4C40-8F27-4828ABBE04AA}" dt="2023-01-28T05:19:52.398" v="530" actId="9405"/>
          <ac:inkMkLst>
            <pc:docMk/>
            <pc:sldMk cId="2888229444" sldId="297"/>
            <ac:inkMk id="135" creationId="{A4DE7E89-6E9E-DDA4-7D2F-8AAD50EC350E}"/>
          </ac:inkMkLst>
        </pc:inkChg>
      </pc:sldChg>
    </pc:docChg>
  </pc:docChgLst>
  <pc:docChgLst>
    <pc:chgData name="Aniket Chhabra" userId="598e0514-bef3-4e71-b6aa-f2edd6441cff" providerId="ADAL" clId="{EB424CEA-6313-4E3A-81C7-AF98C2954D72}"/>
    <pc:docChg chg="custSel modSld modMainMaster">
      <pc:chgData name="Aniket Chhabra" userId="598e0514-bef3-4e71-b6aa-f2edd6441cff" providerId="ADAL" clId="{EB424CEA-6313-4E3A-81C7-AF98C2954D72}" dt="2021-03-28T00:33:27.466" v="149"/>
      <pc:docMkLst>
        <pc:docMk/>
      </pc:docMkLst>
      <pc:sldChg chg="addSp delSp modSp mod">
        <pc:chgData name="Aniket Chhabra" userId="598e0514-bef3-4e71-b6aa-f2edd6441cff" providerId="ADAL" clId="{EB424CEA-6313-4E3A-81C7-AF98C2954D72}" dt="2021-03-28T00:33:27.466" v="149"/>
        <pc:sldMkLst>
          <pc:docMk/>
          <pc:sldMk cId="748387421" sldId="256"/>
        </pc:sldMkLst>
        <pc:spChg chg="mod">
          <ac:chgData name="Aniket Chhabra" userId="598e0514-bef3-4e71-b6aa-f2edd6441cff" providerId="ADAL" clId="{EB424CEA-6313-4E3A-81C7-AF98C2954D72}" dt="2021-03-28T00:33:27.411" v="110" actId="948"/>
          <ac:spMkLst>
            <pc:docMk/>
            <pc:sldMk cId="748387421" sldId="256"/>
            <ac:spMk id="2" creationId="{8D06459B-BCBD-4585-9A52-58E1D4BA8255}"/>
          </ac:spMkLst>
        </pc:spChg>
        <pc:spChg chg="add del mod modVis">
          <ac:chgData name="Aniket Chhabra" userId="598e0514-bef3-4e71-b6aa-f2edd6441cff" providerId="ADAL" clId="{EB424CEA-6313-4E3A-81C7-AF98C2954D72}" dt="2021-03-28T00:33:25.458" v="92"/>
          <ac:spMkLst>
            <pc:docMk/>
            <pc:sldMk cId="748387421" sldId="256"/>
            <ac:spMk id="4" creationId="{DF0DE139-785A-4A82-8F3F-940022A9962C}"/>
          </ac:spMkLst>
        </pc:spChg>
        <pc:spChg chg="add del mod modVis">
          <ac:chgData name="Aniket Chhabra" userId="598e0514-bef3-4e71-b6aa-f2edd6441cff" providerId="ADAL" clId="{EB424CEA-6313-4E3A-81C7-AF98C2954D72}" dt="2021-03-28T00:33:27.463" v="147"/>
          <ac:spMkLst>
            <pc:docMk/>
            <pc:sldMk cId="748387421" sldId="256"/>
            <ac:spMk id="6" creationId="{EF5EE5CB-2556-4FB1-A890-EFE9F0BCF244}"/>
          </ac:spMkLst>
        </pc:spChg>
        <pc:graphicFrameChg chg="add mod ord modVis">
          <ac:chgData name="Aniket Chhabra" userId="598e0514-bef3-4e71-b6aa-f2edd6441cff" providerId="ADAL" clId="{EB424CEA-6313-4E3A-81C7-AF98C2954D72}" dt="2021-03-28T00:33:27.466" v="149"/>
          <ac:graphicFrameMkLst>
            <pc:docMk/>
            <pc:sldMk cId="748387421" sldId="256"/>
            <ac:graphicFrameMk id="5" creationId="{78479633-7C2A-4CC3-ACF3-6285A0A3AE7B}"/>
          </ac:graphicFrameMkLst>
        </pc:graphicFrameChg>
      </pc:sldChg>
      <pc:sldMasterChg chg="addSp delSp modSp mod">
        <pc:chgData name="Aniket Chhabra" userId="598e0514-bef3-4e71-b6aa-f2edd6441cff" providerId="ADAL" clId="{EB424CEA-6313-4E3A-81C7-AF98C2954D72}" dt="2021-03-28T00:33:25.457" v="90"/>
        <pc:sldMasterMkLst>
          <pc:docMk/>
          <pc:sldMasterMk cId="570184995" sldId="2147483648"/>
        </pc:sldMasterMkLst>
        <pc:spChg chg="mod">
          <ac:chgData name="Aniket Chhabra" userId="598e0514-bef3-4e71-b6aa-f2edd6441cff" providerId="ADAL" clId="{EB424CEA-6313-4E3A-81C7-AF98C2954D72}" dt="2021-03-28T00:33:25.316" v="2" actId="948"/>
          <ac:spMkLst>
            <pc:docMk/>
            <pc:sldMasterMk cId="570184995" sldId="2147483648"/>
            <ac:spMk id="2" creationId="{63BBF974-B860-4E02-B5BF-37B4E0A4E1C9}"/>
          </ac:spMkLst>
        </pc:spChg>
        <pc:spChg chg="add del mod modVis">
          <ac:chgData name="Aniket Chhabra" userId="598e0514-bef3-4e71-b6aa-f2edd6441cff" providerId="ADAL" clId="{EB424CEA-6313-4E3A-81C7-AF98C2954D72}" dt="2021-03-28T00:33:25.408" v="75"/>
          <ac:spMkLst>
            <pc:docMk/>
            <pc:sldMasterMk cId="570184995" sldId="2147483648"/>
            <ac:spMk id="7" creationId="{043D7150-6238-4251-BC34-F1CE280598A9}"/>
          </ac:spMkLst>
        </pc:spChg>
        <pc:graphicFrameChg chg="add mod ord modVis">
          <ac:chgData name="Aniket Chhabra" userId="598e0514-bef3-4e71-b6aa-f2edd6441cff" providerId="ADAL" clId="{EB424CEA-6313-4E3A-81C7-AF98C2954D72}" dt="2021-03-28T00:33:25.457" v="90"/>
          <ac:graphicFrameMkLst>
            <pc:docMk/>
            <pc:sldMasterMk cId="570184995" sldId="2147483648"/>
            <ac:graphicFrameMk id="8" creationId="{71CB1018-31C9-485B-B873-64D4D061014D}"/>
          </ac:graphicFrameMkLst>
        </pc:graphicFrameChg>
      </pc:sldMasterChg>
    </pc:docChg>
  </pc:docChgLst>
</pc:chgInfo>
</file>

<file path=ppt/ink/ink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290.03943" units="1/cm"/>
          <inkml:channelProperty channel="Y" name="resolution" value="2064.71338" units="1/cm"/>
          <inkml:channelProperty channel="F" name="resolution" value="0" units="1/dev"/>
          <inkml:channelProperty channel="T" name="resolution" value="1" units="1/dev"/>
        </inkml:channelProperties>
      </inkml:inkSource>
      <inkml:timestamp xml:id="ts0" timeString="2021-12-19T04:45:22.844"/>
    </inkml:context>
    <inkml:brush xml:id="br0">
      <inkml:brushProperty name="width" value="0.05292" units="cm"/>
      <inkml:brushProperty name="height" value="0.05292" units="cm"/>
      <inkml:brushProperty name="color" value="#FF0000"/>
    </inkml:brush>
  </inkml:definitions>
  <inkml:trace contextRef="#ctx0" brushRef="#br0">0 2167 113 0,'0'0'41'0,"0"-8"-94"0,0 8 17 0</inkml:trace>
  <inkml:trace contextRef="#ctx0" brushRef="#br0" timeOffset="54160.28">12382 3178 259 0,'0'0'237'15,"17"2"-42"-15,-17-2-48 0,11-2-18 0,-11 2-20 16,11-2-6-16,-11 2-13 0,10-3-6 0,-10 3-15 0,6-8 3 15,-6 8-4-15,6-7 15 0,-6 7-28 0,6-8 9 16,-6 8-33-16,3-9 30 0,-3 9-28 0,3-7 12 16,-3 7-28-16,6-9 13 0,-6 9-23 15,1-6 9-15,-1 6-49 0,3-6-11 0,-3 6-41 0,1-6-40 16,-1 6-50-16,0 0-62 0,3-5-177 0,-3 5 124 16</inkml:trace>
  <inkml:trace contextRef="#ctx0" brushRef="#br0" timeOffset="99100.01">24306 8045 72 0,'27'-3'95'0,"-2"2"-18"15,-4-2 14-15,-2 0-23 0,-1-1-12 0,-3 1-8 16,0 0-10-16,-4-1-11 0,-2 0-34 0,-2-1-55 15,-2 0-96-15,-5 5 40 0</inkml:trace>
  <inkml:trace contextRef="#ctx0" brushRef="#br0" timeOffset="111530.23">23607 12178 1 0,'48'-9'204'0,"0"0"-12"16,-6 0-86-16,-6 1 9 0,-4 1-52 0,-2-1 9 0,-4 2-41 15,-1 0-20-15,-2 3-45 0,-3-1 27 0,0 0-65 16,-3 2 18-16,2 0-145 0</inkml:trace>
  <inkml:trace contextRef="#ctx0" brushRef="#br0" timeOffset="156234.56">18074 3035 153 0,'-16'-4'226'16,"4"-1"-63"-16,2 0 7 0,-3-1-21 0,0 0-34 0,2 0 8 16,1 0-23-16,1 0 26 0,0 2-18 0,1-1-19 15,-1 1-20-15,3-1-10 0,6 5-18 0,-13-7-17 16,13 7-11-16,-6-6-5 0,6 6-15 0,1-7-22 15,4 0-39-15,5 0-48 0,6-2-38 0,8-4-26 16,8-4-194-16,4-2 167 0</inkml:trace>
  <inkml:trace contextRef="#ctx0" brushRef="#br0" timeOffset="156547.51">19424 2419 64 0,'14'-13'64'0,"1"3"-1"15,-2-2-24-15,4-1 5 0,-2 2-26 0,2-1 6 16,-2-2-9-16,1 3 7 0,1-3-31 16,2 1-32-16,-2 0-64 0,5-1 37 0</inkml:trace>
  <inkml:trace contextRef="#ctx0" brushRef="#br0" timeOffset="207482.44">12392 18537 200 0,'3'-7'169'0,"1"-1"-13"0,-2 1-60 0,-2-1 24 16,3 1-46-16,-2-2 27 0,-1 2-50 0,3 0 27 15,-2-1-51-15,0 1 27 0,-1-1-42 0,0 1 28 16,1 0-42-16,1 1 37 0,-2 6-47 0,2-12 34 15,-2 12-109-15,4-9 5 0,-4 9-42 0,3-7 5 16,-3 7-136-16,0 0 80 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07:42:49.407"/>
    </inkml:context>
    <inkml:brush xml:id="br0">
      <inkml:brushProperty name="width" value="0.08571" units="cm"/>
      <inkml:brushProperty name="height" value="0.08571" units="cm"/>
      <inkml:brushProperty name="color" value="#E71224"/>
    </inkml:brush>
  </inkml:definitions>
  <inkml:trace contextRef="#ctx0" brushRef="#br0">66 1 11400,'-11'22'1260,"1"0"-990,4-10-1,1 2 1,-1 0 0,2 0-90,0 1 360,1 0-270,3 7-1,1-4-89,2 5-90,3-7 90,0 0-90,3-1 0,0 0 0,1-2-90,1-1 90,-1-2 0,1-3 0,0 0 180,4-2 0,-1-5-180,4-6-1,-8-4-89,-2-4 90,-5 0-90,-1-1 0,-2-2 0,-1 0 90,-2-1-90,-1-1-90,-2 1 90,-1 1-179,-1 0-1,-2 3-270,-2 1 0,-1 2-180,-1 1-89,-2 1-91,2 2-89,-1 2-1890,1 1 2789,-4 1 0,9 1 0,-1 0 0</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25.243"/>
    </inkml:context>
    <inkml:brush xml:id="br0">
      <inkml:brushProperty name="width" value="0.08571" units="cm"/>
      <inkml:brushProperty name="height" value="0.08571" units="cm"/>
      <inkml:brushProperty name="color" value="#00A0D7"/>
    </inkml:brush>
  </inkml:definitions>
  <inkml:trace contextRef="#ctx0" brushRef="#br0">273 1 16618,'-17'19'719,"0"0"-449,5-10 0,-2 1 0,0 1-1,0-1 271,-9 6-360,6-4 90,-6 3 0,7-6 90,-5 4-91,5-5 181,-3 2 180,4-2-91,2-2-359,-2-3-90,9-8 0,5-4-90,8-3 0,2 0 0,4 0 0,2-2 0,3-1 0,2 1 0,1-1 0,1 2 0,1 0 0,0 3-90,-2 0 90,1 2 0,24 0 0,-21 5 0,19 1 0,-26 6 0,0 1 0,0 1 0,-2 1 0,0 1 0,-1 0 0,0 2 0,-2-1-90,-1 1-359,3 5-1,-5-4-180,2 4-1529,-6-4-1259,1 4 3418,-2 0 0,-2-5 0,-2-2 0</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58.381"/>
    </inkml:context>
    <inkml:brush xml:id="br0">
      <inkml:brushProperty name="width" value="0.08571" units="cm"/>
      <inkml:brushProperty name="height" value="0.08571" units="cm"/>
      <inkml:brushProperty name="color" value="#00A0D7"/>
    </inkml:brush>
  </inkml:definitions>
  <inkml:trace contextRef="#ctx0" brushRef="#br0">52 0 12660,'-9'24'1619,"0"-2"-1169,4-10-1,-1 1 1,0 1 0,1 0 1079,-2 5-540,3 3-539,3 4-90,5-5 0,5-3-90,5-6-91,4-1 1,4-2 0,4 0-90,3-4 0,2-1 0,2-2-90,1-2 90,0-2-360,20-5-90,-12 0-1622,12-3 1172,-20 3-269,-3-1-540,-2 1-1709,-3 2-2159,-3-1 5487,-6 2 0,-7 1 0,-4 2 0</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58.555"/>
    </inkml:context>
    <inkml:brush xml:id="br0">
      <inkml:brushProperty name="width" value="0.08571" units="cm"/>
      <inkml:brushProperty name="height" value="0.08571" units="cm"/>
      <inkml:brushProperty name="color" value="#00A0D7"/>
    </inkml:brush>
  </inkml:definitions>
  <inkml:trace contextRef="#ctx0" brushRef="#br0">0 95 10861,'31'9'2968,"-5"-3"-2518,6-10-90,0-2-180,3-1-450,44-9-270,-24 5-967,29-7 518,-36 8-1080,-2 1-809,-2 1 2878,-1 1 0,0 0 0,0 1 0</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28.850"/>
    </inkml:context>
    <inkml:brush xml:id="br0">
      <inkml:brushProperty name="width" value="0.08571" units="cm"/>
      <inkml:brushProperty name="height" value="0.08571" units="cm"/>
      <inkml:brushProperty name="color" value="#00A0D7"/>
    </inkml:brush>
  </inkml:definitions>
  <inkml:trace contextRef="#ctx0" brushRef="#br0">0 83 16707,'29'12'900,"-5"-3"-630,1-6-90,-4-2 0,3 1-1,4-1-89,3-1 90,3 0-90,5-1-90,2-1 90,3 0 0,3 0 0,1-1 180,25-3-90,-14 2-373,15-3 373,-22 3-90,-3 0 0,0-1 90,-1 0-90,0 0-90,-2 0 90,-1 0 0,-2-1-90,-2 1 25,-4 0-25,-1 0 0,-6 0 0,-1 2-3247,-3-1 3247,-2 1-90,-3-1-180,-2 1-652,-1 1-607,2-1-1214,-3 0-4633,2 3 8224,-14 4 0,0-2 0,-9 3 0</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29.220"/>
    </inkml:context>
    <inkml:brush xml:id="br0">
      <inkml:brushProperty name="width" value="0.08571" units="cm"/>
      <inkml:brushProperty name="height" value="0.08571" units="cm"/>
      <inkml:brushProperty name="color" value="#00A0D7"/>
    </inkml:brush>
  </inkml:definitions>
  <inkml:trace contextRef="#ctx0" brushRef="#br0">77 69 8522,'-25'12'4947,"3"-2"-3148,6-2-449,4 0-631,11-2-179,6 1-180,15-2-91,-1-3 1,6 0 0,-1-1 90,4 0-90,3-1 90,5 0-1,6 0-89,2-2 180,5 1-461,4-1 371,1 0 0,4-1 0,-1-1-1,-4 0 1,-1-1-90,-4 0 90,-2 0-180,-2-1 61,-2 1-61,-4-1-90,-3 0 90,-4 0-90,-2-1 0,-3 1 0,-2 0 0,-3 0-90,-2 0 0,-1 0 459,-3 1-729,-1 1-510,-2 0-479,3-2-8572,-2 1 9635,-10-2 0,-10 6 1,-13 2-1</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7:00.685"/>
    </inkml:context>
    <inkml:brush xml:id="br0">
      <inkml:brushProperty name="width" value="0.08571" units="cm"/>
      <inkml:brushProperty name="height" value="0.08571" units="cm"/>
      <inkml:brushProperty name="color" value="#00A0D7"/>
    </inkml:brush>
  </inkml:definitions>
  <inkml:trace contextRef="#ctx0" brushRef="#br0">185 32 7803,'-22'-9'2158,"3"-1"-1528,6 4 0,0 0 269,2 7-359,-3 6-1,4 7-89,-1 6 90,2 1-90,0 5-1,0 7 1,0 3-90,1 7 90,0 1-180,2 3 89,1 2-89,1 1-90,1 1-465,2 0 465,1 0 0,2-1-91,1-1 1,2-1 0,0-1 0,1-3 0,1 0-90,1-3 0,0-2-79,0-4 79,-1-2 90,1-3-180,-1-2-270,0-4 0,0-1-1888,0 1 2362,0-4 0,-2-4 0,-2-8 1</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7:01.114"/>
    </inkml:context>
    <inkml:brush xml:id="br0">
      <inkml:brushProperty name="width" value="0.08571" units="cm"/>
      <inkml:brushProperty name="height" value="0.08571" units="cm"/>
      <inkml:brushProperty name="color" value="#00A0D7"/>
    </inkml:brush>
  </inkml:definitions>
  <inkml:trace contextRef="#ctx0" brushRef="#br0">196 99 8702,'26'-21'2069,"1"2"-1529,2 6-91,6 2 271,34-3-450,-10 5-1155,26 0 1425,12 6-406,-44 4 1,2-1-45,0 1 0,-1 0-45,-1 1 0,-4 0 135,21 2-180,-2 0 90,-2 1-90,-1-1-556,-3 1 556,-2-1 90,-5 0-102,-4 1 102,-5-2 0,-5 1 180,-4-1-90,-3 1-1,-3 1 91,-4-1 514,-1 1-514,-4 0 787,-1 1-697,-2 2 601,-1 3-511,-2 2-90,-1 4-1,-2 4 91,-2 5 90,-2 4-90,-2 7 89,-2 3 1,-1 7 0,-1 3-312,-2 3 311,-1 4-682,0 2 593,-3 3 0,-2 0-2744,8-6 0,-14 8 3853,-29-15 0,-25 5 0,-13 3 0,-5 1 1,7 0-1,18-3-1559,13 22 0,14-2 0,-26-13 0,-9-31 0,-19-7 0,-16-6 0,-8-6 0,-5-5 0,2-7 0,6-5 0,12-5 0,9-26 0,1 0 0,-1 0 0,0 0 0,0-1 0,0 1 0</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07:51:02.740"/>
    </inkml:context>
    <inkml:brush xml:id="br0">
      <inkml:brushProperty name="width" value="0.05" units="cm"/>
      <inkml:brushProperty name="height" value="0.05" units="cm"/>
      <inkml:brushProperty name="color" value="#E71224"/>
    </inkml:brush>
  </inkml:definitions>
  <inkml:trace contextRef="#ctx0" brushRef="#br0">1 194 24575,'26'0'0,"-8"0"0,25 0 0,-4 0 0,18-3 0,3-1 0,7-3 0,-5-1 0,-1-1 0,-5-8 0,-7 1 0,4 1 0,-15 3 0,0-1 0,-4 1 0,-2-1 0,-1 5 0,0 1 0,0 0 0,-3-1 0,-3 1 0,-3 1 0,-1 1 0,0 1 0,-5 1 0,0 1 0,-3 1 0,-2-2 0,0 1 0,2 1 0,-3 0 0,1 1 0,-2 0 0,-1 0 0,-2 0 0,-2 0 0,-1 0 0,0 0 0,0 0 0,0 0 0,0 0 0,0 0 0,0 0 0,0 0 0,0 0 0,-1 0 0,0 0 0</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49.817"/>
    </inkml:context>
    <inkml:brush xml:id="br0">
      <inkml:brushProperty name="width" value="0.08571" units="cm"/>
      <inkml:brushProperty name="height" value="0.08571" units="cm"/>
      <inkml:brushProperty name="color" value="#E71224"/>
    </inkml:brush>
  </inkml:definitions>
  <inkml:trace contextRef="#ctx0" brushRef="#br0">0 4 14819,'34'6'629,"2"-2"-449,-1-7-270,26-2-90,-11 3-989,38-2 269,-37 4-2866,11 1 258,-23 1 3534,-7 0 1,-1 1-1,-3 0 1</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49.981"/>
    </inkml:context>
    <inkml:brush xml:id="br0">
      <inkml:brushProperty name="width" value="0.08571" units="cm"/>
      <inkml:brushProperty name="height" value="0.08571" units="cm"/>
      <inkml:brushProperty name="color" value="#E71224"/>
    </inkml:brush>
  </inkml:definitions>
  <inkml:trace contextRef="#ctx0" brushRef="#br0">142 180 8252,'-31'7'3958,"2"-1"-3058,4-1-1,4 0-269,2-2 1169,4 0-1619,13-8-180,9 2-90,17-8-450,9 2 90,30-8-180,-10 4-473,21-7 294,-20 7-91,0-2-89,0 1-810,-1-1-630,1-1 2429,-2-1 0,0-3 0,-2-1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07:42:49.716"/>
    </inkml:context>
    <inkml:brush xml:id="br0">
      <inkml:brushProperty name="width" value="0.08571" units="cm"/>
      <inkml:brushProperty name="height" value="0.08571" units="cm"/>
      <inkml:brushProperty name="color" value="#E71224"/>
    </inkml:brush>
  </inkml:definitions>
  <inkml:trace contextRef="#ctx0" brushRef="#br0">1 13 7623,'22'0'4497,"-4"3"-3777,-6 5-181,-5 5 1,-4 4-360,-1 7 90,-1-5-90,0 3 90,0-6-1,2 0-89,1 2 0,1-1 0,1 1-90,2 0 0,1-1 90,1-2-90,1 0 0,1-1 0,1-1 180,-1-2-91,1-2 181,-1-1 0,3-2-90,1-4-90,2-6-90,-3-9-90,-5-1 90,-3-5-90,-5 3 90,-1-1-90,-1-1 0,-2-2 0,-1 0 0,-2 0-180,-1-1-90,-1 2-270,-2 0 1,-1 1-181,-1 2-180,-2 1 1,1 1-180,-1 2-181,0 1-719,1 2 1979,1 0 0,5 5 0,2 0 0</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51.127"/>
    </inkml:context>
    <inkml:brush xml:id="br0">
      <inkml:brushProperty name="width" value="0.08571" units="cm"/>
      <inkml:brushProperty name="height" value="0.08571" units="cm"/>
      <inkml:brushProperty name="color" value="#E71224"/>
    </inkml:brush>
  </inkml:definitions>
  <inkml:trace contextRef="#ctx0" brushRef="#br0">34 42 10591,'-18'21'2968,"4"-1"-2068,12-5-540,7 3-1,2-5-89,7 1 0,0-5-90,5-1 0,2-1 0,2-1-90,1-2 0,2-2 0,0-2 89,1-2 1,0-3 0,0-2 0,-1-3 0,-1-1 90,-2-2 0,-2-2 90,-2 0-91,-2 0 91,-2 0 0,-2 2 0,-2 1 90,-1 1-181,1-2 91,0 2-90,2 1-270,-5 10 90,-2 8 0,-4 13-90,-1 6 0,0-2 0,0 3-90,0-7-3482,0 3 3302,1 0-90,-1 0-179,0 1-271,-1 0 1,0 0-181,-1 0-179,0-1 0,0-1 3121,-1-1-4380,0-1-1170,0-3 3598,0-2 0,1-8 0,0-1 0</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51.525"/>
    </inkml:context>
    <inkml:brush xml:id="br0">
      <inkml:brushProperty name="width" value="0.08571" units="cm"/>
      <inkml:brushProperty name="height" value="0.08571" units="cm"/>
      <inkml:brushProperty name="color" value="#E71224"/>
    </inkml:brush>
  </inkml:definitions>
  <inkml:trace contextRef="#ctx0" brushRef="#br0">850 168 7803,'-22'-35'2068,"-2"3"-1618,1 10 90,-5 1-90,-3 3-91,-3 2 91,-3 4-90,-2 4-90,-3 4 0,-1 6 89,-5 4-179,-1 7 180,-5 5-1073,-1 9 983,0 6 0,0 9-90,5 5-1,5 5 1,9-1 0,6 3 0,8-3 0,6 2 0,8-1-90,5-1 90,8 0-90,6 0 0,7 2 90,6-2-90,7-3-1,7 1 271,26 10-180,-11-16 90,18 4-90,-18-24 90,1-5 90,3-5-2999,1-6 2819,2-6 90,-2-6-447,1-7 357,2-8 90,-2-7-135,-18-3 0,-1-4 45,17-22-91,-22 15 1,-2-1 90,4-26 0,-5 0-90,-7 2 0,-6 4 0,-7 5-90,-6 5 0,-4 2-85,-6 6 85,-5 1-180,-12-12-90,2 16-89,-10-9 366,6 21-1176,-10-2 359,7 10-1258,-19-1 898,18 14-269,-8 3 2208,10 8-769,-11 9 0,6 1 0,-8 8 0</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53.374"/>
    </inkml:context>
    <inkml:brush xml:id="br0">
      <inkml:brushProperty name="width" value="0.08571" units="cm"/>
      <inkml:brushProperty name="height" value="0.08571" units="cm"/>
      <inkml:brushProperty name="color" value="#E71224"/>
    </inkml:brush>
  </inkml:definitions>
  <inkml:trace contextRef="#ctx0" brushRef="#br0">13 1 5824,'-12'6'0</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53.826"/>
    </inkml:context>
    <inkml:brush xml:id="br0">
      <inkml:brushProperty name="width" value="0.08571" units="cm"/>
      <inkml:brushProperty name="height" value="0.08571" units="cm"/>
      <inkml:brushProperty name="color" value="#E71224"/>
    </inkml:brush>
  </inkml:definitions>
  <inkml:trace contextRef="#ctx0" brushRef="#br0">22 1 10681,'-5'27'180,"-1"-2"-180,1-11 0,2-6 0,1-2 0</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54.793"/>
    </inkml:context>
    <inkml:brush xml:id="br0">
      <inkml:brushProperty name="width" value="0.08571" units="cm"/>
      <inkml:brushProperty name="height" value="0.08571" units="cm"/>
      <inkml:brushProperty name="color" value="#E71224"/>
    </inkml:brush>
  </inkml:definitions>
  <inkml:trace contextRef="#ctx0" brushRef="#br0">1 0 6363,'0'0'0</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55.073"/>
    </inkml:context>
    <inkml:brush xml:id="br0">
      <inkml:brushProperty name="width" value="0.08571" units="cm"/>
      <inkml:brushProperty name="height" value="0.08571" units="cm"/>
      <inkml:brushProperty name="color" value="#E71224"/>
    </inkml:brush>
  </inkml:definitions>
  <inkml:trace contextRef="#ctx0" brushRef="#br0">4 1 8612,'-2'14'0,"0"-2"0</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55.360"/>
    </inkml:context>
    <inkml:brush xml:id="br0">
      <inkml:brushProperty name="width" value="0.08571" units="cm"/>
      <inkml:brushProperty name="height" value="0.08571" units="cm"/>
      <inkml:brushProperty name="color" value="#E71224"/>
    </inkml:brush>
  </inkml:definitions>
  <inkml:trace contextRef="#ctx0" brushRef="#br0">21 0 8972,'-11'27'-390,"3"-10"0,6-10 1</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56.225"/>
    </inkml:context>
    <inkml:brush xml:id="br0">
      <inkml:brushProperty name="width" value="0.08571" units="cm"/>
      <inkml:brushProperty name="height" value="0.08571" units="cm"/>
      <inkml:brushProperty name="color" value="#E71224"/>
    </inkml:brush>
  </inkml:definitions>
  <inkml:trace contextRef="#ctx0" brushRef="#br0">41 0 10771,'-23'5'-2249,"7"3"2249,15 4 0,2-3 0,2-4 0</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56.944"/>
    </inkml:context>
    <inkml:brush xml:id="br0">
      <inkml:brushProperty name="width" value="0.08571" units="cm"/>
      <inkml:brushProperty name="height" value="0.08571" units="cm"/>
      <inkml:brushProperty name="color" value="#E71224"/>
    </inkml:brush>
  </inkml:definitions>
  <inkml:trace contextRef="#ctx0" brushRef="#br0">0 1 10141,'15'18'-240,"-6"-6"0,-5-8 1</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59.882"/>
    </inkml:context>
    <inkml:brush xml:id="br0">
      <inkml:brushProperty name="width" value="0.08571" units="cm"/>
      <inkml:brushProperty name="height" value="0.08571" units="cm"/>
      <inkml:brushProperty name="color" value="#E71224"/>
    </inkml:brush>
  </inkml:definitions>
  <inkml:trace contextRef="#ctx0" brushRef="#br0">161 1 7083,'-35'37'989,"3"-1"-809,13-9 0,2 2-90,3-1 90,2 0-90,2 1 0,3 2-90,1 0 90,2 1-90,1 1 0,2 0 90,1 0-180,0 0 180,2 0-90,0 0 0,1-1 0,0-1 0,2-1 0,0-1 0,0 0 0,1-4 0,1 0 0,1-3 0,0-1-90,2-2 90,2 0-90,0-2-90,4 0 90,1-2-180,12 6 0,-4-8 90,9 3 1,-8-8-1,1-1 0,1-1-180,1-2 0,-1-1 0,1-2 360,-1-1 0,6-2 0,3-1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07:42:49.996"/>
    </inkml:context>
    <inkml:brush xml:id="br0">
      <inkml:brushProperty name="width" value="0.08571" units="cm"/>
      <inkml:brushProperty name="height" value="0.08571" units="cm"/>
      <inkml:brushProperty name="color" value="#E71224"/>
    </inkml:brush>
  </inkml:definitions>
  <inkml:trace contextRef="#ctx0" brushRef="#br0">1 0 10861,'14'36'2338,"-2"-8"-1888,-7-8 0,-1-6 0,1 0-1,1 1 1,0 1-90,3-1 0,2 1 0,1-2-91,2 0 1,1-1-90,1-1 0,1-1-90,0-2 90,0-2-90,0-1 180,-2-3-180,6-2 0,-7-3-90,4-4 90,-7-1-90,-2-3 0,-1-2 89,-2-1-89,-1-3 0,-3 0 0,-1-2 0,-1 1 0,-3-1 0,-1 0-89,-2 0-91,-1 2 0,-2 1-270,-1 2 0,-3 1-89,-1 2-181,-2 2 0,-1 2-179,0 1-91,0 2-89,1 2-3688,0 1 4767,-4 2 0,11-1 0,-3 1 0</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8:00.009"/>
    </inkml:context>
    <inkml:brush xml:id="br0">
      <inkml:brushProperty name="width" value="0.08571" units="cm"/>
      <inkml:brushProperty name="height" value="0.08571" units="cm"/>
      <inkml:brushProperty name="color" value="#E71224"/>
    </inkml:brush>
  </inkml:definitions>
  <inkml:trace contextRef="#ctx0" brushRef="#br0">17 849 7173,'55'-38'1304,"-1"0"0,7-19-2169,-7 11 1,-4-1 1134,-18-7 180,-17 18 39,-4 0-130,-4 1 335,-5 1-424,-2 0-180,-5-2 90,-3 1-180,-4-1 90,-4 1 0,-1 1-90,-3 3 0,-1 2-180,-2 3-180,-2 1-179,0 4-271,-3 1 398,0 4-1297,0 1 1709,-3 3 0,-3 1 0,-3-1 0</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39.411"/>
    </inkml:context>
    <inkml:brush xml:id="br0">
      <inkml:brushProperty name="width" value="0.08571" units="cm"/>
      <inkml:brushProperty name="height" value="0.08571" units="cm"/>
      <inkml:brushProperty name="color" value="#00A0D7"/>
    </inkml:brush>
  </inkml:definitions>
  <inkml:trace contextRef="#ctx0" brushRef="#br0">0 91 13289,'10'-1'5937,"-5"-2"-5847,34 6 0,-11-4-180,4-1-180,5-1-360,2-1-179,3-1-180,0 0-3663,0-2 3033,0 0-899,-3-2-2148,0-1 4666,-3-1 0,0-1 0,-2-1 0</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39.874"/>
    </inkml:context>
    <inkml:brush xml:id="br0">
      <inkml:brushProperty name="width" value="0.08571" units="cm"/>
      <inkml:brushProperty name="height" value="0.08571" units="cm"/>
      <inkml:brushProperty name="color" value="#00A0D7"/>
    </inkml:brush>
  </inkml:definitions>
  <inkml:trace contextRef="#ctx0" brushRef="#br0">0 0 12750,'38'15'-180,"1"-5"-360,-8-10-179,8-2-1080,5 1-1315,8-2 3114,3-1 0,5-1 0,0 0 0</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40.335"/>
    </inkml:context>
    <inkml:brush xml:id="br0">
      <inkml:brushProperty name="width" value="0.08571" units="cm"/>
      <inkml:brushProperty name="height" value="0.08571" units="cm"/>
      <inkml:brushProperty name="color" value="#00A0D7"/>
    </inkml:brush>
  </inkml:definitions>
  <inkml:trace contextRef="#ctx0" brushRef="#br0">1 15 9512,'21'-1'-360,"3"-1"-720,-3 1 361,7-1 719,7 0 0,9-2 0,5 1 0</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40.606"/>
    </inkml:context>
    <inkml:brush xml:id="br0">
      <inkml:brushProperty name="width" value="0.08571" units="cm"/>
      <inkml:brushProperty name="height" value="0.08571" units="cm"/>
      <inkml:brushProperty name="color" value="#00A0D7"/>
    </inkml:brush>
  </inkml:definitions>
  <inkml:trace contextRef="#ctx0" brushRef="#br0">74 15 8882,'-23'-3'5307,"3"0"-4588,4 0-2697,2 0-3599,14 1 5577,7 2 0,3 0 0,1 2 0</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40.886"/>
    </inkml:context>
    <inkml:brush xml:id="br0">
      <inkml:brushProperty name="width" value="0.08571" units="cm"/>
      <inkml:brushProperty name="height" value="0.08571" units="cm"/>
      <inkml:brushProperty name="color" value="#00A0D7"/>
    </inkml:brush>
  </inkml:definitions>
  <inkml:trace contextRef="#ctx0" brushRef="#br0">0 44 7892,'1'-23'0,"4"2"0</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43.360"/>
    </inkml:context>
    <inkml:brush xml:id="br0">
      <inkml:brushProperty name="width" value="0.08571" units="cm"/>
      <inkml:brushProperty name="height" value="0.08571" units="cm"/>
      <inkml:brushProperty name="color" value="#00A0D7"/>
    </inkml:brush>
  </inkml:definitions>
  <inkml:trace contextRef="#ctx0" brushRef="#br0">892 180 10411,'-6'-30'2429,"-2"2"-3062,1 14 903,-2 0 500,-4-1-501,2 4-89,-4-2 164,2 3-254,-1 2 0,-2 0 0,-1 0 0,-2 1-90,-2 2 598,-2 1-508,-2 1 90,-2 2-180,-4 2 180,-2 2 0,-4 2 0,-2 2 0,-5 3-360,0 3 360,-3 3 179,-17 14-179,16-4-555,-10 11 555,21-6 0,4 3-90,3 3 90,3 2-384,4 3 294,5-2 89,3 2-89,4-1 0,5-1 0,4 0-90,3 0 180,11 18-90,1-9-571,11 12 571,0-18 0,4-2-90,5-2 0,3-3 90,3-4-90,24 9 90,-13-14-90,19 5 0,-19-15 0,-3-4 90,1-4-90,-2-4 0,-1-2 180,0-3-1,1-3 91,-2-3-90,2-4 90,-2-3 0,1-3 0,-3-4 67,-4-2-67,-3-5-90,-5-1 359,5-19-359,-12 11-90,2-14 0,-13 11 90,-3 0-90,-3-1 90,-3 0-90,-4 0 90,-3-2-180,-3-1 90,-14-24 0,3 17-127,-11-17 127,5 24-90,-3 1 0,-2 3-270,-1 3 200,-2 2-380,-1 3-179,-2 4-181,0 4-269,-2 4-270,0 6-630,-2 3-7016,-19 7 8995,11 5 0,-17 5 0,17 2 0</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45.127"/>
    </inkml:context>
    <inkml:brush xml:id="br0">
      <inkml:brushProperty name="width" value="0.08571" units="cm"/>
      <inkml:brushProperty name="height" value="0.08571" units="cm"/>
      <inkml:brushProperty name="color" value="#00A0D7"/>
    </inkml:brush>
  </inkml:definitions>
  <inkml:trace contextRef="#ctx0" brushRef="#br0">767 271 11670,'-11'-19'2699,"-1"1"-2070,1 7-179,-3 0-90,-1-1-90,-3 1-180,-1 0 90,3 3-180,-6 0 90,8 4-90,-7 0 0,6 1 0,-2 2 0,-1 0 0,-2 1 0,-1 0 90,-1 2-90,-1 0 0,-1 1 90,-1 2-90,-1 1 89,0 2 1,-2 1-90,1 1 90,1 2-90,-1 1 90,1 3-90,0 1 90,1 1 0,1 3 0,3-1 0,1 3 0,-4 10 0,6-5 0,-2 9 0,8-9-90,2 0 90,2 2-90,2 0 90,1 1-90,2-1 0,2 1 90,4 13 0,1-8 0,3 11 0,2-13 0,1 0-1,2 1-89,3-1 90,2 0-90,1-2 0,2 0 90,1-2-90,2 0 90,13 9 0,-7-9-315,10 7 315,-11-12 90,2-2 0,1-1 0,0-2-90,1 1 90,2-3-90,-1-1 89,2-3-89,0-1 180,18 2-180,-14-5 0,14 1 90,-18-7-90,1-2 90,1-1 0,19-2-180,-11-2 180,14-2-90,-17-2 90,-1 0-91,0-2 1,-1 0 0,-1-2 0,0-1 0,0-2 0,-2-1 0,0-1 90,-2-2-90,0-1 0,0-3 0,-3-1 0,1-2 90,-4 1 0,-1-2 0,-3 0 269,10-15-89,-11 9 90,6-10-180,-13 14-90,-1-2 89,-2 0 1,-2-2 0,-2-1-90,-2 1 0,-3-1 0,-1-2 0,-3-1 90,-7-22-181,-3 9-400,-8-17 311,-3 16 90,-5 0-90,-8-3 0,-5 1 0,-9 0-1177,-7 1 907,-7 5-315,10 17 1,-3 2-1629,-34-10 1628,27 14 1,-1 5-766,-34 1 450,45 12 1,0 2-225,-3 2 0,0 2-855,-1 3 0,-2 2-1394,-5 3 0,-1 2 3131,1 1 1,-3 4 0,3 0 0,-4 1 0,-1 2 0,-3 1-1,1 0 1,0-1 0</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47.952"/>
    </inkml:context>
    <inkml:brush xml:id="br0">
      <inkml:brushProperty name="width" value="0.08571" units="cm"/>
      <inkml:brushProperty name="height" value="0.08571" units="cm"/>
      <inkml:brushProperty name="color" value="#00A0D7"/>
    </inkml:brush>
  </inkml:definitions>
  <inkml:trace contextRef="#ctx0" brushRef="#br0">524 261 10861,'18'-23'2518,"-3"3"-1618,-8 8-450,0-1-271,-3-1-89,-3-1 90,-5 0 0,-3 2-90,-3 1 0,0 3-90,-3 1 90,-2 1-90,-2 2 0,-1 2 90,-3 3-90,0 4 0,2 0 0,2 5 90,3-1-90,1 2 90,-1 1-90,1 2 90,-1 1 0,1 2 0,0 1-90,0 2 90,0 1 0,-1 2 0,2 0 0,0 1 0,1 1-90,0 0 89,1 1-89,1 0 0,0 2 0,1 0 90,1 0-90,1 1 0,0-2 0,2 3 90,0-3 90,1 1-90,1-1 0,2 1 90,0 10-90,1-8 0,1 8-90,1-12 180,1 0 0,0-1-90,1-1 90,1 0-90,1-1-1,0-2 181,7 8-180,-3-8 0,6 6 0,-4-11 90,2 0-180,1-3 180,2 0-180,0-1 90,2-2 0,0-1 90,12 0 0,-6-3-90,9 0 90,-9-3-91,1-2 91,1-1-90,1-3 0,1 0 90,0-3 0,0-1-90,0-1 180,-2-2-90,1-2 90,0-3-1,0-3 1,-2-2 360,9-13-270,-10 6-230,7-10 140,-14 9 180,-2 2-180,-2-4-1,-3 3 1,-1-4 0,-3 1-90,-2-1 409,-3-1-409,-2-1 270,-6-19-270,-1 12-90,-6-14-1295,-1 16 1295,-3-2 0,-4 1-644,-16-19 554,5 16-180,-12-12-90,9 21-229,-2 3 49,-4 2-269,-2 3-181,-2 3 1,-4 3-1743,-2 5 1383,-3 4-270,-3 4-6,-2 6-2243,-3 5 3778,-34 16 0,5 5 0,31-7 0,-1 1 0</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51.681"/>
    </inkml:context>
    <inkml:brush xml:id="br0">
      <inkml:brushProperty name="width" value="0.08571" units="cm"/>
      <inkml:brushProperty name="height" value="0.08571" units="cm"/>
      <inkml:brushProperty name="color" value="#00A0D7"/>
    </inkml:brush>
  </inkml:definitions>
  <inkml:trace contextRef="#ctx0" brushRef="#br0">282 926 9512,'-21'-6'4227,"1"-1"-2698,8 2-179,-2-1-631,1 1-179,-1 0-270,15 3-90,10 1-91,10 2 91,8 0 0,-1 0 0,3-1 0,4 0 0,2 0 0,4 0-270,3 0 180,2 0 90,1 0 0,0-1-90,1 0 0,-2 0 0,-1 0 0,14-1 0,-16 1 0,8-1-90,-18 1 90,-3-1-90,-3 1 89,-2-1 271,-3 1-270,-2-1 0,-3 1 90,4-1 0,-1 1 0,2 0-90,-18 0-90,-13 2 0,-12 0 0,-7 0 0,1 0 0,-2 0 0,-6 0 0,-3 1 0,-4 0-380,-3 0 470,-1 0-180,-1 0 90,1-1 0,1 1 0,2-1-89,3 1 89,-10 0 89,15 1-248,-7-1 249,18 0-90,4-1 270,1 0 179,-1 0-359,24-1 197,-2 0-197,26 0 162,0 0-72,5-1 90,6 1-90,6-1-415,4 1 415,6 0-610,3-1 700,3 0-90,1-1-90,-1 1 90,-1-1-90,-4 0 90,-4 0-90,-4 0 0,-4-1-124,-3 1 124,-3-1 0,-4 1 90,-4-1-90,-3 1 383,-3-1-383,-2 1 627,5-1-627,-8 0 137,10 0-227,-10 0 90,3-1 0,-4 1-90,0 1 0,-3-1-90,1-1 90,-2-1 0,-1 0 0,-1-3 0,-2 0-90,-1-2-90,-1-2 90,-1-3 0,0-3-90,-2-4 90,-1-3 1,-2 2-91,-1 1 90,-1 5 0,0-1 0,-1-1 0,-1 0 0,1-1 90,-2-2-90,0 1 0,-1-2 0,-1 1 90,0 0-90,-2-2 90,0 0 0,-2-1-90,0 0 90,-1 1-90,0 1 90,-1 0 0,0 2-90,-5-8 90,3 9-90,-5-8 0,5 12 0,-1-1 90,1 2-90,-1 1 90,-1 0-89,0 1 89,0 0-90,-1 2 90,0 0-90,-2 1 90,0 0-90,-9-1 0,6 2 90,-8 0-90,8 3 0,-1 2 90,-1 0-90,-1 0 90,0 2 0,0 0 0,-1 1 0,-1 0-90,0 2-90,-12-1 180,6 2 0,-9-1 0,10 1-90,1 0 90,-1 1 0,1-1 0,1 0-90,1 0 90,1 1-90,0-2 90,0 2-90,1-1 180,-1 0-180,-10 0 90,8 0 0,-7 0 0,12 0 0,0-1-90,2 0 180,2 0-180,0 0 180,1 0-180,1-1 180,1 1-180,1 0 90,-7-1 0,2 1-90,-5 0 0,4-1 0,3 0 90,-1 1 0,3 0-90,-2-1 90,3 1 0,2 0-89,0 4 178,1 3-89,1 5 0,2-1 0,1 3 0,2-2 0,0 2 0,-4 10 90,2-4-90,-2 7 0,3-7 90,2 1 0,-2 1 0,2-1 0,0 2-90,0-1 90,1 1 0,1-1 90,1 0 90,1-1-90,2 0 0,2 0 0,2 0-1,2-1-89,3 1 90,3-1-180,3 0 90,3-1 0,3-1-90,3-2-90,2 1-449,18 3-1,-10-6-180,11 2-269,-14-8-91,0-2-269,-1 0-450,0-2-1799,-2 0-2518,-1-2 6116,-3-1 0,-10-1 0,-4 0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07:42:50.298"/>
    </inkml:context>
    <inkml:brush xml:id="br0">
      <inkml:brushProperty name="width" value="0.08571" units="cm"/>
      <inkml:brushProperty name="height" value="0.08571" units="cm"/>
      <inkml:brushProperty name="color" value="#E71224"/>
    </inkml:brush>
  </inkml:definitions>
  <inkml:trace contextRef="#ctx0" brushRef="#br0">0 147 9781,'22'1'4048,"-3"2"-3238,-7 5-181,-2 4 91,-4 3-180,1 0-91,3 0-179,0-3 0,2-1 360,-2-4-91,6-1 1,2-1-270,6-2 0,-5-5 0,-2-3-1,-5-2-89,-1-2 0,-1-2 0,-1-3 0,-2-1-90,-1-1-90,-2 0 0,-2 0 90,-1-1-180,-3 1 90,-1-1-3572,-2 2 3302,-2-1-180,0 2-89,-3 0-181,-1 3-89,-2 0-181,-1 4-269,-1 1 3212,0 3-4742,-2 2-1528,-2 2 4317,-1 3 0,-6 2 0,0 2 0</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54.293"/>
    </inkml:context>
    <inkml:brush xml:id="br0">
      <inkml:brushProperty name="width" value="0.08571" units="cm"/>
      <inkml:brushProperty name="height" value="0.08571" units="cm"/>
      <inkml:brushProperty name="color" value="#00A0D7"/>
    </inkml:brush>
  </inkml:definitions>
  <inkml:trace contextRef="#ctx0" brushRef="#br0">94 67 12390,'-9'-21'3958,"0"2"-3329,3 7-359,0 1-270,-5 8-90,3 5 90,-4 11 0,7 1 90,0 3 90,2-2-90,0 3 90,0 2-180,0 3 180,1 2 0,0 4 90,0 2-91,1 4 1,-1 2 90,1 5-90,0 2-1533,1 3 1533,0 2 90,0 0-862,1 1 952,0 0-491,0 2 401,0 0 89,0-1 1,0 1 0,1-1-90,0 0 90,0-1 89,0 1 271,1 20-360,0-16-1,0 15 1,0-22 90,0-2-180,0 0-112,1-2 112,0-2 0,0 0-90,0-5 180,3 14-180,-3-17-91,2 9 1,-3-18 1274,2-2-1274,-2-1 847,2-2-937,-2-1 509,1-3-599,0-1-172,1 4-1088,0-3-1978,1 2 180,3-7-630,1-7 810,4-7-2069,-3-3 5037,1-2 0,-7 3 0,0 1 0</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54.843"/>
    </inkml:context>
    <inkml:brush xml:id="br0">
      <inkml:brushProperty name="width" value="0.08571" units="cm"/>
      <inkml:brushProperty name="height" value="0.08571" units="cm"/>
      <inkml:brushProperty name="color" value="#00A0D7"/>
    </inkml:brush>
  </inkml:definitions>
  <inkml:trace contextRef="#ctx0" brushRef="#br0">21 113 10231,'-12'-22'3598,"4"1"-2968,7 4-360,7 0-91,1 4 1,5 1 270,-1 6-90,8 2-90,-3 5 90,6 4-1,-4 6 91,0 5-90,1 8 90,0 5 89,0 10 1,0 6-608,-1 8 517,-1 4 181,-2 5-90,0 3-860,-1 2 950,-1 2-180,-2 0 0,0 0-1,-1-1-179,-1-2 0,-2-2 0,1-3 0,-3-4-90,0-4 0,-1 13-360,-2-18-287,0 10 17,-3-24-89,-1-3 271,0-2-542,0-4 713,-1-3-1342,0-2-270,-2-3-8122,0-4 9647,-4-1 1,5-6 0,-2-2 0</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21T06:48:50.627"/>
    </inkml:context>
    <inkml:brush xml:id="br0">
      <inkml:brushProperty name="width" value="0.08571" units="cm"/>
      <inkml:brushProperty name="height" value="0.08571" units="cm"/>
      <inkml:brushProperty name="color" value="#E71224"/>
    </inkml:brush>
  </inkml:definitions>
  <inkml:trace contextRef="#ctx0" brushRef="#br0">48 81 10411,'-23'-1'8995,"-1"1"-7466,24-2-1169,41 0-670,10-1 760,34 2-135,-30 1 0,0 1 45,38 0-225,-27 0 0,1 0-778,-15 1 1,-1-1 777,2 0 0,0 0-45,-1 1 0,3 0 134,22-1 1,0 1-180,-18 0 0,0-1 45,17 1 0,-1-1-45,-23 0 0,-3 0 45,48-1 0,-9 0 0,-6 0 0,-11-2-90,-4 0-338,-9-1 338,-5 0-90,-11 0-89,-3-1-181,-6 0-720,4-3 271,-12 2-634,2-3-1076,-15 0 2733,-10-1-2013,-5 0-617,-12 2-2441,-6 1 4857,-5 2 0,-11-2 0,-2 0 0</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21T06:48:51.320"/>
    </inkml:context>
    <inkml:brush xml:id="br0">
      <inkml:brushProperty name="width" value="0.08571" units="cm"/>
      <inkml:brushProperty name="height" value="0.08571" units="cm"/>
      <inkml:brushProperty name="color" value="#E71224"/>
    </inkml:brush>
  </inkml:definitions>
  <inkml:trace contextRef="#ctx0" brushRef="#br0">218 184 7623,'-28'-14'3777,"2"0"-2787,-1-1-91,4 1 1,-1 1-91,5 1 91,0 1-180,4 2-1,1 1 450,2 0-359,2-1-540,11 0 0,6-1-90,15 2-1,9 1 1,13 1-90,12 0-2912,11 1 2912,14 1-90,7 3-857,9 1 857,2 1 90,0 2-180,0 0 180,-2 1-180,-3 1 90,-8-2-180,-4 2 0,-9-3-180,-4 2-179,-4-2-181,-9 1 0,-8 0-179,-8-1-90,-8 0-91,-3 1-269,-6 0 1982,-6 1 1,-8-2 0,-4 0 0</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31.097"/>
    </inkml:context>
    <inkml:brush xml:id="br0">
      <inkml:brushProperty name="width" value="0.08571" units="cm"/>
      <inkml:brushProperty name="height" value="0.08571" units="cm"/>
      <inkml:brushProperty name="color" value="#F6630D"/>
    </inkml:brush>
  </inkml:definitions>
  <inkml:trace contextRef="#ctx0" brushRef="#br0">45 128 12210,'-20'3'1619,"3"7"-1169,12 14 0,3-3 89,3 1 1,3-6 0,2 0-1,4-1-89,2 0 90,4-2-180,3-1-1,5-2 1,3-2 0,2-3-90,2-3 0,1-3-90,4-2 89,0-4-89,4-2-90,1-5 0,-1-2 90,2-3-180,-4-1 180,-1-4-180,-5 2 0,0-3-90,-4 1 0,-2 0-90,-3 3-90,-1 0-179,-4 4-361,-2 1-89,-2 1-1080,-3 4-3058,2 1 5037,-5 9 0,-4 14 0,-5 10 0</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32.190"/>
    </inkml:context>
    <inkml:brush xml:id="br0">
      <inkml:brushProperty name="width" value="0.08571" units="cm"/>
      <inkml:brushProperty name="height" value="0.08571" units="cm"/>
      <inkml:brushProperty name="color" value="#F6630D"/>
    </inkml:brush>
  </inkml:definitions>
  <inkml:trace contextRef="#ctx0" brushRef="#br0">535 99 9512,'-22'-12'3418,"3"0"-2699,8 1-269,4-2-270,6-2-90,4 1-90,8 3 0,2 4 0,3 4 0,0 3 0,0 5 0,-1 4 90,-2 6-90,-3 0 0,-2 2 180,-4-2 0,0 3 89,-1 2-89,0 3 0,-1 3 90,-1 3 0,-1 2 0,-1 5-90,0 3 89,-2 3-371,-1 4 282,0 0 0,-1 1 0,0 2 0,0 3-510,-1 1 420,0 4 90,1-3-90,-1 2 0,1-2 90,0 3-90,0 1 0,0 0 89,-2 27-89,3-20-888,-3 21 888,4-27-90,-1 1 90,-1-1-625,1-3 625,0 1-90,-2 21 90,1-15-90,-2 15 0,2-25 90,0 0-90,-1 1 90,1 3-90,-1 0 90,0 0-90,0 0 90,1 0-90,-1 1 90,-2 21 0,3-15-90,-3 16 90,3-22-90,1-4 90,0-2 0,0-5 0,0-1-90,-2 0 180,1-2-90,-1-2 90,-1 0-91,-1-2 1,0-1-16,-5 8 106,3-11 400,-3 5-490,4-15 858,-1-4-768,1-1 508,-1-4-598,0-1 497,1-2-498,-1-3 149,0-3-328,-5-1-90,-2-6-269,0-2-1,0-7-270,5-2-89,-1-2-91,-1-2 1,-1-2-360,0-1-181,-1-1-1528,-1-1-1889,1-1 4857,-2 2 0,0-4 0,-2 0 0</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33.672"/>
    </inkml:context>
    <inkml:brush xml:id="br0">
      <inkml:brushProperty name="width" value="0.08571" units="cm"/>
      <inkml:brushProperty name="height" value="0.08571" units="cm"/>
      <inkml:brushProperty name="color" value="#F6630D"/>
    </inkml:brush>
  </inkml:definitions>
  <inkml:trace contextRef="#ctx0" brushRef="#br0">93 0 6993,'-1'32'2249,"0"6"-2767,1 8 1237,0 14-1190,1 15 1100,0 15-852,1-38 0,-1 1 492,0 3 1,1 1 0,-1 2 0,1 1-90,0 2 0,0 1 45,0 1 0,-1 1-91,1 2 1,0 0 0,-1 8 0,0 0-45,-1-4 0,0 1 45,0 9 0,-1 0-808,-1-11 0,1 0 717,-2 3 1,1-1 45,-1-7 0,1 1 0,-2 25 0,-1 0-45,3-22 0,-1-1 0,-1 20 0,0-3 0,1-27 0,0-3-390,1-2 0,-1 1 345,0-3 0,0-1-351,-3 39 171,-1-8-270,-1-11-90,1-6-89,0-10 1038,1-8-2568,-1 1-1978,3-18 4531,-2 4 0,4-24 0,0-1 0</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35.148"/>
    </inkml:context>
    <inkml:brush xml:id="br0">
      <inkml:brushProperty name="width" value="0.08571" units="cm"/>
      <inkml:brushProperty name="height" value="0.08571" units="cm"/>
      <inkml:brushProperty name="color" value="#F6630D"/>
    </inkml:brush>
  </inkml:definitions>
  <inkml:trace contextRef="#ctx0" brushRef="#br0">0 994 7173,'12'-62'1619,"1"-1"-1259,5 4-1747,4 1 1567,6 0-90,8 2 90,8 1-90,6 3 0,7 4-2944,7 4 2944,5 2-90,6 3 681,5 4-681,5 2 90,6 3-90,-43 15 0,1 1-452,2 1 0,0 1 452,3-1 0,1 2 45,1 0 0,0 0-45,2 2 0,1-1-235,5 1 0,0 0 235,-2 1 0,0 1 45,10-1 0,1 1-45,-5 1 0,4 0 30,-6 2 0,6-1 0,0 1 0,-1 0 0,1 0 0,1 1 0,2 0 0,0 0 0,-1 0 139,26-1 1,-6 2-125,-20 0 0,-4 1 0,-2 0 0,-2 0 0,2 0 0,0 0-45,-2 1 0,2-1 90,28 1 0,1 0-45,-23-1 0,0 1 0,22 0 0,-1 0 0,-28 0 0,-2-1-406,-1 1 1,1 0 360,-1 0 0,0 0 0,-2-1 0,0 0 0,-2 1 0,0-1-45,-1 0 0,0 0 45,-2 0 0,0 0 30,-1 0 0,-1-1-30,-2 1 0,3-1-45,19 0 0,1 0 45,-20 0 0,0 1 0,16-1 0,-2-1-90,18 1 180,-5 0-180,-7 1 180,-4 0 391,-2 0-481,-2 1 0,-3 0 0,-2 1 0,-1 0 0,-1 0 0,0 1 90,-2-1-180,1 1 90,24 2 90,-18-1-180,18 1 180,-26 0-180,1 0 1788,0 0-1788,0 0 180,-1 1-180,-4 0 180,-2-1-90,-4 1 0,-1 0 0,-1-1 0,-2 1 0,0 0 0,-2-1 0,-3 0 0,-1 0-90,0 0 90,-1 0-89,22 2-1,-15-1 90,16 2-90,-17-2-926,1 0 926,1 1 645,20 1-645,-16-1 90,14 1 0,-21-2 452,-4-1-452,-1-1 61,-5 1-61,-3-1 3174,-1-1-3174,-4 1 607,6-1-607,-8 1 0,10 0 0,-15-1 142,10 3-53,-11 0 181,12 7-90,-12-2 270,19 28-270,-15-11 0,8 21-90,-12-7 0,-2 4 90,0 8-3393,2 32 3303,-4-16-90,2 26-191,-5-24 191,0 9-2085,0 4 2085,2 8 90,-1 3-773,-2-24 1,0 2 727,-2-17 0,0 1 0,2 17 0,0 0 0,-2-20 0,-1-3-310,0 2 0,0-1 310,1 2 0,-1-1 0,0 1 0,0 1 44,-1 0 1,1 0-45,-1 2 0,1-1 483,-1 0 1,0 2-395,2 25 1,-1 1-45,-2-20 0,1 0 219,0 21 0,-1-1-219,-1-25 0,-1-1 0,1 29 0,-1 1-216,-1-21 1,1 0 215,-1 22 0,0-2-45,0-27 0,-1 1 379,-1 8 1,-1 8 0,1-6-380,0-4 0,-1 4-170,-1 9 0,-1 14 0,0 0 1,0-15 214,0-10 0,0-1-1,-1 6 1,-2 13 0,0-2 0,0-14 306,2-15 0,-2-1-306,-3 17 0,-2 9 0,0-8-45,0-12 0,0-4 584,-2 13 0,-1-3-629,-8 24 90,7-32-90,-1-1 630,0-1-630,0-3 0,0-1 0,1-1 0,-6 14 90,5-17-90,-4 9 53,7-22-143,0-1-90,1-5 803,1-1-803,0-3 101,-5 9-101,5-11 3235,-3 5-3415,5-12 204,1-1-114,0-1 0,0-3 90,0-1 0,0-1 0,-1-2 0,-1 0 91,-3-1-1,-1-1 0,-2-2 0,-1 0 90,-3 0-90,-1-2 90,-4 1-90,-18-1 0,7-1 0,-17 1 90,12-2 0,-28 1 90,11-1-1004,-21 1 1004,16-2 90,-1 1-90,-3 0 90,-3-1 0,-2 1 0,-3 0 0,-7-1 0,-4 0 0,-8 0 89,-2 0-879,47 0 0,0 0 700,-2 0 0,0 0 45,-1-1 0,-3 1 90,-28-1 0,-1-1-135,19 1 0,-2 0-1019,-27-1 0,-1-1 1019,22 2 0,3-1-45,-9 0 0,-1 0 0,-1 0 0,0 0 0,-1 0 0,0 0-90,-1 0 0,0 0 45,0 0 0,-1 1-45,0-1 0,0 1 0,0 0 0,-1 0 45,3 1 0,-4-1-60,9 1 0,-4 1 0,3-1 15,-12 1 0,0 0 15,18-1 0,-3 1 0,4 0 30,-8 1 0,4-1-45,8 1 0,1-1 45,-4 1 0,0 0-45,6-1 0,1 1-271,0 0 0,0 0 271,0 0 0,1 0-45,0-1 0,0 1 0,1-1 0,-1 0-164,2 1 0,-3-2 74,-26-1 0,0 0-100,22 0 1,-1-1 144,-20-2 0,2-1 0,27 0 0,3 0 0,0-2 0,0 0 90,2-2 0,0 0-45,2-1 1,0-1 44,1-1 0,1 0-45,2-1 0,0-1 45,2 1 0,-1-2-90,-15-7 0,0-2 90,16 7 0,1 0 0,-12-6 0,1 0 45,-15-8 0,4 2 1132,8 2-1132,4 3 0,6 2 0,3 2 0,3 1 0,5 2 0,4 0 0,5 4 0,3 0 90,3 1-90,3-1 797,-3-5-886,8 3 1222,-2-6-1133,10 6 1992,2-2-1992,2-1 816,2 0-816,1-1 0,2 1 90,1-2-90,0 1 0,1-2 90,1-11-90,0 8 0,1-8 0,-1 9 0,0-1 90,0-1 0,0-2 0,-1-3 0,0-3-90,1-3 179,-1-4-89,0-3 90,1-32-180,-2 13-962,1-25 1052,-2 18-90,0-5 90,0-11-90,-1-6-580,1 41 0,0 0 580,-1-2 0,1 0 0,0-2 0,-1 1 0,1-2 0,1 1 0,-1-2 0,1 1 0,0-2 0,0 1-45,0 0 0,1-2 0,2-25 0,0-2-919,-1 22 1,1-1 828,1-19 0,0 1 45,0 27 1,-1 2-46,1 1 0,-1 1-135,6-46 90,-2 13-180,-1 6-179,-1 13-1,-1 7-360,0 7-989,-1 10 1822,0-7 1,-1 27-1,-1-3 1</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47.782"/>
    </inkml:context>
    <inkml:brush xml:id="br0">
      <inkml:brushProperty name="width" value="0.08571" units="cm"/>
      <inkml:brushProperty name="height" value="0.08571" units="cm"/>
      <inkml:brushProperty name="color" value="#F6630D"/>
    </inkml:brush>
  </inkml:definitions>
  <inkml:trace contextRef="#ctx0" brushRef="#br0">1 55 6273,'33'-8'-68,"18"-6"1,-9 0 0,13-5 0</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48.299"/>
    </inkml:context>
    <inkml:brush xml:id="br0">
      <inkml:brushProperty name="width" value="0.08571" units="cm"/>
      <inkml:brushProperty name="height" value="0.08571" units="cm"/>
      <inkml:brushProperty name="color" value="#F6630D"/>
    </inkml:brush>
  </inkml:definitions>
  <inkml:trace contextRef="#ctx0" brushRef="#br0">0 76 12480,'8'-24'4407,"-2"2"-3687,-2 6-540,7 8-270,-1 3-90,11 6-360,0 3-89,6 1-451,7 3-269,4 0-1259,4 0-1350,2-1 3856,2 0 1,4-3 0,1-1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07:42:51.032"/>
    </inkml:context>
    <inkml:brush xml:id="br0">
      <inkml:brushProperty name="width" value="0.08571" units="cm"/>
      <inkml:brushProperty name="height" value="0.08571" units="cm"/>
      <inkml:brushProperty name="color" value="#E71224"/>
    </inkml:brush>
  </inkml:definitions>
  <inkml:trace contextRef="#ctx0" brushRef="#br0">34 110 8522,'-22'8'3508,"10"2"-3238,22-6-90,8 0-90,20-5 90,5-2-180,15 0-1563,18-2 1563,14-1-622,-38 3 0,2-1 577,3 1 0,2 0-832,7-1 1,3 1 831,2 0 0,2 0-638,6 0 1,1 0 682,2 1 0,-1 0 45,1 0 0,0 0-45,0 0 0,-1 0 90,-6 0 0,-1 1-46,-2-1 1,0 0 0,-6 1 0,-1-1 45,-1 1 0,0-1-45,-1 1 0,-1-1-125,-2 1 0,0-1 125,-3 0 0,0 1 82,-3-1 1,-1 1-38,45-4 540,-13 2-540,-11-1 1237,-16 0-1237,-9 0 1142,-11 1-1232,-7-1 881,-6 1-4389,-5-2 1834,-16-1 1674,-6 2 0,-5 1 0,-1 3 0</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49.323"/>
    </inkml:context>
    <inkml:brush xml:id="br0">
      <inkml:brushProperty name="width" value="0.08571" units="cm"/>
      <inkml:brushProperty name="height" value="0.08571" units="cm"/>
      <inkml:brushProperty name="color" value="#F6630D"/>
    </inkml:brush>
  </inkml:definitions>
  <inkml:trace contextRef="#ctx0" brushRef="#br0">25 166 7173,'2'-30'1709,"0"4"-989,-1 8 359,1 3-270,-1-3 91,1 0-1,1-2 181,-1 1-810,4 17-90,-3 3-1,2 17 1,-2 0 0,0 3 0,-1 3-90,2 3 90,-2 2-90,2 3 90,-1-1-90,0 1 0,0-1 270,1 23-271,-2-21 1,1 16 0,-1-26-90,-1-2 90,-1-2 0,1 5 270,-1-2 180,0 3 269,0-5-179,0-1-450,-3-5-180,-1-10 0,-2-6 90,0-11-90,1-1 0,0 1-3238,0 0 719,-1 2 0,-5 4-1528,-3 1 4047,-1 3 0,6 1 0,5-1 0</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50.327"/>
    </inkml:context>
    <inkml:brush xml:id="br0">
      <inkml:brushProperty name="width" value="0.08571" units="cm"/>
      <inkml:brushProperty name="height" value="0.08571" units="cm"/>
      <inkml:brushProperty name="color" value="#F6630D"/>
    </inkml:brush>
  </inkml:definitions>
  <inkml:trace contextRef="#ctx0" brushRef="#br0">278 93 11041,'-21'-17'2069,"3"2"-1350,8 8 1,-1-1-91,-1 0 91,0 1-90,1-2-181,3 0-539,4-3 180,4 13 0,3 5 0,1 12 0,-2 4 90,-1-2-90,1 4 0,-1 2 0,1 4-90,0 2 90,0 2-90,0 2 90,-1 0 0,1 1-3392,-1-1 3392,0 0 0,0-1-183,-1-2 183,-1-3 0,0-2 90,-1-1-1,-1-2 91,0-1-90,-1-2 0,-2-2 0,1-2 0,-2-1-90,-1-4 0,-1-1 90,0-3-90,-7 0 3121,0-4-3840,-7-3 542,2-6-453,4-2 1,3-3-181,5 1 0,1-1-809,1-1-180,1-7 900,4-2-91,1-2 1,6 0-720,2 5-270,3-3 1889,2-1 0,4-3 0,1-2 0</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50.681"/>
    </inkml:context>
    <inkml:brush xml:id="br0">
      <inkml:brushProperty name="width" value="0.08571" units="cm"/>
      <inkml:brushProperty name="height" value="0.08571" units="cm"/>
      <inkml:brushProperty name="color" value="#F6630D"/>
    </inkml:brush>
  </inkml:definitions>
  <inkml:trace contextRef="#ctx0" brushRef="#br0">0 232 8612,'68'-30'6386,"-10"12"-6026,-44 26 0,-3 4-90,-4-1 0,0 1 0,0 2-91,0 2 1,-1 0-90,1 2 0,-1-1 0,1 1 0,-1-1 0,1 0-90,-1-2 90,0 0-90,-1-2-90,1-1-540,0 1-809,2-3 90,6-3 450,-1-12 89,1-5-89,-3-9 269,-3-1 90,0-4 270,0-3 180,0-1 90,-1-2 450,1 0-90,-1 1 180,0 2-1,-2 2 91,0 2-90,0 3-1,-2 2 451,1 1-271,0-3-179,0 1-180,0-1 90,0 4-181,-1 1-269,1 13-1709,-1 4-1079,-2 14 2788,-2-1 0,-1-5 0,0-5 0</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50.893"/>
    </inkml:context>
    <inkml:brush xml:id="br0">
      <inkml:brushProperty name="width" value="0.08571" units="cm"/>
      <inkml:brushProperty name="height" value="0.08571" units="cm"/>
      <inkml:brushProperty name="color" value="#F6630D"/>
    </inkml:brush>
  </inkml:definitions>
  <inkml:trace contextRef="#ctx0" brushRef="#br0">0 1 11041,'6'31'3238,"0"1"-2698,-3-12-181,0 2-89,0-6 0,0 2-90,1 1 0,0 1 0,0 1-90,1 0 0,0 0 0,-1 0-90,1-1-270,-1-2 0,0 0-180,-1-2-269,0-2-361,1 4 1080,0-3 0,-1-4 0,-1-5 0</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51.099"/>
    </inkml:context>
    <inkml:brush xml:id="br0">
      <inkml:brushProperty name="width" value="0.08571" units="cm"/>
      <inkml:brushProperty name="height" value="0.08571" units="cm"/>
      <inkml:brushProperty name="color" value="#F6630D"/>
    </inkml:brush>
  </inkml:definitions>
  <inkml:trace contextRef="#ctx0" brushRef="#br0">1 0 14189,'18'16'1439,"-3"0"-1079,-10-1-90,0 3-90,0 1 0,0 3-1,-1 0-89,1 1 0,-2 1-180,0 1-269,-1-1-1,-1 0-180,0 0-269,0-2-181,-1-1-2338,-1-2 3328,-1 4 0,1-12 0,0 2 0</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51.261"/>
    </inkml:context>
    <inkml:brush xml:id="br0">
      <inkml:brushProperty name="width" value="0.08571" units="cm"/>
      <inkml:brushProperty name="height" value="0.08571" units="cm"/>
      <inkml:brushProperty name="color" value="#F6630D"/>
    </inkml:brush>
  </inkml:definitions>
  <inkml:trace contextRef="#ctx0" brushRef="#br0">37 219 9961,'-2'-31'2699,"1"3"-2160,-1 11-89,-1 0-180,1 1 90,-1 1-180,0 0-180,-1 2-900,-1-4-1438,1 1 2338,0-2 0,1 9 0,2 2 0</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51.548"/>
    </inkml:context>
    <inkml:brush xml:id="br0">
      <inkml:brushProperty name="width" value="0.08571" units="cm"/>
      <inkml:brushProperty name="height" value="0.08571" units="cm"/>
      <inkml:brushProperty name="color" value="#F6630D"/>
    </inkml:brush>
  </inkml:definitions>
  <inkml:trace contextRef="#ctx0" brushRef="#br0">45 1 10591,'0'24'2788,"0"-3"-2338,-4-7-90,-1 1 0,2-2 89,0 3-269,-1 4 0,0-3 90,0 3 0,0-3 0,1 1 0,-1 2-1,1 1 1,1 0 0,1 1 0,0 1-90,3-1 0,2 2 180,5 10-181,8 2-89,1-1 0,5-4-180,-4-12-89,2-2-1,1-2-180,0-3-90,-1-3-1619,15-5 1260,-13-3-361,12-5-89,-19-5-720,0-2-719,-1-5 2698,-2-1 0,0-6 0,0-2 0</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51.885"/>
    </inkml:context>
    <inkml:brush xml:id="br0">
      <inkml:brushProperty name="width" value="0.08571" units="cm"/>
      <inkml:brushProperty name="height" value="0.08571" units="cm"/>
      <inkml:brushProperty name="color" value="#F6630D"/>
    </inkml:brush>
  </inkml:definitions>
  <inkml:trace contextRef="#ctx0" brushRef="#br0">58 188 12570,'30'16'1979,"2"-3"-1799,-12-12-1,2-2 1,-5-1-90,1-2 0,0-2 0,-1-2-90,-1-1 90,-1-3-90,-3-3 90,-2 0-90,-2-3 180,-4 1-180,-2 0 180,-3 0-180,-4 2 90,-2-1-90,-3 2 90,-4 3 0,-2 2 90,-3 2-90,-2 3 269,-1 3-179,0 3 0,0 2 270,-10 7-270,9 0 0,-6 7 0,12-1 0,3 2-1,3 0-89,4 3 0,2 0 90,4 3-90,3 2-90,6 3 90,4 2 0,6 5-270,4-1-376,4 1 107,4-1-91,2-3-269,2-2-1,-2-5-269,0-2-271,-2-5-1168,-2-3-1260,-1-3 3778,-4-4 0,1-1 0,-1-1 0</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52.177"/>
    </inkml:context>
    <inkml:brush xml:id="br0">
      <inkml:brushProperty name="width" value="0.08571" units="cm"/>
      <inkml:brushProperty name="height" value="0.08571" units="cm"/>
      <inkml:brushProperty name="color" value="#F6630D"/>
    </inkml:brush>
  </inkml:definitions>
  <inkml:trace contextRef="#ctx0" brushRef="#br0">149 168 8432,'-34'14'3598,"3"0"-2518,3 0 179,5-1-180,5-1 810,6 0-1169,10 3-1,9-4-269,14 3 90,10-5-91,14 0-891,12-2 712,17-1-1285,9-4 1195,13-2-798,-45-2 0,1-1 663,1-1 0,0-1-90,3-1 0,0-2 45,5-1 0,0-1-45,0-1 1,4-2-16,5-2 0,7-2 0,-5 1 60,-3 0 0,0 0-45,30-7 0,-5 0 45,-7 1-180,-14 2-595,-8 2 505,-15 4 121,-6 1-390,-10 3 952,-6 0-3651,-9 2 3647,-15 1-1668,-11 6-1080,-19 3-1079,-6 7 3418,-12 3 0,-3 4 0,-5 2 0</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52.965"/>
    </inkml:context>
    <inkml:brush xml:id="br0">
      <inkml:brushProperty name="width" value="0.08571" units="cm"/>
      <inkml:brushProperty name="height" value="0.08571" units="cm"/>
      <inkml:brushProperty name="color" value="#F6630D"/>
    </inkml:brush>
  </inkml:definitions>
  <inkml:trace contextRef="#ctx0" brushRef="#br0">132 0 13469,'-22'14'1350,"3"-1"-991,9-4-89,-1 2 0,1 1 90,0 1 0,0 2-91,1 2-89,1 1 90,2 1-90,0 3 0,2 1 0,1 2-90,0 2 90,3 3 90,0 1-180,1 4 89,1 0 1,1 0 0,0 1 0,2 2 0,1 1 0,1 1 0,2-2 0,-1 0-90,1-3 90,0-2-90,1-3-1,0 0-89,1-2 90,5 9 0,-5-12-180,5 6-179,-6-14-1,0-1-180,0-1 0,0-3-1169,0-3-630,4 0 900,2-7-1169,0-3-1260,1-6 3778,-3-4 0,2-5 0,1-3 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07:47:49.569"/>
    </inkml:context>
    <inkml:brush xml:id="br0">
      <inkml:brushProperty name="width" value="0.05" units="cm"/>
      <inkml:brushProperty name="height" value="0.05" units="cm"/>
      <inkml:brushProperty name="color" value="#E71224"/>
    </inkml:brush>
  </inkml:definitions>
  <inkml:trace contextRef="#ctx0" brushRef="#br0">7 3 24575,'-7'-2'0</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53.475"/>
    </inkml:context>
    <inkml:brush xml:id="br0">
      <inkml:brushProperty name="width" value="0.08571" units="cm"/>
      <inkml:brushProperty name="height" value="0.08571" units="cm"/>
      <inkml:brushProperty name="color" value="#F6630D"/>
    </inkml:brush>
  </inkml:definitions>
  <inkml:trace contextRef="#ctx0" brushRef="#br0">21 1 16078,'-4'26'1979,"1"1"-1620,5 1 91,0-1 90,1-4-90,1-2-180,2-5-91,5-2-89,5-4-90,-1-3 90,4-2-90,-5-3 0,2 2 0,0-1 0,1 2 0,1 0 90,-1 2-90,-1 2 0,-1 1 0,-1 3 90,-2 0-90,-1 3 90,-3 0-90,-3 0 0,-1 1 0,-4-1 0,-2 1-180,-3 0 0,-2 0-89,-3 0-181,-2-3-180,-3 0-179,-2-2-1,-3 0-359,0-4-91,-3-1-2607,-11-3 89,8-4 3778,-8-2 0,9-6 0,0-2 0</inkml:trace>
</inkml:ink>
</file>

<file path=ppt/ink/ink1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53.606"/>
    </inkml:context>
    <inkml:brush xml:id="br0">
      <inkml:brushProperty name="width" value="0.08571" units="cm"/>
      <inkml:brushProperty name="height" value="0.08571" units="cm"/>
      <inkml:brushProperty name="color" value="#F6630D"/>
    </inkml:brush>
  </inkml:definitions>
  <inkml:trace contextRef="#ctx0" brushRef="#br0">0 206 9422,'29'-29'2158,"-1"1"-1708,-7 11 0,1 1-180,-1 1 0,1 2-91,0-1-179,0 2-359,-2 1-361,0 1-359,-1 1-540,-2 1-450,0 0 2069,-1 0 0,-7 4 0,-2 0 0</inkml:trace>
</inkml:ink>
</file>

<file path=ppt/ink/ink1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54.098"/>
    </inkml:context>
    <inkml:brush xml:id="br0">
      <inkml:brushProperty name="width" value="0.08571" units="cm"/>
      <inkml:brushProperty name="height" value="0.08571" units="cm"/>
      <inkml:brushProperty name="color" value="#F6630D"/>
    </inkml:brush>
  </inkml:definitions>
  <inkml:trace contextRef="#ctx0" brushRef="#br0">0 72 11850,'11'-23'3058,"-1"5"-2428,1 8 0,1 3-180,3 2-1,1 0-89,2 2 90,2 2-180,-1 3 89,2 2 91,0 5-90,1 2 0,-2 6 0,0 5-1,-2 5 1,-2 6 0,-2 4-90,-3 4-180,-3 2 180,-2 2-1,-2 1 1,-3 2 0,-1-1-90,-1 1 0,-2-1 0,0 0-90,-2-1 0,1-2 0,-2 0-180,0-2 0,0-2-180,-1-3-90,0-3-180,-1-4-89,0-3-181,0-2-1259,-5 3 720,3-9-90,-4 1-1709,3-9-2069,-1-5 5217,-1-1 0,6-3 0,1-1 0</inkml:trace>
</inkml:ink>
</file>

<file path=ppt/ink/ink1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3:54.349"/>
    </inkml:context>
    <inkml:brush xml:id="br0">
      <inkml:brushProperty name="width" value="0.08571" units="cm"/>
      <inkml:brushProperty name="height" value="0.08571" units="cm"/>
      <inkml:brushProperty name="color" value="#F6630D"/>
    </inkml:brush>
  </inkml:definitions>
  <inkml:trace contextRef="#ctx0" brushRef="#br0">0 65 20755,'25'-13'1080,"2"2"-901,1 7-358,4 2-181,3 0-180,5 2-359,3-1-91,1 0-359,1 1-360,-1-1-1529,-1-2-2159,-2 0 5397,-4-3 0,1-2 0,-3-2 0</inkml:trace>
</inkml:ink>
</file>

<file path=ppt/ink/ink1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4:01.949"/>
    </inkml:context>
    <inkml:brush xml:id="br0">
      <inkml:brushProperty name="width" value="0.08571" units="cm"/>
      <inkml:brushProperty name="height" value="0.08571" units="cm"/>
      <inkml:brushProperty name="color" value="#F6630D"/>
    </inkml:brush>
  </inkml:definitions>
  <inkml:trace contextRef="#ctx0" brushRef="#br0">891 0 10861,'23'5'1529,"0"0"-1439,-8 5 180,-3 0-180,2 1 180,-5 0-91,1 1 1,0 2 90,0 1-90,-1 2 0,0 2 0,-1 1 0,0 4 0,-2 2 0,0 3-1,-1 2 1,-1 2-90,-2 2 0,0 2 90,-1 5-90,-1 2 90,-2 5-1981,0 4 1981,-2 2-90,-1 5-609,-1 2 699,-1 0-90,0 3 0,-1 1 0,0 1 0,-2 2 90,2 0-90,-2 0 0,1 1 0,-1-1-90,0 0 89,0 0 1,1-1 0,-1 1-90,1-1 180,0 1-90,-1 1 0,2 0 0,2-19 0,0 1 0,-3 27-435,3-27 0,1-1 345,-2 20 90,0 0 0,0-1-90,0 0 90,1-2-90,0-1-211,0-2 211,-4 26 0,2-23 90,-2 19 754,4-29-844,-2-1 0,2-4 90,-1 2-90,0-7 0,-4 27 90,2-23-90,-3 21 90,2-27-90,0 2 90,-1-1 0,0 0-90,-2-1 90,0-1 406,1-3-406,-1-1 0,0 0 0,-1-2 90,0-2 180,-7 13-90,4-13-91,-5 6 91,6-16 0,1-4-90,-2-2 0,-1-1-90,-1-3 986,-3-1-986,-1-3 188,-2-1-368,-1-4-630,-12-1-90,7-5 1,-9-4-360,10-4-271,-1-5-269,0-4-1169,-3-7-1889,2-4 4902,0-6 0,1-5 0,2-1 0</inkml:trace>
</inkml:ink>
</file>

<file path=ppt/ink/ink1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6T06:34:02.831"/>
    </inkml:context>
    <inkml:brush xml:id="br0">
      <inkml:brushProperty name="width" value="0.08571" units="cm"/>
      <inkml:brushProperty name="height" value="0.08571" units="cm"/>
      <inkml:brushProperty name="color" value="#F6630D"/>
    </inkml:brush>
  </inkml:definitions>
  <inkml:trace contextRef="#ctx0" brushRef="#br0">327 170 7982,'13'-19'1889,"-1"2"-1439,-4 5 90,1 1-90,-1-1 89,1 1 1,-2 0 359,1 0-89,1-4-180,-1 2-91,1-3-359,-8 3-90,-8 7 0,-5 3-90,-5 7 90,0 2-90,-3 2 0,-2 3 90,-1 2-90,-2 3 0,1 3 0,-2 4 0,0 2 0,-11 26 0,10-9 0,-8 23-1828,5 22 1918,9-11-45,7-22 0,2 1 45,0 33 0,2 4 90,4 4-45,4-46 0,0 1-46,2 1 1,-1 0 45,2 3 0,0 0 0,0 1 0,1 1-45,0 1 0,0 0 45,0 0 0,0 2 45,1 27 0,-1 1-90,0-20 0,0 0-1,0 21 1,-1 0-45,1-26 0,-1-2 0,0 2 0,0 0 0,0 0 0,1-1 45,-1 0 0,1 0 0,0-2 0,0 0 0,0-1 0,1-1 0,0-2 0,0-1 45,1-2 0,0 0-45,1-4 0,0 2 134,3 14 1,1 0 45,5 25-180,-4-33 0,0-3-195,6 8 375,2-5-90,3-4-90,2-6 90,3-4-90,4-7 0,4-5-90,5-6-90,2-8-540,24-7 1,-12-9-878,20-7 608,-16-9-91,5-7-269,0-6-180,4-6-1529,-3-3-1980,-1-2 4948,-4-2 0,8-7 0,0-2 0</inkml:trace>
</inkml:ink>
</file>

<file path=ppt/ink/ink1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5:32.236"/>
    </inkml:context>
    <inkml:brush xml:id="br0">
      <inkml:brushProperty name="width" value="0.2" units="cm"/>
      <inkml:brushProperty name="height" value="0.2" units="cm"/>
      <inkml:brushProperty name="color" value="#E71224"/>
    </inkml:brush>
  </inkml:definitions>
  <inkml:trace contextRef="#ctx0" brushRef="#br0">1 1 52 0 0,'2'2'4648'0'0,"1"0"-4401"0"0,-1 1 0 0 0,0 0 0 0 0,1 0 0 0 0,-1 0-1 0 0,0 0 1 0 0,0 0 0 0 0,-1 1 0 0 0,1-1 0 0 0,-1 0-1 0 0,1 1 1 0 0,-1 0 0 0 0,1 6 0 0 0,8 54 1875 0 0,-8-45-1657 0 0,66 395 4252 0 0,-67-411-4704 0 0,0 1 94 0 0,-1 0 0 0 0,1-1 1 0 0,1 1-1 0 0,-1 0 0 0 0,0-1 1 0 0,1 1-1 0 0,3 6 0 0 0,-4-10-87 0 0,-1 1-1 0 0,1-1 0 0 0,-1 1 1 0 0,1-1-1 0 0,-1 1 1 0 0,1-1-1 0 0,0 0 1 0 0,-1 1-1 0 0,1-1 0 0 0,-1 0 1 0 0,1 1-1 0 0,0-1 1 0 0,-1 0-1 0 0,1 0 1 0 0,0 0-1 0 0,-1 0 1 0 0,1 0-1 0 0,0 1 0 0 0,-1-1 1 0 0,2-1-1 0 0,-1 1-21 0 0,1 0-1 0 0,0-1 1 0 0,0 1-1 0 0,-1-1 0 0 0,1 0 1 0 0,0 1-1 0 0,-1-1 1 0 0,1 0-1 0 0,0 0 1 0 0,1-2-1 0 0,5-3-50 0 0,0-1-1 0 0,-1 0 0 0 0,0-1 1 0 0,0 1-1 0 0,-1-1 1 0 0,6-9-1 0 0,30-57-260 0 0,-12 18 40 0 0,-18 38 86 0 0,-11 17 154 0 0,0 3-16 0 0,5 39 7 0 0,-5-31 130 0 0,0-1-1 0 0,0 0 1 0 0,1 0-1 0 0,3 10 1 0 0,-2-10 14 0 0,1 0 0 0 0,0 0-1 0 0,1-1 1 0 0,0 1 0 0 0,0-1 0 0 0,1 0 0 0 0,0 0 0 0 0,1-1 0 0 0,-1 1-1 0 0,1-1 1 0 0,9 6 0 0 0,-9-8-16 0 0,-1-1 1 0 0,1 0-1 0 0,0-1 0 0 0,-1 1 0 0 0,2-1 0 0 0,-1-1 1 0 0,0 1-1 0 0,0-1 0 0 0,1 0 0 0 0,0-1 0 0 0,-1 0 0 0 0,1 0 1 0 0,-1-1-1 0 0,16 0 0 0 0,-14-1-24 0 0,0-1 0 0 0,0 1 0 0 0,-1-1-1 0 0,1-1 1 0 0,-1 0 0 0 0,1 0 0 0 0,-1 0 0 0 0,0-1 0 0 0,0 0 0 0 0,-1-1 0 0 0,14-9-1 0 0,-12 5-15 0 0,1 0 0 0 0,-1 0 0 0 0,-1-1 0 0 0,0 0 0 0 0,0-1 0 0 0,-1 1-1 0 0,9-17 1 0 0,-4-1 6 0 0,0 0 0 0 0,-2-1 1 0 0,-1 0-1 0 0,-2 0 0 0 0,0-1 0 0 0,2-38 0 0 0,-2-112-21 0 0,-7 179-119 0 0,0-1 0 0 0,0 0 0 0 0,0 1 0 0 0,0-1 0 0 0,0 0-1 0 0,-1 1 1 0 0,1-1 0 0 0,0 1 0 0 0,-1-1 0 0 0,0 0 0 0 0,1 1-1 0 0,-1-1 1 0 0,0 1 0 0 0,1-1 0 0 0,-1 1 0 0 0,0 0 0 0 0,0-1-1 0 0,0 1 1 0 0,-1 0 0 0 0,1 0 0 0 0,0-1 0 0 0,0 1 0 0 0,-1 0-1 0 0,-1-1 1 0 0</inkml:trace>
</inkml:ink>
</file>

<file path=ppt/ink/ink1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5:32.619"/>
    </inkml:context>
    <inkml:brush xml:id="br0">
      <inkml:brushProperty name="width" value="0.2" units="cm"/>
      <inkml:brushProperty name="height" value="0.2" units="cm"/>
      <inkml:brushProperty name="color" value="#E71224"/>
    </inkml:brush>
  </inkml:definitions>
  <inkml:trace contextRef="#ctx0" brushRef="#br0">0 1 2204 0 0,'5'3'558'0'0,"-1"1"-1"0"0,0-1 1 0 0,-1 1-1 0 0,1 0 1 0 0,-1 0-1 0 0,1 1 1 0 0,-1-1-1 0 0,0 1 1 0 0,-1-1-1 0 0,1 1 1 0 0,3 10-1 0 0,1 7 753 0 0,7 36 0 0 0,-5-19-447 0 0,19 53 165 0 0,-14-51-2408 0 0,15 79-1 0 0,-23-100-3129 0 0</inkml:trace>
</inkml:ink>
</file>

<file path=ppt/ink/ink1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5:33.003"/>
    </inkml:context>
    <inkml:brush xml:id="br0">
      <inkml:brushProperty name="width" value="0.2" units="cm"/>
      <inkml:brushProperty name="height" value="0.2" units="cm"/>
      <inkml:brushProperty name="color" value="#E71224"/>
    </inkml:brush>
  </inkml:definitions>
  <inkml:trace contextRef="#ctx0" brushRef="#br0">29 158 1272 0 0,'-5'-22'1804'0'0,"1"1"-428"0"0,4 6-183 0 0,-4-1-273 0 0,1 0-144 0 0,3 5-176 0 0,-4-1-72 0 0,2 2-176 0 0,0-1 196 0 0,0-3-292 0 0,-1 5-860 0 0</inkml:trace>
</inkml:ink>
</file>

<file path=ppt/ink/ink1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5:33.387"/>
    </inkml:context>
    <inkml:brush xml:id="br0">
      <inkml:brushProperty name="width" value="0.2" units="cm"/>
      <inkml:brushProperty name="height" value="0.2" units="cm"/>
      <inkml:brushProperty name="color" value="#E71224"/>
    </inkml:brush>
  </inkml:definitions>
  <inkml:trace contextRef="#ctx0" brushRef="#br0">1 31 156 0 0,'11'-10'2703'0'0,"-10"8"-2471"0"0,1 1-1 0 0,-1-1 1 0 0,0 1 0 0 0,1-1-1 0 0,-1 1 1 0 0,1 0 0 0 0,-1-1 0 0 0,1 1-1 0 0,0 0 1 0 0,0 0 0 0 0,0 0-1 0 0,-1 0 1 0 0,1 1 0 0 0,0-1-1 0 0,0 0 1 0 0,0 1 0 0 0,0-1 0 0 0,0 1-1 0 0,0 0 1 0 0,0 0 0 0 0,0 0-1 0 0,3 0 1 0 0,1 2-37 0 0,1 1-1 0 0,-1 0 1 0 0,0 0 0 0 0,1 1 0 0 0,-2 0-1 0 0,1 0 1 0 0,0 0 0 0 0,-1 1-1 0 0,1-1 1 0 0,-1 1 0 0 0,-1 1-1 0 0,1-1 1 0 0,-1 1 0 0 0,6 9-1 0 0,8 14 461 0 0,24 54-1 0 0,-33-62-399 0 0,8 15 62 0 0,-2 1 0 0 0,-2 1 0 0 0,-2 0-1 0 0,-1 0 1 0 0,-1 1 0 0 0,2 43-1 0 0,-10-79-216 0 0,-1-1 0 0 0,0 1 0 0 0,0-1 0 0 0,0 1 0 0 0,0 0 0 0 0,-1-1 0 0 0,1 1 0 0 0,-1-1 0 0 0,1 0 0 0 0,-3 5 0 0 0,3-7-71 0 0,-1 1 0 0 0,1 0 0 0 0,-1-1 0 0 0,1 1 0 0 0,-1 0 0 0 0,0-1 0 0 0,1 1-1 0 0,-1-1 1 0 0,0 1 0 0 0,0-1 0 0 0,1 1 0 0 0,-1-1 0 0 0,0 0 0 0 0,0 1 0 0 0,0-1 0 0 0,0 0-1 0 0,1 0 1 0 0,-1 1 0 0 0,0-1 0 0 0,0 0 0 0 0,0 0 0 0 0,0 0 0 0 0,0 0 0 0 0,0 0 0 0 0,1 0-1 0 0,-1-1 1 0 0,0 1 0 0 0,0 0 0 0 0,0 0 0 0 0,-1-1 0 0 0,1 0-18 0 0,0 1 0 0 0,0-1 0 0 0,0 1 0 0 0,0-1 0 0 0,0 0 0 0 0,1 1 0 0 0,-1-1 0 0 0,0 0 0 0 0,0 0 0 0 0,1 0 0 0 0,-1 0 0 0 0,0 1 0 0 0,1-1 0 0 0,-1 0 0 0 0,1 0 0 0 0,0 0 0 0 0,-1 0 0 0 0,0-2 0 0 0,0 1 19 0 0,-1-4-11 0 0,-1 0 0 0 0,1-1 0 0 0,0 1 1 0 0,0-1-1 0 0,0 1 0 0 0,1-1 0 0 0,0 1 0 0 0,0-1 0 0 0,1 0 0 0 0,0 0 0 0 0,0 1 0 0 0,1-1 0 0 0,1-7 0 0 0,1-3-9 0 0,1 1 0 0 0,0 0-1 0 0,1 0 1 0 0,7-16 0 0 0,-2 11-24 0 0,0 1 0 0 0,1 0 0 0 0,1 0 0 0 0,1 1 0 0 0,19-21 0 0 0,-25 32-1 0 0,0 0-1 0 0,1 0 0 0 0,0 1 0 0 0,1 0 1 0 0,0 0-1 0 0,0 1 0 0 0,0 0 0 0 0,1 1 1 0 0,0 0-1 0 0,0 1 0 0 0,0 0 0 0 0,19-5 1 0 0,-27 9 13 0 0,0-1 0 0 0,1 1 0 0 0,-1 0 0 0 0,0-1 0 0 0,0 1 0 0 0,1 1 0 0 0,-1-1 0 0 0,0 0 0 0 0,1 0 0 0 0,-1 1 0 0 0,4 1 0 0 0,2 0-5 0 0,-1-1 1 0 0,-1 1 0 0 0,1 1 0 0 0,0-1 0 0 0,-1 1 0 0 0,1 0 0 0 0,-1 1 0 0 0,0 0-1 0 0,0 0 1 0 0,0 0 0 0 0,0 0 0 0 0,-1 1 0 0 0,0 0 0 0 0,0 0 0 0 0,0 1 0 0 0,-1-1 0 0 0,1 1 0 0 0,3 8 0 0 0,3 5 13 0 0,0 1 1 0 0,-2 0 0 0 0,0 0-1 0 0,6 26 1 0 0,1 14-664 0 0,0 1-3676 0 0,-15-45 2154 0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19:24.107"/>
    </inkml:context>
    <inkml:brush xml:id="br0">
      <inkml:brushProperty name="width" value="0.08571" units="cm"/>
      <inkml:brushProperty name="height" value="0.08571" units="cm"/>
      <inkml:brushProperty name="color" value="#E71224"/>
    </inkml:brush>
  </inkml:definitions>
  <inkml:trace contextRef="#ctx0" brushRef="#br0">46 75 10771,'-18'-12'3958,"1"1"-1980,6 5-1798,16 1 90,-1 2 0,19 2 0,0 1-90,7 0 90,6-1-90,5 0-1,7 0 1,7-1-359,4 1 269,6-2 0,2 2 0,32-2 0,-23 1-1350,23 0 1350,-33 0-90,-2 1-130,-6 0 130,-5 0 0,-9 2 0,-3-1 0,-7 0 0,-3-1 0,-4 1 90,4 0-90,-9-1 139,7 0-589,-10 0-3596,2-1 4046,-16-2 0,0 2 0,-10-2 0</inkml:trace>
</inkml:ink>
</file>

<file path=ppt/ink/ink1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5:33.780"/>
    </inkml:context>
    <inkml:brush xml:id="br0">
      <inkml:brushProperty name="width" value="0.2" units="cm"/>
      <inkml:brushProperty name="height" value="0.2" units="cm"/>
      <inkml:brushProperty name="color" value="#E71224"/>
    </inkml:brush>
  </inkml:definitions>
  <inkml:trace contextRef="#ctx0" brushRef="#br0">257 6 92 0 0,'2'-1'184'0'0,"0"0"1"0"0,0 0-1 0 0,0 1 0 0 0,1-1 0 0 0,-1 1 1 0 0,0-1-1 0 0,0 1 0 0 0,0 0 0 0 0,0 0 1 0 0,0 0-1 0 0,1 0 0 0 0,-1 0 0 0 0,0 0 1 0 0,0 0-1 0 0,0 1 0 0 0,0-1 0 0 0,0 1 1 0 0,0 0-1 0 0,1-1 0 0 0,-2 1 1 0 0,1 0-1 0 0,0 0 0 0 0,0 0 0 0 0,0 1 1 0 0,0-1-1 0 0,-1 0 0 0 0,1 1 0 0 0,0-1 1 0 0,-1 1-1 0 0,1 0 0 0 0,-1-1 0 0 0,0 1 1 0 0,0 0-1 0 0,2 2 0 0 0,4 9 277 0 0,0-1 0 0 0,0 1-1 0 0,-1 1 1 0 0,4 13 0 0 0,-7-19-264 0 0,133 418 5273 0 0,-132-408-5333 0 0,-1 0-1 0 0,0 0 1 0 0,-1 1-1 0 0,-1-1 1 0 0,-1 0 0 0 0,0 1-1 0 0,-2-1 1 0 0,-6 33-1 0 0,5-40-100 0 0,0-1 0 0 0,0 0 0 0 0,-1 0 0 0 0,-1 0 0 0 0,0-1 0 0 0,0 1 0 0 0,-1-1 0 0 0,0 0 0 0 0,0-1 0 0 0,-1 1 0 0 0,0-1 0 0 0,-1-1-1 0 0,0 1 1 0 0,0-1 0 0 0,-1-1 0 0 0,-11 8 0 0 0,8-7-7 0 0,0-1 1 0 0,0 0-1 0 0,-1-1 1 0 0,0-1-1 0 0,0 0 0 0 0,0 0 1 0 0,0-1-1 0 0,-1-1 0 0 0,1 0 1 0 0,-1-1-1 0 0,0-1 0 0 0,1 0 1 0 0,-1 0-1 0 0,-26-6 0 0 0,32 4-60 0 0,-1 0 1 0 0,0 0-1 0 0,1-1 0 0 0,-1 0 0 0 0,1-1 1 0 0,0 0-1 0 0,0 0 0 0 0,1-1 0 0 0,-1 0 1 0 0,1 0-1 0 0,0-1 0 0 0,0 0 0 0 0,1 0 1 0 0,-1-1-1 0 0,1 0 0 0 0,1 0 0 0 0,0 0 1 0 0,0 0-1 0 0,0-1 0 0 0,1 0 0 0 0,0 0 1 0 0,0 0-1 0 0,-4-15 0 0 0,6 15-67 0 0,1-1-1 0 0,0 1 0 0 0,0-1 1 0 0,0 0-1 0 0,1 1 1 0 0,1-1-1 0 0,-1 1 1 0 0,2-1-1 0 0,-1 0 1 0 0,1 1-1 0 0,0 0 0 0 0,1-1 1 0 0,0 1-1 0 0,5-11 1 0 0,-5 14 60 0 0,-1-1 1 0 0,1 1 0 0 0,1 0-1 0 0,-1 0 1 0 0,1 0 0 0 0,0 0-1 0 0,0 1 1 0 0,0-1 0 0 0,0 1-1 0 0,1 0 1 0 0,0 0 0 0 0,0 1 0 0 0,0-1-1 0 0,0 1 1 0 0,1 0 0 0 0,-1 1-1 0 0,1-1 1 0 0,-1 1 0 0 0,1 0-1 0 0,10-1 1 0 0,-10 3 14 0 0,0 0 1 0 0,1 0 0 0 0,-1 1-1 0 0,0 0 1 0 0,1 1-1 0 0,-1-1 1 0 0,0 1-1 0 0,0 0 1 0 0,0 1-1 0 0,0-1 1 0 0,-1 1 0 0 0,1 1-1 0 0,-1-1 1 0 0,10 8-1 0 0,2 5 13 0 0,-1 0 0 0 0,0 1-1 0 0,17 25 1 0 0,-24-28 173 0 0,1-1 0 0 0,1 0 0 0 0,0-1 0 0 0,1 0 0 0 0,0 0 0 0 0,0-2 0 0 0,2 1 0 0 0,16 9 0 0 0,-20-15-122 0 0,0 0 0 0 0,0 0 0 0 0,1-1-1 0 0,0 0 1 0 0,0-1 0 0 0,0 0 0 0 0,0-1-1 0 0,0 0 1 0 0,1-1 0 0 0,-1 0 0 0 0,1-1-1 0 0,-1 0 1 0 0,1-1 0 0 0,-1 0 0 0 0,0 0-1 0 0,1-2 1 0 0,-1 1 0 0 0,0-2 0 0 0,0 1 0 0 0,-1-1-1 0 0,1-1 1 0 0,16-10 0 0 0,-9 4-27 0 0,0-1-1 0 0,-1-1 1 0 0,-1 0 0 0 0,0-1 0 0 0,-1-1 0 0 0,0-1 0 0 0,-1 0 0 0 0,12-19-1 0 0,-26 34-7 0 0,1 1-1 0 0,-1-1 1 0 0,0 1-1 0 0,1-1 1 0 0,-1 0-1 0 0,0 1 1 0 0,0-1-1 0 0,1 0 1 0 0,-1 1 0 0 0,0-1-1 0 0,0 0 1 0 0,0 1-1 0 0,0-1 1 0 0,0 0-1 0 0,0 1 1 0 0,0-1-1 0 0,0 0 1 0 0,0 1-1 0 0,0-1 1 0 0,0 0-1 0 0,0 1 1 0 0,0-1-1 0 0,-1 0 1 0 0,1 1-1 0 0,0-1 1 0 0,-1 0-1 0 0,1 1 1 0 0,0-1-1 0 0,-1 0 1 0 0,1 1-1 0 0,-1-1 1 0 0,1 1-1 0 0,-1-1 1 0 0,1 1-1 0 0,-1-1 1 0 0,1 1-1 0 0,-1-1 1 0 0,-1 0 24 0 0,0 0 1 0 0,0 0 0 0 0,0 0-1 0 0,0 0 1 0 0,0 0-1 0 0,0 1 1 0 0,0-1 0 0 0,-1 0-1 0 0,1 1 1 0 0,0 0 0 0 0,-4-1-1 0 0,-1 2-1 0 0,0-1 0 0 0,0 1 0 0 0,0 0-1 0 0,0 0 1 0 0,1 1 0 0 0,-1 0 0 0 0,1 0 0 0 0,-1 1-1 0 0,-8 4 1 0 0,14-6-22 0 0,1-1 0 0 0,-1 1-1 0 0,0-1 1 0 0,1 1 0 0 0,-1-1-1 0 0,0 1 1 0 0,1 0 0 0 0,-1-1 0 0 0,1 1-1 0 0,-1 0 1 0 0,1 0 0 0 0,-1-1-1 0 0,1 1 1 0 0,0 0 0 0 0,-1 0 0 0 0,1 0-1 0 0,0 0 1 0 0,0-1 0 0 0,-1 1-1 0 0,1 0 1 0 0,0 0 0 0 0,0 0 0 0 0,0 0-1 0 0,0 0 1 0 0,0 0 0 0 0,0 0-1 0 0,1-1 1 0 0,-1 1 0 0 0,0 0 0 0 0,0 0-1 0 0,1 0 1 0 0,-1 0 0 0 0,1 1-1 0 0,0 0 7 0 0,0 0-1 0 0,0 0 1 0 0,0 0-1 0 0,1 0 0 0 0,-1 0 1 0 0,1-1-1 0 0,-1 1 1 0 0,1 0-1 0 0,0-1 0 0 0,2 3 1 0 0,6 0 23 0 0,0 1 0 0 0,0-1 0 0 0,0-1 0 0 0,1 0 0 0 0,-1 0 0 0 0,1-1 0 0 0,0-1 0 0 0,0 1 0 0 0,12-2 0 0 0,-21 0-29 0 0,0 0 0 0 0,0 0 0 0 0,0 0 0 0 0,0 0 0 0 0,-1 0 1 0 0,1-1-1 0 0,0 1 0 0 0,0-1 0 0 0,0 1 0 0 0,0-1 0 0 0,0 0 0 0 0,1-1 0 0 0,-2 1-6 0 0,0 1 0 0 0,-1-1 0 0 0,1 1 0 0 0,-1-1 0 0 0,1 0 0 0 0,0 1-1 0 0,-1-1 1 0 0,1 0 0 0 0,-1 0 0 0 0,0 1 0 0 0,1-1 0 0 0,-1 0 0 0 0,1 0 0 0 0,-1 0 0 0 0,0 0-1 0 0,0 1 1 0 0,0-1 0 0 0,1-2 0 0 0,-1 1-2 0 0,-1-1 0 0 0,1 1 0 0 0,0-1 0 0 0,-1 1 0 0 0,0-1 1 0 0,1 1-1 0 0,-1-1 0 0 0,0 1 0 0 0,0 0 0 0 0,-1 0 0 0 0,1-1 0 0 0,0 1 0 0 0,-1 0 0 0 0,-2-3 0 0 0,-25-25-792 0 0,-12-17-2300 0 0,23 13-4026 0 0</inkml:trace>
</inkml:ink>
</file>

<file path=ppt/ink/ink1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5:34.196"/>
    </inkml:context>
    <inkml:brush xml:id="br0">
      <inkml:brushProperty name="width" value="0.2" units="cm"/>
      <inkml:brushProperty name="height" value="0.2" units="cm"/>
      <inkml:brushProperty name="color" value="#E71224"/>
    </inkml:brush>
  </inkml:definitions>
  <inkml:trace contextRef="#ctx0" brushRef="#br0">0 94 232 0 0,'3'3'424'0'0,"0"0"1"0"0,-1 0-1 0 0,0 0 0 0 0,1 0 1 0 0,-1 0-1 0 0,0 0 0 0 0,-1 1 1 0 0,1-1-1 0 0,-1 1 0 0 0,1-1 1 0 0,-1 1-1 0 0,1 4 0 0 0,4 50 2009 0 0,-1-13-980 0 0,-2-31-1133 0 0,0 1 1 0 0,2-1-1 0 0,0 0 0 0 0,0 0 0 0 0,14 23 0 0 0,-17-32-271 0 0,1 0 0 0 0,0-1 0 0 0,1 1-1 0 0,-1-1 1 0 0,1 1 0 0 0,-1-1-1 0 0,1 0 1 0 0,0 0 0 0 0,1-1-1 0 0,-1 1 1 0 0,1-1 0 0 0,0 0-1 0 0,-1 0 1 0 0,1-1 0 0 0,0 1-1 0 0,1-1 1 0 0,-1 0 0 0 0,6 1-1 0 0,-6-2-126 0 0,-1-1 0 0 0,1 1 0 0 0,0-1-1 0 0,-1 0 1 0 0,1-1 0 0 0,-1 1-1 0 0,1-1 1 0 0,-1 0 0 0 0,1 0-1 0 0,-1 0 1 0 0,1 0 0 0 0,-1-1 0 0 0,0 0-1 0 0,6-3 1 0 0,-1-1-190 0 0,0-1 0 0 0,0 0 0 0 0,-1-1 0 0 0,10-11 0 0 0,1 0-226 0 0,-19 18 485 0 0,0 1-1 0 0,0 0 1 0 0,0-1-1 0 0,-1 1 0 0 0,1 0 1 0 0,0-1-1 0 0,0 1 1 0 0,0 0-1 0 0,0-1 1 0 0,0 1-1 0 0,-1 0 1 0 0,1-1-1 0 0,0 1 1 0 0,0 0-1 0 0,0-1 1 0 0,-1 1-1 0 0,1 0 0 0 0,0 0 1 0 0,0-1-1 0 0,-1 1 1 0 0,1 0-1 0 0,0 0 1 0 0,-1 0-1 0 0,1 0 1 0 0,0-1-1 0 0,-1 1 1 0 0,1 0-1 0 0,-1 0 1 0 0,0 1 0 0 0,-1 0 29 0 0,1 0 1 0 0,0 0 0 0 0,-1 1-1 0 0,1-1 1 0 0,0 0 0 0 0,0 0 0 0 0,0 1-1 0 0,0-1 1 0 0,0 1 0 0 0,0-1-1 0 0,0 1 1 0 0,1-1 0 0 0,-1 1 0 0 0,0-1-1 0 0,1 1 1 0 0,-1 0 0 0 0,1-1-1 0 0,0 1 1 0 0,-1 0 0 0 0,1-1-1 0 0,0 1 1 0 0,0 0 0 0 0,0 0 0 0 0,1 1-1 0 0,-1 1 66 0 0,2 0 0 0 0,-1-1 0 0 0,0 1 0 0 0,1 0 0 0 0,0-1 0 0 0,-1 1 0 0 0,2-1 0 0 0,-1 1 0 0 0,0-1 0 0 0,1 0 0 0 0,-1 0 0 0 0,1 0 0 0 0,0-1 0 0 0,0 1 0 0 0,5 3 0 0 0,-2-2 26 0 0,0-1 1 0 0,0 0-1 0 0,0 0 1 0 0,1 0-1 0 0,-1-1 1 0 0,1 0-1 0 0,0 0 1 0 0,10 1-1 0 0,-5-2 93 0 0,-1 0 0 0 0,1-1-1 0 0,-1 0 1 0 0,0-1-1 0 0,1 0 1 0 0,-1-1-1 0 0,0 0 1 0 0,0 0-1 0 0,0-2 1 0 0,0 1-1 0 0,11-6 1 0 0,-16 5-128 0 0,-1 1 0 0 0,0 0 0 0 0,0-1 0 0 0,-1 0 0 0 0,1 0 0 0 0,-1-1-1 0 0,0 1 1 0 0,0-1 0 0 0,0 0 0 0 0,-1 0 0 0 0,0 0 0 0 0,0-1 0 0 0,0 1 0 0 0,0-1 0 0 0,-1 0 0 0 0,0 1 0 0 0,0-1 0 0 0,-1 0 0 0 0,2-8 0 0 0,0-11 177 0 0,-1 0-1 0 0,-1 0 1 0 0,-3-35-1 0 0,1 42-79 0 0,1 2-48 0 0,-1 0 1 0 0,-1 0 0 0 0,-1 0 0 0 0,-7-24 0 0 0,9 35-370 0 0,-1 0 0 0 0,0 0 1 0 0,-1 1-1 0 0,1-1 1 0 0,-1 1-1 0 0,0 0 1 0 0,0 0-1 0 0,-5-6 1 0 0,0 3-1402 0 0,5 5 1097 0 0,1 1-1 0 0,-1-1 0 0 0,0 0 0 0 0,0 1 0 0 0,0 0 1 0 0,0 0-1 0 0,-1 0 0 0 0,1 0 0 0 0,0 0 1 0 0,0 0-1 0 0,-6 1 0 0 0,-18-2-4556 0 0</inkml:trace>
</inkml:ink>
</file>

<file path=ppt/ink/ink1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5:36.677"/>
    </inkml:context>
    <inkml:brush xml:id="br0">
      <inkml:brushProperty name="width" value="0.2" units="cm"/>
      <inkml:brushProperty name="height" value="0.2" units="cm"/>
      <inkml:brushProperty name="color" value="#E71224"/>
    </inkml:brush>
  </inkml:definitions>
  <inkml:trace contextRef="#ctx0" brushRef="#br0">206 132 808 0 0,'2'-7'1043'0'0,"0"0"0"0"0,0-1 0 0 0,-1 1 0 0 0,0-1 0 0 0,0 0 0 0 0,-1-11 0 0 0,0 16-932 0 0,-1 1 0 0 0,0-1-1 0 0,1 0 1 0 0,-1 0-1 0 0,0 0 1 0 0,0 1-1 0 0,-1-1 1 0 0,1 1-1 0 0,-1-1 1 0 0,1 1-1 0 0,-1-1 1 0 0,0 1-1 0 0,1 0 1 0 0,-1 0 0 0 0,-1-1-1 0 0,1 2 1 0 0,0-1-1 0 0,0 0 1 0 0,-4-2-1 0 0,1 1-25 0 0,1 1-1 0 0,-1 0 0 0 0,0 0 1 0 0,0 0-1 0 0,1 0 0 0 0,-1 1 1 0 0,0 0-1 0 0,0 0 1 0 0,-1 0-1 0 0,1 1 0 0 0,0-1 1 0 0,0 1-1 0 0,0 0 0 0 0,0 1 1 0 0,0-1-1 0 0,-7 3 0 0 0,10-3-70 0 0,-1 0-1 0 0,1 1 0 0 0,-1-1 1 0 0,1 1-1 0 0,0-1 0 0 0,-1 1 1 0 0,1 0-1 0 0,0 0 0 0 0,0 0 1 0 0,0 0-1 0 0,0 1 0 0 0,0-1 1 0 0,0 1-1 0 0,0-1 0 0 0,0 1 1 0 0,0-1-1 0 0,1 1 0 0 0,-1 0 1 0 0,1 0-1 0 0,-1 0 0 0 0,1 0 1 0 0,0 0-1 0 0,0 0 0 0 0,0 0 1 0 0,0 1-1 0 0,0-1 0 0 0,0 0 1 0 0,0 0-1 0 0,1 1 0 0 0,-1-1 1 0 0,1 1-1 0 0,0-1 0 0 0,0 0 1 0 0,0 1-1 0 0,0-1 0 0 0,0 3 0 0 0,2 8 31 0 0,0 0 0 0 0,1-1 0 0 0,0 1 0 0 0,1-1 0 0 0,7 15 0 0 0,-9-22-42 0 0,22 47 90 0 0,51 83 0 0 0,4 7-146 0 0,-72-129 92 0 0,-2 0 0 0 0,1 0 0 0 0,-2 0-1 0 0,0 1 1 0 0,-1-1 0 0 0,3 18 0 0 0,-6-27 13 0 0,0 1 1 0 0,1-1 0 0 0,-1 0 0 0 0,-1 1 0 0 0,1-1-1 0 0,-1 0 1 0 0,0 1 0 0 0,0-1 0 0 0,0 0-1 0 0,0 0 1 0 0,-1 0 0 0 0,0 0 0 0 0,0 0-1 0 0,0 0 1 0 0,0 0 0 0 0,0-1 0 0 0,-1 1-1 0 0,0-1 1 0 0,0 1 0 0 0,0-1 0 0 0,0 0-1 0 0,0 0 1 0 0,-8 4 0 0 0,3-2 35 0 0,-1 0-1 0 0,0-1 1 0 0,0-1-1 0 0,0 1 1 0 0,-1-1-1 0 0,1-1 1 0 0,-1 0-1 0 0,1 0 1 0 0,-1-1 0 0 0,-18 0-1 0 0,23-1-173 0 0,0 0-1 0 0,-1 0 1 0 0,1 0 0 0 0,0-1-1 0 0,-1 0 1 0 0,1 0 0 0 0,0 0-1 0 0,0-1 1 0 0,0 0 0 0 0,0 0-1 0 0,0 0 1 0 0,0-1 0 0 0,1 1-1 0 0,-1-1 1 0 0,1 0 0 0 0,-1 0-1 0 0,1-1 1 0 0,0 1 0 0 0,1-1-1 0 0,-1 0 1 0 0,-3-5 0 0 0,6 8-95 0 0,0-1 0 0 0,0 0 0 0 0,1 0 0 0 0,-1 0 0 0 0,1 0 0 0 0,-1 0 0 0 0,1 0 0 0 0,0 0 0 0 0,0 0 0 0 0,0 0 0 0 0,0 1 0 0 0,0-1 1 0 0,0 0-1 0 0,1 0 0 0 0,-1 0 0 0 0,0 0 0 0 0,1 0 0 0 0,1-2 0 0 0,16-32-4041 0 0,-6 17 1126 0 0</inkml:trace>
</inkml:ink>
</file>

<file path=ppt/ink/ink1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5:37.036"/>
    </inkml:context>
    <inkml:brush xml:id="br0">
      <inkml:brushProperty name="width" value="0.2" units="cm"/>
      <inkml:brushProperty name="height" value="0.2" units="cm"/>
      <inkml:brushProperty name="color" value="#E71224"/>
    </inkml:brush>
  </inkml:definitions>
  <inkml:trace contextRef="#ctx0" brushRef="#br0">0 5 828 0 0,'8'-2'847'0'0,"0"1"-1"0"0,0 0 0 0 0,0 1 1 0 0,0 0-1 0 0,0 0 1 0 0,-1 1-1 0 0,1 0 1 0 0,15 3-1 0 0,-18-2-546 0 0,0 0 0 0 0,0 1 1 0 0,0-1-1 0 0,0 1 0 0 0,-1 0 0 0 0,1 0 0 0 0,-1 0 0 0 0,0 1 0 0 0,0 0 0 0 0,0 0 0 0 0,0 0 1 0 0,-1 0-1 0 0,5 7 0 0 0,3 7 212 0 0,-1-1-1 0 0,-1 2 1 0 0,-1-1 0 0 0,12 38 0 0 0,-8-12-2918 0 0,6 49 1 0 0,-16-71-2236 0 0</inkml:trace>
</inkml:ink>
</file>

<file path=ppt/ink/ink1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5:37.419"/>
    </inkml:context>
    <inkml:brush xml:id="br0">
      <inkml:brushProperty name="width" value="0.2" units="cm"/>
      <inkml:brushProperty name="height" value="0.2" units="cm"/>
      <inkml:brushProperty name="color" value="#E71224"/>
    </inkml:brush>
  </inkml:definitions>
  <inkml:trace contextRef="#ctx0" brushRef="#br0">100 206 1896 0 0,'-7'-23'1696'0'0,"-2"3"-268"0"0,1 3-287 0 0,-1-4-165 0 0,3 3-164 0 0,-5 3-144 0 0,2-1-120 0 0,3 0-136 0 0,-3 3-72 0 0,3-1-88 0 0,-1 3-388 0 0,3 1-392 0 0,-5-2-1232 0 0</inkml:trace>
</inkml:ink>
</file>

<file path=ppt/ink/ink1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5:37.760"/>
    </inkml:context>
    <inkml:brush xml:id="br0">
      <inkml:brushProperty name="width" value="0.2" units="cm"/>
      <inkml:brushProperty name="height" value="0.2" units="cm"/>
      <inkml:brushProperty name="color" value="#E71224"/>
    </inkml:brush>
  </inkml:definitions>
  <inkml:trace contextRef="#ctx0" brushRef="#br0">0 253 564 0 0,'14'7'8221'0'0,"-1"-11"-7511"0"0,-1 0 0 0 0,0-1 0 0 0,15-8 0 0 0,30-13 15 0 0,134-26-38 0 0,-158 47-682 0 0,-23 6-8 0 0,-3 1 1 0 0,-4-1 16 0 0,0-1-1 0 0,0 1 1 0 0,-1-1 0 0 0,1 1 0 0 0,0 0 0 0 0,-1 0 0 0 0,1 0 0 0 0,-1 0 0 0 0,1 1 0 0 0,-1-1 0 0 0,0 1 0 0 0,0-1 0 0 0,1 1 0 0 0,-1 0 0 0 0,0 0 0 0 0,0 0 0 0 0,-1 0 0 0 0,1 0 0 0 0,0 0 0 0 0,-1 1 0 0 0,1-1 0 0 0,-1 1 0 0 0,0-1 0 0 0,0 1 0 0 0,0-1 0 0 0,0 1 0 0 0,0-1 0 0 0,0 1 0 0 0,-1 0 0 0 0,1 0 0 0 0,-1-1 0 0 0,0 1 0 0 0,0 4 0 0 0,0 7 154 0 0,-1 0 0 0 0,0 1 1 0 0,-1-1-1 0 0,-8 26 0 0 0,-34 96 1233 0 0,28-93-863 0 0,2 1 0 0 0,-12 60 0 0 0,26-100-436 0 0,-1 0 0 0 0,1-1 0 0 0,-1 1 1 0 0,1-1-1 0 0,0 1 0 0 0,0 0 0 0 0,1-1 1 0 0,-1 1-1 0 0,1-1 0 0 0,0 1 0 0 0,0-1 0 0 0,2 7 1 0 0,-2-8-60 0 0,1 0 0 0 0,-1 0 0 0 0,1 0 0 0 0,-1-1 0 0 0,1 1 0 0 0,0-1 0 0 0,0 1 0 0 0,0-1 0 0 0,-1 1 0 0 0,1-1 0 0 0,1 0 1 0 0,-1 0-1 0 0,0 0 0 0 0,0 0 0 0 0,0 0 0 0 0,0-1 0 0 0,1 1 0 0 0,-1-1 0 0 0,0 1 0 0 0,5-1 0 0 0,12 2 21 0 0,1-1-1 0 0,0-2 0 0 0,0 1 1 0 0,0-2-1 0 0,36-8 0 0 0,-30 3-2136 0 0,46-18 0 0 0,-26-6-6767 0 0</inkml:trace>
  <inkml:trace contextRef="#ctx0" brushRef="#br0" timeOffset="1">870 268 660 0 0,'-15'-19'11557'0'0,"15"17"-11464"0"0,1 0 0 0 0,-1 1 1 0 0,1-1-1 0 0,0 0 0 0 0,0 1 0 0 0,0-1 0 0 0,0 1 0 0 0,0-1 1 0 0,0 1-1 0 0,0 0 0 0 0,0-1 0 0 0,1 1 0 0 0,-1 0 0 0 0,0 0 1 0 0,1 0-1 0 0,-1 0 0 0 0,3-1 0 0 0,37-23 332 0 0,-21 14-225 0 0,-5 1-95 0 0,0-1 1 0 0,0 0 0 0 0,17-18-1 0 0,-27 23-92 0 0,1 0-1 0 0,-1 0 0 0 0,0-1 0 0 0,0 1 1 0 0,-1-1-1 0 0,0-1 0 0 0,0 1 0 0 0,0 0 1 0 0,4-15-1 0 0,-8 20-17 0 0,1 1 0 0 0,-1 0 1 0 0,0-1-1 0 0,1 1 0 0 0,-1 0 0 0 0,0-1 0 0 0,0 1 0 0 0,0 0 1 0 0,0-1-1 0 0,0 1 0 0 0,0-1 0 0 0,0 1 0 0 0,0 0 1 0 0,-1-1-1 0 0,1 1 0 0 0,-1 0 0 0 0,1-1 0 0 0,-1 1 0 0 0,1 0 1 0 0,-1 0-1 0 0,1-1 0 0 0,-1 1 0 0 0,0 0 0 0 0,0 0 0 0 0,-1-1 1 0 0,0 1 4 0 0,0 0 0 0 0,1 0 1 0 0,-1 0-1 0 0,0 0 1 0 0,0 0-1 0 0,0 1 1 0 0,0-1-1 0 0,-1 1 1 0 0,1-1-1 0 0,0 1 0 0 0,0 0 1 0 0,0 0-1 0 0,0 0 1 0 0,-4 0-1 0 0,-4 2 45 0 0,0-1 0 0 0,0 2 0 0 0,0-1 0 0 0,1 1 0 0 0,-18 8 0 0 0,18-7 34 0 0,0 1 1 0 0,1 1-1 0 0,-1 0 1 0 0,1 0-1 0 0,0 0 1 0 0,1 1-1 0 0,0 0 1 0 0,0 0-1 0 0,0 1 1 0 0,1 0-1 0 0,0 0 1 0 0,0 1-1 0 0,-6 12 1 0 0,9-13-21 0 0,0-1 0 0 0,0 1 0 0 0,1 0 1 0 0,0 1-1 0 0,0-1 0 0 0,1 0 0 0 0,0 0 0 0 0,0 1 1 0 0,1-1-1 0 0,0 0 0 0 0,1 1 0 0 0,0-1 0 0 0,0 1 1 0 0,0-1-1 0 0,1 0 0 0 0,5 12 0 0 0,-3-10-183 0 0,0 1 0 0 0,2-1 0 0 0,-1 0 0 0 0,1-1 0 0 0,0 1 0 0 0,1-1 0 0 0,0 0 0 0 0,1-1 0 0 0,0 0 0 0 0,12 10 0 0 0,-12-11-952 0 0,1-1-1 0 0,0-1 1 0 0,0 0 0 0 0,0 0-1 0 0,0-1 1 0 0,1 0 0 0 0,10 3-1 0 0</inkml:trace>
</inkml:ink>
</file>

<file path=ppt/ink/ink1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5:38.170"/>
    </inkml:context>
    <inkml:brush xml:id="br0">
      <inkml:brushProperty name="width" value="0.2" units="cm"/>
      <inkml:brushProperty name="height" value="0.2" units="cm"/>
      <inkml:brushProperty name="color" value="#E71224"/>
    </inkml:brush>
  </inkml:definitions>
  <inkml:trace contextRef="#ctx0" brushRef="#br0">1 75 2224 0 0,'11'-6'4881'0'0,"4"-4"-3057"0"0,6 2-1176 0 0,-6 2-132 0 0,0 1-120 0 0,5-3-68 0 0,-3 4-68 0 0,0-2-36 0 0,3 2-72 0 0,-1 0-316 0 0,3 1-356 0 0,-5-1-404 0 0,0 0-548 0 0,11 2-4497 0 0</inkml:trace>
</inkml:ink>
</file>

<file path=ppt/ink/ink1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5:38.567"/>
    </inkml:context>
    <inkml:brush xml:id="br0">
      <inkml:brushProperty name="width" value="0.2" units="cm"/>
      <inkml:brushProperty name="height" value="0.2" units="cm"/>
      <inkml:brushProperty name="color" value="#E71224"/>
    </inkml:brush>
  </inkml:definitions>
  <inkml:trace contextRef="#ctx0" brushRef="#br0">3 1 2060 0 0,'0'1'235'0'0,"-1"1"-1"0"0,1-1 0 0 0,-1 1 1 0 0,1 0-1 0 0,0-1 0 0 0,-1 1 1 0 0,1 0-1 0 0,0-1 0 0 0,0 1 1 0 0,0 0-1 0 0,1-1 1 0 0,-1 1-1 0 0,0 0 0 0 0,1-1 1 0 0,-1 1-1 0 0,1-1 0 0 0,-1 1 1 0 0,1 0-1 0 0,0-1 0 0 0,-1 0 1 0 0,1 1-1 0 0,2 1 1 0 0,-1 0-13 0 0,0-1 0 0 0,1-1 0 0 0,-1 1 0 0 0,0 0 0 0 0,1-1 1 0 0,0 1-1 0 0,-1-1 0 0 0,1 0 0 0 0,0 0 0 0 0,0 0 1 0 0,0 0-1 0 0,3 1 0 0 0,12-1 35 0 0,-1 0 0 0 0,0 0-1 0 0,0-2 1 0 0,0 0 0 0 0,0-1 0 0 0,0-1 0 0 0,17-5-1 0 0,-4 2-557 0 0,-12 1-1789 0 0,1 0 0 0 0,34-16-1 0 0,-35 13-1326 0 0</inkml:trace>
</inkml:ink>
</file>

<file path=ppt/ink/ink1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5:38.934"/>
    </inkml:context>
    <inkml:brush xml:id="br0">
      <inkml:brushProperty name="width" value="0.2" units="cm"/>
      <inkml:brushProperty name="height" value="0.2" units="cm"/>
      <inkml:brushProperty name="color" value="#E71224"/>
    </inkml:brush>
  </inkml:definitions>
  <inkml:trace contextRef="#ctx0" brushRef="#br0">220 19 684 0 0,'16'-18'8514'0'0,"-13"19"-8344"0"0,0 1 0 0 0,-1 0 0 0 0,1 0 0 0 0,-1 0 1 0 0,0 0-1 0 0,0 0 0 0 0,1 0 0 0 0,-1 1 0 0 0,-1-1 1 0 0,1 1-1 0 0,0-1 0 0 0,-1 1 0 0 0,1 0 0 0 0,1 4 1 0 0,18 52 1401 0 0,-13-33-1076 0 0,26 75 1319 0 0,39 199 1 0 0,-69-274-1778 0 0,-2-1-1 0 0,-1 1 1 0 0,-4 46 0 0 0,0-44-2175 0 0,-11 42-1 0 0,14-67 1529 0 0,-2 2-41 0 0</inkml:trace>
  <inkml:trace contextRef="#ctx0" brushRef="#br0" timeOffset="1">347 26 1464 0 0,'-8'-1'546'0'0,"-1"-1"0"0"0,1 1 0 0 0,-1 1 0 0 0,1 0-1 0 0,-1 0 1 0 0,0 0 0 0 0,1 1 0 0 0,-1 0 0 0 0,1 1 0 0 0,-11 3 0 0 0,6-1-270 0 0,-1 0 0 0 0,1 1 1 0 0,-1 0-1 0 0,1 1 1 0 0,1 1-1 0 0,-1 0 0 0 0,1 1 1 0 0,0 0-1 0 0,1 1 1 0 0,0 0-1 0 0,1 1 0 0 0,-14 14 1 0 0,16-12-768 0 0,-1-1 0 0 0,2 1 0 0 0,-1 0-1 0 0,2 0 1 0 0,-1 1 0 0 0,2 0 0 0 0,-8 24 0 0 0,8-21-1692 0 0,2-2-363 0 0</inkml:trace>
</inkml:ink>
</file>

<file path=ppt/ink/ink1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5:39.261"/>
    </inkml:context>
    <inkml:brush xml:id="br0">
      <inkml:brushProperty name="width" value="0.2" units="cm"/>
      <inkml:brushProperty name="height" value="0.2" units="cm"/>
      <inkml:brushProperty name="color" value="#E71224"/>
    </inkml:brush>
  </inkml:definitions>
  <inkml:trace contextRef="#ctx0" brushRef="#br0">1 0 700 0 0,'0'3'2053'0'0,"0"-1"-1734"0"0,15 23 5111 0 0,-11-22-5110 0 0,0-1 91 0 0,0 0-1 0 0,0 0 1 0 0,1 0 0 0 0,-1-1-1 0 0,1 0 1 0 0,-1 1 0 0 0,6-1-1 0 0,10 2 426 0 0,1-2 0 0 0,31-2-1 0 0,-38 0-442 0 0,392-19 3248 0 0,-403 19-3966 0 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19:25.264"/>
    </inkml:context>
    <inkml:brush xml:id="br0">
      <inkml:brushProperty name="width" value="0.08571" units="cm"/>
      <inkml:brushProperty name="height" value="0.08571" units="cm"/>
      <inkml:brushProperty name="color" value="#E71224"/>
    </inkml:brush>
  </inkml:definitions>
  <inkml:trace contextRef="#ctx0" brushRef="#br0">330 37 10231,'-20'-16'1799,"2"2"-1349,5 10 0,-2 1-1,-1 3-89,-2 3-90,-2 3 0,-2 2 0,-1 5-90,-2 3-1,2 4 91,-1 2-90,3 1 90,2 2 0,4-1 0,2 2-90,2 0 90,4 0-91,2-1 91,4 0-90,3 0 90,3 0-180,5 0 270,13 11-180,-1-11-90,11 7 89,-6-12-89,1-4 90,0-2 0,0-4 0,1-2-90,-2-3 0,0-2-90,-2-3 180,1-3 90,10-8-180,-8 0 0,6-6 0,-14 2 0,-2 1 0,-3-2-1,-2 3 1,-2-1 0,-1 1-90,-3-2 0,-7 3 0,-6 6 90,-5 4-90,-4 8 0,4 2 0,0 1 0,0 1 0,2 1 90,2 1-90,1 5 0,6 2 0,3 1 0,6-3 0,2-5 0,3-1 90,2-1-90,2-2 0,1-1 0,1-2 90,-1-1-90,0-3 90,-1-1-90,1-2 90,-2-2-90,1-2 90,4-7-90,-7 1 90,3-4-90,-9 3 0,-1-1-90,-2 1 90,-2 0-450,-3-4 90,-4-1-179,-3 2-181,-5 3 1,1 6-271,-1 1-89,-2 2-1440,0 1-3777,-6 0 6296,0 2 0,5 1 0,4 0 0</inkml:trace>
</inkml:ink>
</file>

<file path=ppt/ink/ink1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5:51.515"/>
    </inkml:context>
    <inkml:brush xml:id="br0">
      <inkml:brushProperty name="width" value="0.2" units="cm"/>
      <inkml:brushProperty name="height" value="0.2" units="cm"/>
      <inkml:brushProperty name="color" value="#E71224"/>
    </inkml:brush>
  </inkml:definitions>
  <inkml:trace contextRef="#ctx0" brushRef="#br0">588 255 496 0 0,'-4'-10'2402'0'0,"2"4"-2274"0"0,1 0 0 0 0,-1-1 0 0 0,0 1 1 0 0,0 0-1 0 0,-1 0 0 0 0,0 0 0 0 0,0 1 0 0 0,0-1 0 0 0,-1 1 0 0 0,0 0 0 0 0,0 0 0 0 0,0 0 0 0 0,0 0 0 0 0,-1 1 0 0 0,0-1 0 0 0,0 1 0 0 0,0 1 0 0 0,-1-1 0 0 0,1 1 0 0 0,-1 0 1 0 0,1 0-1 0 0,-1 0 0 0 0,0 1 0 0 0,-1 0 0 0 0,1 0 0 0 0,0 0 0 0 0,-10 0 0 0 0,-6-2-33 0 0,-1 1 0 0 0,1 1 0 0 0,-1 1 0 0 0,1 1 0 0 0,-32 5 0 0 0,44-4-65 0 0,0 1 1 0 0,0 1-1 0 0,0-1 1 0 0,0 2-1 0 0,0 0 1 0 0,1 0-1 0 0,0 0 1 0 0,0 1-1 0 0,0 1 1 0 0,0-1-1 0 0,1 2 1 0 0,0-1-1 0 0,-13 14 1 0 0,5-2 67 0 0,1 1 0 0 0,1 1 0 0 0,1 0 0 0 0,1 1 0 0 0,0 1 0 0 0,2-1 0 0 0,0 2 0 0 0,2-1 0 0 0,-10 37 0 0 0,12-31 0 0 0,2 0 0 0 0,0 0-1 0 0,2 1 1 0 0,0-1 0 0 0,3 0-1 0 0,0 1 1 0 0,10 52 0 0 0,-7-64-76 0 0,1 0 1 0 0,1-1 0 0 0,0 1-1 0 0,1-1 1 0 0,1 0-1 0 0,1-1 1 0 0,0 0-1 0 0,1 0 1 0 0,17 19 0 0 0,-10-14 22 0 0,2-1 1 0 0,0-1-1 0 0,1 0 1 0 0,1-2-1 0 0,37 23 1 0 0,-24-21 115 0 0,0-1-1 0 0,67 22 1 0 0,77 11 75 0 0,-105-34-151 0 0,0-4 1 0 0,1-3-1 0 0,-1-3 1 0 0,2-4-1 0 0,94-8 1 0 0,-133 2-22 0 0,-1-1 0 0 0,0-2 0 0 0,-1-1 0 0 0,0-2 0 0 0,45-18 0 0 0,-69 23-26 0 0,0 0-1 0 0,0 0 1 0 0,0-1-1 0 0,-1 0 1 0 0,0-1-1 0 0,0 0 1 0 0,-1 0-1 0 0,0-1 1 0 0,0 0-1 0 0,-1-1 1 0 0,0 0-1 0 0,0 0 1 0 0,-1 0-1 0 0,0-1 1 0 0,-1 1-1 0 0,0-2 1 0 0,0 1-1 0 0,-1 0 1 0 0,-1-1-1 0 0,0 0 1 0 0,3-19-1 0 0,-1 0 11 0 0,-1-1 0 0 0,-2 1 0 0 0,-1-1-1 0 0,-2 0 1 0 0,-1 0 0 0 0,-1 1 0 0 0,-2-1-1 0 0,-13-49 1 0 0,6 44-33 0 0,-1 1 1 0 0,-1 0-1 0 0,-2 1 0 0 0,-2 1 1 0 0,-1 0-1 0 0,-39-51 0 0 0,38 60-20 0 0,-1 0 0 0 0,-1 1 0 0 0,-1 1 0 0 0,-1 1 0 0 0,-1 1 1 0 0,0 2-1 0 0,-2 0 0 0 0,0 2 0 0 0,-1 0 0 0 0,0 3 0 0 0,-1 0 0 0 0,-1 1 0 0 0,0 2 0 0 0,-31-6 0 0 0,-9 1-972 0 0,0 4-1 0 0,0 3 1 0 0,-1 3-1 0 0,0 2 1 0 0,0 4 0 0 0,0 3-1 0 0,-101 19 1 0 0,142-17-1445 0 0</inkml:trace>
</inkml:ink>
</file>

<file path=ppt/ink/ink1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01.795"/>
    </inkml:context>
    <inkml:brush xml:id="br0">
      <inkml:brushProperty name="width" value="0.2" units="cm"/>
      <inkml:brushProperty name="height" value="0.2" units="cm"/>
      <inkml:brushProperty name="color" value="#E71224"/>
    </inkml:brush>
  </inkml:definitions>
  <inkml:trace contextRef="#ctx0" brushRef="#br0">14 7 504 0 0,'-5'-5'4365'0'0,"4"5"-4264"0"0,1-1-1 0 0,-1 1 1 0 0,1 0 0 0 0,-1 0-1 0 0,1 0 1 0 0,-1 0 0 0 0,0 0 0 0 0,0 1-101 0 0,1 0 0 0 0,-1 0 0 0 0,1 0 0 0 0,0 0 1 0 0,-1 1-1 0 0,1-1 0 0 0,0 0 0 0 0,0 0 0 0 0,0 1 1 0 0,0-1-1 0 0,0 0 0 0 0,0 0 0 0 0,0 1 1 0 0,0-1-1 0 0,0 0 0 0 0,1 0 0 0 0,-1 1 0 0 0,0-1 1 0 0,1 0-1 0 0,-1 0 0 0 0,1 1 0 0 0,17 27-2345 0 0,-11-19 1415 0 0</inkml:trace>
</inkml:ink>
</file>

<file path=ppt/ink/ink1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06.125"/>
    </inkml:context>
    <inkml:brush xml:id="br0">
      <inkml:brushProperty name="width" value="0.2" units="cm"/>
      <inkml:brushProperty name="height" value="0.2" units="cm"/>
      <inkml:brushProperty name="color" value="#E71224"/>
    </inkml:brush>
  </inkml:definitions>
  <inkml:trace contextRef="#ctx0" brushRef="#br0">592 226 136 0 0,'0'-3'258'0'0,"1"-1"1"0"0,0 1-1 0 0,0 0 0 0 0,0-1 1 0 0,0 1-1 0 0,0 0 0 0 0,1 0 1 0 0,0-1-1 0 0,-1 1 0 0 0,4-3 1 0 0,-4 5-36 0 0,7-14 234 0 0,1 7-102 0 0,-1 0-1 0 0,-1-1 0 0 0,1 0 0 0 0,-1 0 0 0 0,-1 0 1 0 0,0-1-1 0 0,0 0 0 0 0,0 0 0 0 0,-2-1 0 0 0,7-16 1 0 0,-11 25-343 0 0,0 1 0 0 0,1-1 0 0 0,-1 1 1 0 0,0-1-1 0 0,0 0 0 0 0,0 1 0 0 0,0-1 1 0 0,0 1-1 0 0,0-1 0 0 0,-1 1 0 0 0,1-1 1 0 0,0 1-1 0 0,-1-1 0 0 0,1 1 0 0 0,-1 0 1 0 0,0-1-1 0 0,1 1 0 0 0,-1-1 0 0 0,0 1 0 0 0,0 0 1 0 0,0 0-1 0 0,0 0 0 0 0,0-1 0 0 0,0 1 1 0 0,0 0-1 0 0,0 0 0 0 0,-1 0 0 0 0,1 0 1 0 0,0 1-1 0 0,-1-1 0 0 0,1 0 0 0 0,0 1 1 0 0,-1-1-1 0 0,1 0 0 0 0,-1 1 0 0 0,1 0 1 0 0,-1-1-1 0 0,-2 1 0 0 0,-6-2-2 0 0,0 0-1 0 0,-1 1 0 0 0,1 1 1 0 0,-13 0-1 0 0,21 0-3 0 0,-28 3-5 0 0,-1 0-1 0 0,1 2 0 0 0,-1 2 0 0 0,-50 17 0 0 0,29-5 38 0 0,-86 47 1 0 0,116-54-33 0 0,0 1 1 0 0,-30 25 0 0 0,46-34-4 0 0,0 1 1 0 0,1 0-1 0 0,-1 1 1 0 0,1-1 0 0 0,0 1-1 0 0,1 0 1 0 0,0 1-1 0 0,-1-1 1 0 0,2 1 0 0 0,-1-1-1 0 0,1 1 1 0 0,-4 14-1 0 0,6-16 2 0 0,1-1-1 0 0,-1 0 1 0 0,1 1 0 0 0,1-1-1 0 0,-1 0 1 0 0,1 1-1 0 0,-1-1 1 0 0,1 0-1 0 0,0 0 1 0 0,1 0-1 0 0,-1 0 1 0 0,1 0-1 0 0,0 0 1 0 0,0 0-1 0 0,0 0 1 0 0,0 0-1 0 0,1-1 1 0 0,-1 1 0 0 0,1-1-1 0 0,5 5 1 0 0,6 6 15 0 0,1-1 1 0 0,0 0-1 0 0,21 12 1 0 0,-20-15-9 0 0,72 49 39 0 0,-39-28-69 0 0,-2 2 1 0 0,76 69 0 0 0,-121-101 20 0 0,6 7 57 0 0,-1 0 1 0 0,1 0-1 0 0,-1 0 1 0 0,-1 1-1 0 0,1 0 1 0 0,4 10-1 0 0,-11-18-43 0 0,1 0 0 0 0,-1-1 0 0 0,0 1 0 0 0,0 0 0 0 0,1 0 0 0 0,-1-1-1 0 0,0 1 1 0 0,0 0 0 0 0,0 0 0 0 0,0-1 0 0 0,0 1 0 0 0,0 0 0 0 0,0 0 0 0 0,0 0 0 0 0,0-1 0 0 0,-1 1-1 0 0,1 0 1 0 0,0 0 0 0 0,0-1 0 0 0,-1 1 0 0 0,1 0 0 0 0,0-1 0 0 0,-1 1 0 0 0,0 1 0 0 0,-1-1 15 0 0,1 1 0 0 0,-1-1 0 0 0,1 1 0 0 0,-1-1-1 0 0,0 0 1 0 0,0 0 0 0 0,1 0 0 0 0,-1 0 0 0 0,-2 1 0 0 0,-3 1 48 0 0,-1-1 1 0 0,1 0-1 0 0,-15 2 0 0 0,-31-1 87 0 0,0-2-1 0 0,-1-3 1 0 0,-62-9-1 0 0,17 1-65 0 0,4-3-2606 0 0</inkml:trace>
</inkml:ink>
</file>

<file path=ppt/ink/ink1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06.598"/>
    </inkml:context>
    <inkml:brush xml:id="br0">
      <inkml:brushProperty name="width" value="0.2" units="cm"/>
      <inkml:brushProperty name="height" value="0.2" units="cm"/>
      <inkml:brushProperty name="color" value="#E71224"/>
    </inkml:brush>
  </inkml:definitions>
  <inkml:trace contextRef="#ctx0" brushRef="#br0">11 5 136 0 0,'0'-5'4225'0'0,"-11"31"-2237"0"0,11-20-1871 0 0,1 1 1 0 0,-1-1 0 0 0,1 0 0 0 0,0 0-1 0 0,0 0 1 0 0,1 0 0 0 0,0 0-1 0 0,0 0 1 0 0,0-1 0 0 0,1 1 0 0 0,0-1-1 0 0,0 1 1 0 0,0-1 0 0 0,1 0 0 0 0,-1 0-1 0 0,1-1 1 0 0,1 1 0 0 0,-1-1 0 0 0,9 7-1 0 0,5 4 18 0 0,1-1-1 0 0,1-2 0 0 0,39 21 0 0 0,-39-23-85 0 0,0-1 0 0 0,1-1-1 0 0,0 0 1 0 0,1-2 0 0 0,27 5 0 0 0,-42-9-93 0 0,0-2-1 0 0,1 1 1 0 0,-1-1 0 0 0,1 0 0 0 0,-1 0 0 0 0,0-1 0 0 0,1 1 0 0 0,-1-2 0 0 0,0 1 0 0 0,0-1 0 0 0,0 0 0 0 0,0-1 0 0 0,0 0 0 0 0,0 0 0 0 0,-1 0 0 0 0,0-1 0 0 0,1 0 0 0 0,-1 0 0 0 0,9-9 0 0 0,44-51 9 0 0,-57 62 20 0 0,3 4 3 0 0,-5-3 16 0 0,1 1 0 0 0,-1 0 0 0 0,1 0 1 0 0,-1 0-1 0 0,1 0 0 0 0,-1 1 0 0 0,1-1 0 0 0,-1 0 0 0 0,1 0 0 0 0,-1 0 0 0 0,1 0 0 0 0,-1 0 1 0 0,1 1-1 0 0,-1-1 0 0 0,1 0 0 0 0,-1 0 0 0 0,0 1 0 0 0,1-1 0 0 0,-1 0 0 0 0,1 1 0 0 0,-1-1 0 0 0,0 0 1 0 0,1 1-1 0 0,-1 0 0 0 0,4 7 86 0 0,-1 1 0 0 0,-1 0 0 0 0,1 0 0 0 0,-2 0 0 0 0,1 1 0 0 0,-1-1 0 0 0,-1 14 0 0 0,-4 69 615 0 0,-3-50-456 0 0,-2 0-1 0 0,-2 0 1 0 0,-2-1-1 0 0,-1 0 1 0 0,-2-2-1 0 0,-2 1 1 0 0,-41 66-1 0 0,56-100-164 0 0,-1 0 0 0 0,-1 0 0 0 0,1-1-1 0 0,-1 1 1 0 0,0-1 0 0 0,0 0-1 0 0,-1 0 1 0 0,1 0 0 0 0,-1-1-1 0 0,0 0 1 0 0,0 0 0 0 0,-1 0-1 0 0,-10 4 1 0 0,13-7-52 0 0,-1 0 0 0 0,0 0-1 0 0,1 0 1 0 0,-1-1 0 0 0,0 1 0 0 0,1-1 0 0 0,-1 0 0 0 0,0-1-1 0 0,0 1 1 0 0,1-1 0 0 0,-1 0 0 0 0,1 0 0 0 0,-1 0-1 0 0,0-1 1 0 0,1 1 0 0 0,0-1 0 0 0,0 0 0 0 0,-1-1-1 0 0,1 1 1 0 0,0-1 0 0 0,-6-5 0 0 0,3 2-76 0 0,1 0 1 0 0,1-1-1 0 0,-1 0 1 0 0,1 0-1 0 0,0 0 0 0 0,1 0 1 0 0,-1-1-1 0 0,2 0 1 0 0,-1 0-1 0 0,1 0 0 0 0,0 0 1 0 0,1 0-1 0 0,0-1 1 0 0,0 1-1 0 0,0-1 0 0 0,1 0 1 0 0,1-9-1 0 0,-1 5-646 0 0,1 0-1 0 0,1 0 1 0 0,0 0-1 0 0,0 0 0 0 0,2 0 1 0 0,0 0-1 0 0,0 0 1 0 0,1 0-1 0 0,0 1 1 0 0,11-20-1 0 0,-2 10-2502 0 0</inkml:trace>
</inkml:ink>
</file>

<file path=ppt/ink/ink1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07.375"/>
    </inkml:context>
    <inkml:brush xml:id="br0">
      <inkml:brushProperty name="width" value="0.2" units="cm"/>
      <inkml:brushProperty name="height" value="0.2" units="cm"/>
      <inkml:brushProperty name="color" value="#E71224"/>
    </inkml:brush>
  </inkml:definitions>
  <inkml:trace contextRef="#ctx0" brushRef="#br0">128 0 652 0 0,'-2'2'1190'0'0,"-4"6"-537"0"0,0 0 1 0 0,1 1-1 0 0,0-1 0 0 0,0 1 1 0 0,1 1-1 0 0,-5 15 0 0 0,-16 63 1145 0 0,-3 86 182 0 0,15-87-1520 0 0,3-32 1039 0 0,9-53-1025 0 0,1-2-466 0 0,-1 0 1 0 0,1 0 0 0 0,-1 0-1 0 0,1 0 1 0 0,0 0-1 0 0,-1-1 1 0 0,1 1-1 0 0,-1 0 1 0 0,1 0 0 0 0,0-1-1 0 0,-1 1 1 0 0,1 0-1 0 0,0-1 1 0 0,-1 1-1 0 0,1 0 1 0 0,0-1-1 0 0,0 1 1 0 0,-1-1 0 0 0,1 1-1 0 0,0 0 1 0 0,0-1-1 0 0,0 1 1 0 0,-1-1-1 0 0,1 1 1 0 0,0-1 0 0 0,0 1-1 0 0,0 0 1 0 0,0-1-1 0 0,0 1 1 0 0,0-1-1 0 0,0 1 1 0 0,0-1 0 0 0,0 1-1 0 0,0-1 1 0 0,0 0-1 0 0,3-22-130 0 0,-2 18 77 0 0,1-5-42 0 0,0 0 1 0 0,1 0 0 0 0,0 0 0 0 0,0 0 0 0 0,1 0 0 0 0,1 1 0 0 0,0 0 0 0 0,0 0 0 0 0,1 0 0 0 0,0 1-1 0 0,0-1 1 0 0,1 1 0 0 0,0 1 0 0 0,11-11 0 0 0,-16 18 73 0 0,-1-1 0 0 0,1 0 1 0 0,0 0-1 0 0,-1 1 0 0 0,1-1 0 0 0,0 1 0 0 0,-1 0 1 0 0,1-1-1 0 0,0 1 0 0 0,-1 0 0 0 0,1 0 0 0 0,0 0 1 0 0,0 0-1 0 0,-1 0 0 0 0,1 0 0 0 0,0 1 0 0 0,0-1 1 0 0,-1 1-1 0 0,1-1 0 0 0,0 1 0 0 0,1 0 1 0 0,2 2-16 0 0,1-1 1 0 0,-1 1 0 0 0,0 1-1 0 0,8 5 1 0 0,-2 2 0 0 0,0 0 0 0 0,-1 0 0 0 0,0 1 0 0 0,15 25 0 0 0,-3-4 739 0 0,-21-32-662 0 0,-1-1 1 0 0,1 0 0 0 0,-1 1-1 0 0,1-1 1 0 0,-1 1-1 0 0,1-1 1 0 0,0 0 0 0 0,-1 1-1 0 0,1-1 1 0 0,0 0-1 0 0,-1 0 1 0 0,1 1 0 0 0,-1-1-1 0 0,1 0 1 0 0,0 0-1 0 0,-1 0 1 0 0,1 0 0 0 0,0 0-1 0 0,0 0 1 0 0,-1 0-1 0 0,1 0 1 0 0,0 0 0 0 0,-1 0-1 0 0,1 0 1 0 0,0 0-1 0 0,-1-1 1 0 0,1 1 0 0 0,-1 0-1 0 0,1 0 1 0 0,0-1-1 0 0,-1 1 1 0 0,1 0 0 0 0,-1-1-1 0 0,1 1 1 0 0,-1-1-1 0 0,1 1 1 0 0,-1-1 0 0 0,1 1-1 0 0,-1-1 1 0 0,1 1-1 0 0,-1-1 1 0 0,1 0 0 0 0,24-32 2 0 0,-20 24 87 0 0,89-103-70 0 0,-90 106-99 0 0,-2 4 23 0 0,-1 1 1 0 0,0-1-1 0 0,1 1 0 0 0,-1 0 0 0 0,1-1 0 0 0,-1 1 0 0 0,1 0 1 0 0,0 0-1 0 0,0 0 0 0 0,-1 0 0 0 0,1 0 0 0 0,0 0 0 0 0,0 0 1 0 0,0 1-1 0 0,0-1 0 0 0,0 1 0 0 0,2-1 0 0 0,-1 0 0 0 0,0 0-1 0 0,1 1 1 0 0,-1-1 0 0 0,0 1-1 0 0,0-1 1 0 0,0 1 0 0 0,0 0-1 0 0,0 0 1 0 0,1 1-1 0 0,-1-1 1 0 0,0 0 0 0 0,0 1-1 0 0,0 0 1 0 0,0 0-1 0 0,6 2 1 0 0,-4 0 21 0 0,1 0-1 0 0,-1 1 1 0 0,0 0 0 0 0,0-1 0 0 0,0 1-1 0 0,-1 1 1 0 0,7 7 0 0 0,3 5-160 0 0,-1 2 0 0 0,-2 0 0 0 0,16 30 0 0 0,-4 2-1066 0 0,-13-27-2328 0 0,23 38 0 0 0</inkml:trace>
</inkml:ink>
</file>

<file path=ppt/ink/ink1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11.577"/>
    </inkml:context>
    <inkml:brush xml:id="br0">
      <inkml:brushProperty name="width" value="0.2" units="cm"/>
      <inkml:brushProperty name="height" value="0.2" units="cm"/>
      <inkml:brushProperty name="color" value="#E71224"/>
    </inkml:brush>
  </inkml:definitions>
  <inkml:trace contextRef="#ctx0" brushRef="#br0">1 48 1160 0 0,'0'0'3284'0'0,"2"1"-2770"0"0,0 0-408 0 0,0 0 1 0 0,0 0 0 0 0,-1 0-1 0 0,1 0 1 0 0,0 1-1 0 0,-1-1 1 0 0,1 1 0 0 0,-1-1-1 0 0,0 1 1 0 0,1-1-1 0 0,-1 1 1 0 0,0 0 0 0 0,0 0-1 0 0,0-1 1 0 0,0 1-1 0 0,0 0 1 0 0,-1 0 0 0 0,2 4-1 0 0,11 45 1020 0 0,-11-41-958 0 0,22 113 2488 0 0,-21-114-1680 0 0,-3-22-306 0 0,-1-2-605 0 0,4 2-46 0 0,0 1 0 0 0,1-1-1 0 0,0 1 1 0 0,1 0-1 0 0,0 0 1 0 0,1 0-1 0 0,0 1 1 0 0,1-1-1 0 0,12-15 1 0 0,-7 12-58 0 0,0 1 1 0 0,25-24-1 0 0,-31 33 19 0 0,0 0-1 0 0,0 0 1 0 0,1 1-1 0 0,0 0 1 0 0,-1 0-1 0 0,1 0 1 0 0,0 1-1 0 0,1 0 1 0 0,7-2-1 0 0,-11 5 14 0 0,1-1-1 0 0,-1 1 1 0 0,1 0-1 0 0,0 0 1 0 0,-1 0 0 0 0,1 1-1 0 0,-1 0 1 0 0,1-1-1 0 0,-1 2 1 0 0,1-1-1 0 0,-1 0 1 0 0,1 1 0 0 0,-1 0-1 0 0,0 0 1 0 0,0 0-1 0 0,0 1 1 0 0,0-1 0 0 0,-1 1-1 0 0,1 0 1 0 0,-1 0-1 0 0,7 7 1 0 0,-1 0 5 0 0,-1 0 1 0 0,0 1 0 0 0,-1-1-1 0 0,0 2 1 0 0,0-1 0 0 0,5 15-1 0 0,18 38 961 0 0,-29-61-427 0 0,5-12 1237 0 0,6-19-1489 0 0,7-14-253 0 0,-11 29-25 0 0,0 0 0 0 0,0 0 1 0 0,15-16-1 0 0,-19 25-16 0 0,1-1-1 0 0,-1 1 1 0 0,1 0 0 0 0,0 0 0 0 0,1 0-1 0 0,-1 0 1 0 0,1 1 0 0 0,-1 0-1 0 0,1 0 1 0 0,8-2 0 0 0,-9 5 9 0 0,0-1 1 0 0,0 1-1 0 0,0 0 1 0 0,-1 1-1 0 0,1-1 1 0 0,0 1-1 0 0,0 0 1 0 0,0 0-1 0 0,0 1 1 0 0,-1-1-1 0 0,1 1 0 0 0,-1 0 1 0 0,1 0-1 0 0,-1 1 1 0 0,0-1-1 0 0,0 1 1 0 0,0 0-1 0 0,6 5 1 0 0,3 7-774 0 0,1 1 1 0 0,15 26-1 0 0,-21-30-450 0 0,0 0 1 0 0,0 0-1 0 0,2-1 0 0 0,-1 0 1 0 0,1-1-1 0 0,21 17 0 0 0,-18-19-1110 0 0</inkml:trace>
</inkml:ink>
</file>

<file path=ppt/ink/ink1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12.009"/>
    </inkml:context>
    <inkml:brush xml:id="br0">
      <inkml:brushProperty name="width" value="0.2" units="cm"/>
      <inkml:brushProperty name="height" value="0.2" units="cm"/>
      <inkml:brushProperty name="color" value="#E71224"/>
    </inkml:brush>
  </inkml:definitions>
  <inkml:trace contextRef="#ctx0" brushRef="#br0">1 730 804 0 0,'53'-29'3285'0'0,"96"-71"1"0"0,-138 91-3100 0 0,1 0 0 0 0,-2 0 0 0 0,1-1 1 0 0,-2 0-1 0 0,13-16 0 0 0,-22 26-180 0 0,1-1 0 0 0,-1 1 0 0 0,1-1 0 0 0,-1 1 0 0 0,1-1 0 0 0,-1 0 0 0 0,1 1 0 0 0,-1-1 0 0 0,1 1 0 0 0,-1-1 0 0 0,0 0 0 0 0,0 0 0 0 0,1 1 0 0 0,-1-1 0 0 0,0 0 0 0 0,0 1 0 0 0,0-1-1 0 0,0 0 1 0 0,0 0 0 0 0,0 1 0 0 0,0-1 0 0 0,0 0 0 0 0,0 0 0 0 0,0 1 0 0 0,0-1 0 0 0,0 0 0 0 0,0 0 0 0 0,-1 1 0 0 0,1-1 0 0 0,0 0 0 0 0,0 1 0 0 0,-1-1 0 0 0,1 0 0 0 0,-1 1 0 0 0,1-1 0 0 0,-1 1 0 0 0,1-1 0 0 0,-1 0 0 0 0,1 1 0 0 0,-1-1 0 0 0,1 1 0 0 0,-1 0 0 0 0,1-1 0 0 0,-1 1 0 0 0,0-1 0 0 0,1 1-1 0 0,-1 0 1 0 0,0 0 0 0 0,0-1 0 0 0,1 1 0 0 0,-1 0 0 0 0,0 0 0 0 0,1 0 0 0 0,-1 0 0 0 0,0-1 0 0 0,-1 2 0 0 0,-3-2 46 0 0,0 0-1 0 0,-1 1 1 0 0,1 0 0 0 0,-1 0 0 0 0,-6 2-1 0 0,-2 1 67 0 0,1 1 0 0 0,-1 0-1 0 0,1 1 1 0 0,0 0 0 0 0,0 1-1 0 0,1 1 1 0 0,-17 11 0 0 0,22-14-49 0 0,1 1 0 0 0,-1 0 0 0 0,1 0 0 0 0,0 1 0 0 0,1 0 0 0 0,-1 0-1 0 0,1 0 1 0 0,0 0 0 0 0,1 1 0 0 0,0 0 0 0 0,0 0 0 0 0,0 0 0 0 0,-4 15 0 0 0,7-19-35 0 0,0 0 1 0 0,1 0-1 0 0,-1 0 1 0 0,1 0-1 0 0,0 0 1 0 0,0 0-1 0 0,0 1 1 0 0,0-1-1 0 0,0 0 0 0 0,1 0 1 0 0,0 0-1 0 0,-1 0 1 0 0,1 0-1 0 0,0 0 1 0 0,1 0-1 0 0,-1 0 1 0 0,2 3-1 0 0,0-2 3 0 0,1 1 1 0 0,-1-1-1 0 0,1 0 0 0 0,0-1 1 0 0,0 1-1 0 0,0-1 0 0 0,0 1 1 0 0,0-1-1 0 0,8 3 0 0 0,3 2 19 0 0,1-1-1 0 0,0-1 0 0 0,1-1 0 0 0,-1 0 0 0 0,24 3 0 0 0,-16-3-7 0 0,0-2 1 0 0,0-1-1 0 0,1-1 0 0 0,-1-1 0 0 0,1-2 0 0 0,-1 0 1 0 0,47-11-1 0 0,-60 10-78 0 0,1 0 0 0 0,-1-1 1 0 0,0-1-1 0 0,0 0 0 0 0,-1 0 1 0 0,1-1-1 0 0,-1 0 0 0 0,-1-1 0 0 0,1 0 1 0 0,-1-1-1 0 0,0 0 0 0 0,-1 0 1 0 0,0-1-1 0 0,0 0 0 0 0,-1-1 1 0 0,0 1-1 0 0,-1-1 0 0 0,8-16 0 0 0,-4 2-64 0 0,-1-1-1 0 0,-1 0 0 0 0,-2 0 1 0 0,0-1-1 0 0,-2 1 0 0 0,-1-1 1 0 0,-1 0-1 0 0,-2-43 0 0 0,-6-19 534 0 0,-22-103 0 0 0,21 151 5 0 0,6 32-404 0 0,1 4-11 0 0,-1 0-1 0 0,0-1 1 0 0,0 1-1 0 0,0 0 1 0 0,-3-7-1 0 0,3 9 80 0 0,0 3-107 0 0,0-1 1 0 0,0 0 0 0 0,0 0 0 0 0,1 1 0 0 0,-1-1-1 0 0,0 0 1 0 0,0 1 0 0 0,0-1 0 0 0,1 0 0 0 0,-1 1-1 0 0,0-1 1 0 0,0 1 0 0 0,1 0 0 0 0,-1-1 0 0 0,1 1 0 0 0,-1 0-1 0 0,0-1 1 0 0,1 1 0 0 0,-1 0 0 0 0,1-1 0 0 0,0 1-1 0 0,-1 0 1 0 0,1 0 0 0 0,-1 0 0 0 0,1-1 0 0 0,0 1 0 0 0,0 0-1 0 0,0 0 1 0 0,-1 0 0 0 0,1 0 0 0 0,0 0 0 0 0,0 0-1 0 0,0-1 1 0 0,0 3 0 0 0,3 34 39 0 0,-3-35-35 0 0,34 145 127 0 0,-11-58-37 0 0,-17-60-282 0 0,27 131-1625 0 0,-19-52-3771 0 0,-12-80 2243 0 0</inkml:trace>
</inkml:ink>
</file>

<file path=ppt/ink/ink1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12.406"/>
    </inkml:context>
    <inkml:brush xml:id="br0">
      <inkml:brushProperty name="width" value="0.2" units="cm"/>
      <inkml:brushProperty name="height" value="0.2" units="cm"/>
      <inkml:brushProperty name="color" value="#E71224"/>
    </inkml:brush>
  </inkml:definitions>
  <inkml:trace contextRef="#ctx0" brushRef="#br0">0 195 288 0 0,'1'-4'214'0'0,"-1"1"-1"0"0,1-1 1 0 0,0 0-1 0 0,0 1 1 0 0,1-1-1 0 0,-1 1 1 0 0,1-1-1 0 0,-1 1 1 0 0,1 0-1 0 0,0 0 1 0 0,0 0-1 0 0,1 0 1 0 0,-1 0-1 0 0,1 0 1 0 0,-1 0-1 0 0,1 1 1 0 0,3-3-1 0 0,8-6 103 0 0,1 0 0 0 0,17-9 0 0 0,-28 18-225 0 0,23-14 255 0 0,0 2 1 0 0,1 2 0 0 0,45-16 0 0 0,-54 23-196 0 0,-1 0 1 0 0,1 1-1 0 0,0 1 1 0 0,0 1 0 0 0,0 0-1 0 0,36 3 1 0 0,-44 0-39 0 0,0 1-1 0 0,-1 0 1 0 0,0 1 0 0 0,1 0-1 0 0,-1 1 1 0 0,0 0 0 0 0,-1 0-1 0 0,1 1 1 0 0,-1 0 0 0 0,0 1-1 0 0,0 0 1 0 0,0 1 0 0 0,-1-1 0 0 0,0 2-1 0 0,13 14 1 0 0,-16-16-62 0 0,-1 0 1 0 0,0 0-1 0 0,0 1 0 0 0,0-1 1 0 0,-1 1-1 0 0,0 0 0 0 0,-1 0 1 0 0,1 0-1 0 0,-1 0 0 0 0,0 0 1 0 0,-1 0-1 0 0,0 1 0 0 0,0-1 1 0 0,0 0-1 0 0,-1 1 0 0 0,0-1 1 0 0,-1 1-1 0 0,0-1 0 0 0,0 0 1 0 0,0 1-1 0 0,-1-1 0 0 0,0 0 1 0 0,-5 12-1 0 0,2-8 61 0 0,0-1-1 0 0,-1 1 1 0 0,0-1-1 0 0,-1 0 1 0 0,0-1 0 0 0,0 0-1 0 0,-10 10 1 0 0,14-17 60 0 0,-3-10-64 0 0,6 5-100 0 0,1 1-1 0 0,-1 0 0 0 0,1-1 0 0 0,0 1 0 0 0,0 0 0 0 0,0-1 0 0 0,0 1 0 0 0,0 0 0 0 0,1 0 0 0 0,-1 0 0 0 0,1 0 1 0 0,-1 0-1 0 0,4-3 0 0 0,-1 0-19 0 0,41-48-18 0 0,2 2 0 0 0,106-89-1 0 0,-99 104 275 0 0,-51 35-210 0 0,0 0 0 0 0,0 1 0 0 0,0-1 0 0 0,0 1 0 0 0,0-1 0 0 0,0 1-1 0 0,-1 0 1 0 0,1 0 0 0 0,0 1 0 0 0,0-1 0 0 0,3 1 0 0 0,-2 0 21 0 0,-1-1-36 0 0,-1 1 0 0 0,0 0 0 0 0,0-1 0 0 0,0 1-1 0 0,0 0 1 0 0,0 1 0 0 0,0-1 0 0 0,0 0 0 0 0,0 1 0 0 0,-1-1-1 0 0,1 1 1 0 0,0-1 0 0 0,-1 1 0 0 0,1 0 0 0 0,-1-1 0 0 0,0 1-1 0 0,1 0 1 0 0,-1 0 0 0 0,1 3 0 0 0,1 1 25 0 0,0 1-1 0 0,0-1 1 0 0,0 1-1 0 0,1 8 1 0 0,-2-5-189 0 0,0 0-1 0 0,-1-1 1 0 0,0 18 0 0 0,-1-24-348 0 0,0 1 0 0 0,-1 0 0 0 0,1-1 0 0 0,-1 1-1 0 0,0 0 1 0 0,0-1 0 0 0,0 1 0 0 0,0-1 0 0 0,-1 1 0 0 0,1-1 0 0 0,-1 0 0 0 0,-3 6 0 0 0</inkml:trace>
</inkml:ink>
</file>

<file path=ppt/ink/ink1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12.872"/>
    </inkml:context>
    <inkml:brush xml:id="br0">
      <inkml:brushProperty name="width" value="0.2" units="cm"/>
      <inkml:brushProperty name="height" value="0.2" units="cm"/>
      <inkml:brushProperty name="color" value="#E71224"/>
    </inkml:brush>
  </inkml:definitions>
  <inkml:trace contextRef="#ctx0" brushRef="#br0">2 87 1044 0 0,'-2'-19'1476'0'0,"2"3"-496"0"0,0 5 460 0 0,0-11-595 0 0,0 9-457 0 0,11 7-1209 0 0,13 16-1359 0 0,-9-4 1412 0 0</inkml:trace>
  <inkml:trace contextRef="#ctx0" brushRef="#br0" timeOffset="1">591 326 2080 0 0,'-8'11'971'0'0,"-1"0"1"0"0,-1-1-1 0 0,0 0 0 0 0,0-1 0 0 0,-1 0 1 0 0,-22 14-1 0 0,-22 18 634 0 0,46-33-1350 0 0,0 1 0 0 0,1-1 0 0 0,0 1 0 0 0,0 1 0 0 0,-6 11 0 0 0,12-19-203 0 0,0 1 0 0 0,1 0 0 0 0,-1 0 0 0 0,1 1 0 0 0,0-1 0 0 0,0 0 0 0 0,0 0 0 0 0,0 1 0 0 0,1-1 0 0 0,-1 0 0 0 0,1 1 0 0 0,0-1 0 0 0,0 1 0 0 0,0-1 0 0 0,0 0 0 0 0,1 1 0 0 0,-1-1 0 0 0,1 0 0 0 0,0 1 0 0 0,0-1 0 0 0,0 0 1 0 0,3 6-1 0 0,3 1 26 0 0,0 1 0 0 0,0-1 0 0 0,1-1 1 0 0,1 1-1 0 0,0-1 0 0 0,0-1 1 0 0,18 13-1 0 0,79 45-792 0 0,-100-63 573 0 0,60 30-2252 0 0,-20-20-2467 0 0,-28-11 1535 0 0</inkml:trace>
</inkml:ink>
</file>

<file path=ppt/ink/ink1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13.556"/>
    </inkml:context>
    <inkml:brush xml:id="br0">
      <inkml:brushProperty name="width" value="0.2" units="cm"/>
      <inkml:brushProperty name="height" value="0.2" units="cm"/>
      <inkml:brushProperty name="color" value="#E71224"/>
    </inkml:brush>
  </inkml:definitions>
  <inkml:trace contextRef="#ctx0" brushRef="#br0">29 8 148 0 0,'-9'-7'7221'0'0,"1"23"-5119"0"0,0 27-1064 0 0,6-20-433 0 0,1 0-1 0 0,1 0 1 0 0,4 33 0 0 0,17 68 507 0 0,-14-87-877 0 0,1-3 255 0 0,-7-31-466 0 0,1-4-314 0 0,-1 1 236 0 0,-1-1 0 0 0,1 1 1 0 0,0-1-1 0 0,0 1 0 0 0,0-1 0 0 0,0 0 0 0 0,-1 1 0 0 0,1-1 1 0 0,0 0-1 0 0,-1 1 0 0 0,1-1 0 0 0,0 0 0 0 0,-1 0 0 0 0,1 0 1 0 0,-1 0-1 0 0,1 1 0 0 0,-1-1 0 0 0,0 0 0 0 0,1 0 1 0 0,-1 0-1 0 0,1-2 0 0 0,6-25-761 0 0,-7 26 730 0 0,48-213-2169 0 0,-40 178 2064 0 0,-7 35 377 0 0,9 13 426 0 0,5 5-477 0 0,-1 0 0 0 0,2-1 0 0 0,0 0-1 0 0,1-1 1 0 0,1-1 0 0 0,0-1 0 0 0,0 0 0 0 0,1-2 0 0 0,1 0 0 0 0,0-1 0 0 0,0-1-1 0 0,1-1 1 0 0,21 5 0 0 0,-33-10-122 0 0,0-1-1 0 0,0 0 1 0 0,0-1-1 0 0,1 0 0 0 0,-1 0 1 0 0,0-1-1 0 0,0 0 1 0 0,0 0-1 0 0,0-1 1 0 0,0-1-1 0 0,0 1 1 0 0,-1-1-1 0 0,14-7 1 0 0,-3-1 255 0 0,0 0 0 0 0,-1-1 1 0 0,0-1-1 0 0,22-22 1 0 0,-39 34-251 0 0,0 0 1 0 0,0 1-1 0 0,-1-1 1 0 0,1 0-1 0 0,0 1 1 0 0,0-1-1 0 0,0 0 0 0 0,0 1 1 0 0,-1 0-1 0 0,1-1 1 0 0,0 1-1 0 0,0-1 1 0 0,0 1-1 0 0,0 0 1 0 0,0 0-1 0 0,0-1 1 0 0,0 1-1 0 0,0 0 1 0 0,2 0-1 0 0,-2 0-12 0 0,-1 1 0 0 0,1-1 0 0 0,0 0-1 0 0,-1 1 1 0 0,1-1 0 0 0,-1 1 0 0 0,1-1 0 0 0,0 1-1 0 0,-1-1 1 0 0,1 1 0 0 0,-1-1 0 0 0,1 1 0 0 0,-1-1-1 0 0,1 1 1 0 0,-1 0 0 0 0,0-1 0 0 0,1 1 0 0 0,-1 0-1 0 0,0-1 1 0 0,1 2 0 0 0,1 6-5 0 0,-1-1-1 0 0,1 1 1 0 0,-1-1 0 0 0,0 11-1 0 0,0-4 61 0 0,1 11-269 0 0,2 1 0 0 0,2-1-1 0 0,0 0 1 0 0,1-1-1 0 0,21 47 1 0 0,-25-64-165 0 0,1 0 1 0 0,0 0-1 0 0,1-1 1 0 0,-1 1 0 0 0,1-1-1 0 0,0 0 1 0 0,1 0-1 0 0,0-1 1 0 0,-1 1-1 0 0,2-1 1 0 0,-1-1-1 0 0,1 1 1 0 0,-1-1-1 0 0,1 0 1 0 0,0-1-1 0 0,1 0 1 0 0,-1 0 0 0 0,1 0-1 0 0,-1-1 1 0 0,1 0-1 0 0,0 0 1 0 0,0-1-1 0 0,11 0 1 0 0,5-2-1877 0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19:25.974"/>
    </inkml:context>
    <inkml:brush xml:id="br0">
      <inkml:brushProperty name="width" value="0.08571" units="cm"/>
      <inkml:brushProperty name="height" value="0.08571" units="cm"/>
      <inkml:brushProperty name="color" value="#E71224"/>
    </inkml:brush>
  </inkml:definitions>
  <inkml:trace contextRef="#ctx0" brushRef="#br0">1 217 9691,'26'-1'2699,"-1"1"-2069,-8 3 89,-1 2-179,1 1-90,0 2-91,-1 2 1,0 2-180,-2 0 90,-1 1-90,-2 2 0,-2-1-90,-2 2 0,-1-1 0,-3 0 89,0 0-89,-3 5 180,-1-1 90,-1 3 270,-2-5-540,3-19-90,5-6 0,2-13 0,4 1 0,-1 3-90,1 0 90,1-1-90,0 1-90,1 0-180,-1 0 0,2 1-89,-1 0-1,1 0 0,0 1 90,0 0-90,0 1 181,1 0-1,1 1 90,-1 0 0,2 1 90,-1 0 0,0 2-90,0-1 180,0 2 0,6-3 90,-6 3 0,3 0 180,-7 3 90,4 0 179,-2 0-89,4 0 90,-3 6-180,-3 5-180,-5 8 89,-4 7-89,-3 4-90,-1-2 0,0 2 0,0-7 180,1 1-90,0 1 0,1 0 0,1 1-90,0 1 0,0-1 0,3 10-1,-2-8 1,3 6-90,-2-10 0,1-2 90,0-1-90,-1-1 0,1 0 0,1 4 90,0-1 540,0 2 180,-1-2-721,-9-10 1,1-8-90,-6-8 0,4-7 0,3 1 0,0-4 0,1-3 0,2-3 0,0-4 0,2-3 0,2-2 0,2-1-90,2-2 90,3 0 0,2 2 0,2 1-89,1 2 89,1 5-90,10-5 90,-7 11-90,6-2 0,-2 11-90,-3 5 0,4 5-90,-7 8-90,-7 8 90,-9 6 1,-6-2-451,-13 8 270,4-9 0,-7 4-89,5-7 89,-1-1-180,1-2 91,0 1-271,2-3-989,-1-1-2788,0 1 4587,0-4 0,4 0 0,4-4 0</inkml:trace>
</inkml:ink>
</file>

<file path=ppt/ink/ink1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14.040"/>
    </inkml:context>
    <inkml:brush xml:id="br0">
      <inkml:brushProperty name="width" value="0.2" units="cm"/>
      <inkml:brushProperty name="height" value="0.2" units="cm"/>
      <inkml:brushProperty name="color" value="#E71224"/>
    </inkml:brush>
  </inkml:definitions>
  <inkml:trace contextRef="#ctx0" brushRef="#br0">250 457 1624 0 0,'0'-4'259'0'0,"0"-1"0"0"0,0 1 0 0 0,0-1 0 0 0,-1 1 0 0 0,0-1 0 0 0,0 1 0 0 0,0 0 0 0 0,-1 0 0 0 0,1-1 0 0 0,-1 1 0 0 0,0 0 0 0 0,0 0-1 0 0,0 0 1 0 0,-1 1 0 0 0,1-1 0 0 0,-1 1 0 0 0,0-1 0 0 0,-4-3 0 0 0,2 3-78 0 0,0 1 1 0 0,-1-1-1 0 0,1 1 0 0 0,-1 0 1 0 0,0 1-1 0 0,0-1 0 0 0,0 1 1 0 0,0 0-1 0 0,0 0 0 0 0,0 1 1 0 0,-1 0-1 0 0,-7-1 0 0 0,8 1-119 0 0,0 1-1 0 0,-1-1 1 0 0,1 1-1 0 0,0 0 1 0 0,-1 1-1 0 0,1 0 1 0 0,0 0-1 0 0,0 0 1 0 0,0 0-1 0 0,-1 1 1 0 0,2 0-1 0 0,-1 1 1 0 0,0-1-1 0 0,0 1 1 0 0,1 0-1 0 0,-1 0 1 0 0,1 1-1 0 0,0 0 1 0 0,0 0-1 0 0,-5 5 1 0 0,10-8-52 0 0,-1 0-1 0 0,0 0 1 0 0,1 0-1 0 0,-1 0 1 0 0,1 0 0 0 0,0 0-1 0 0,-1 0 1 0 0,1 0-1 0 0,0 1 1 0 0,-1-1 0 0 0,1 0-1 0 0,0 0 1 0 0,0 0 0 0 0,0 1-1 0 0,0-1 1 0 0,0 0-1 0 0,0 0 1 0 0,1 0 0 0 0,-1 0-1 0 0,0 1 1 0 0,1-1-1 0 0,-1 0 1 0 0,0 0 0 0 0,1 0-1 0 0,-1 0 1 0 0,1 0 0 0 0,0 0-1 0 0,0 1 1 0 0,2 2 22 0 0,0 0 0 0 0,0 0-1 0 0,0-1 1 0 0,0 1 0 0 0,6 3 0 0 0,-6-4-109 0 0,1 0 0 0 0,0 0 0 0 0,0 0 0 0 0,0-1 0 0 0,0 1 0 0 0,0-1 0 0 0,0 0 0 0 0,1 0 0 0 0,-1-1 0 0 0,1 0 0 0 0,-1 1 0 0 0,1-1 0 0 0,0-1 0 0 0,-1 1 0 0 0,1-1 0 0 0,0 0 0 0 0,0 0 0 0 0,4-1 0 0 0,13-5-288 0 0,-1-2 1 0 0,28-15 979 0 0,-50 23-582 0 0,1 0-1 0 0,-1 0 1 0 0,0 0-1 0 0,0 0 1 0 0,0 0-1 0 0,0 0 1 0 0,0 1-1 0 0,1-1 1 0 0,-1 0-1 0 0,0 1 1 0 0,0-1-1 0 0,0 0 0 0 0,1 1 1 0 0,-1-1-1 0 0,0 1 1 0 0,1-1-1 0 0,-1 1 1 0 0,0 0-1 0 0,1-1 1 0 0,-1 1-1 0 0,1 0 1 0 0,-1-1-1 0 0,1 1 1 0 0,-1 0-1 0 0,1 0 1 0 0,0-1-1 0 0,-1 1 1 0 0,1 0-1 0 0,0 0 1 0 0,-1 0-1 0 0,1 0 1 0 0,0-1-1 0 0,0 1 1 0 0,0 0-1 0 0,0 0 1 0 0,0 0-1 0 0,0 0 1 0 0,0 0-1 0 0,0-1 1 0 0,1 3-1 0 0,-1 0 69 0 0,0 1 1 0 0,1-1-1 0 0,0 1 1 0 0,0-1-1 0 0,0 0 0 0 0,0 0 1 0 0,0 0-1 0 0,4 6 0 0 0,-1-4-30 0 0,1 0 0 0 0,0-1 0 0 0,0 1 0 0 0,0-1 0 0 0,0 0 0 0 0,1-1 0 0 0,-1 1 0 0 0,1-1 0 0 0,0 0 0 0 0,0 0 0 0 0,0-1-1 0 0,8 2 1 0 0,2 1 9 0 0,0-2-1 0 0,0 1 0 0 0,30 0 0 0 0,-36-3-108 0 0,1-1 0 0 0,-1 0-1 0 0,0-1 1 0 0,0 0 0 0 0,0-1-1 0 0,0 0 1 0 0,0-1 0 0 0,0 0 0 0 0,-1 0-1 0 0,1-1 1 0 0,-1-1 0 0 0,0 1-1 0 0,0-1 1 0 0,-1-1 0 0 0,1 1-1 0 0,-1-2 1 0 0,0 1 0 0 0,-1-1 0 0 0,0 0-1 0 0,0-1 1 0 0,0 1 0 0 0,-1-1-1 0 0,0-1 1 0 0,-1 1 0 0 0,1-1 0 0 0,-2 0-1 0 0,1 0 1 0 0,-1-1 0 0 0,4-15-1 0 0,6-30 268 0 0,-3-1-1 0 0,-1 0 0 0 0,1-59 0 0 0,-10 105-25 0 0,0-12 223 0 0,0 0 0 0 0,-2-27 0 0 0,0 46-185 0 0,-1 4-122 0 0,0 0-105 0 0,0 0 0 0 0,0 1 0 0 0,0-1-1 0 0,0 1 1 0 0,0 0 0 0 0,0-1 0 0 0,1 1 0 0 0,-1 0 0 0 0,1 0 0 0 0,-1 0-1 0 0,1 0 1 0 0,0 0 0 0 0,0 1 0 0 0,0-1 0 0 0,0 0 0 0 0,0 1 0 0 0,0-1-1 0 0,1 0 1 0 0,-1 1 0 0 0,1 4 0 0 0,-2 8 51 0 0,0 1-1 0 0,2 17 1 0 0,0-28-56 0 0,-1 208 201 0 0,0-107-2482 0 0,1 0-4671 0 0,0-86 3063 0 0</inkml:trace>
</inkml:ink>
</file>

<file path=ppt/ink/ink1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14.526"/>
    </inkml:context>
    <inkml:brush xml:id="br0">
      <inkml:brushProperty name="width" value="0.2" units="cm"/>
      <inkml:brushProperty name="height" value="0.2" units="cm"/>
      <inkml:brushProperty name="color" value="#E71224"/>
    </inkml:brush>
  </inkml:definitions>
  <inkml:trace contextRef="#ctx0" brushRef="#br0">1 280 932 0 0,'0'-4'259'0'0,"0"0"0"0"0,0 0 0 0 0,0-1-1 0 0,0 1 1 0 0,1 0 0 0 0,0 0 0 0 0,0 0 0 0 0,0 0 0 0 0,0 0-1 0 0,0 1 1 0 0,1-1 0 0 0,0 0 0 0 0,0 0 0 0 0,0 1 0 0 0,0-1-1 0 0,0 1 1 0 0,1 0 0 0 0,0 0 0 0 0,-1 0 0 0 0,1 0 0 0 0,1 0-1 0 0,-1 1 1 0 0,5-4 0 0 0,9-6-18 0 0,0 0-1 0 0,2 1 0 0 0,22-9 1 0 0,-39 19-164 0 0,44-21 546 0 0,1 3-1 0 0,0 1 1 0 0,2 3 0 0 0,87-16 0 0 0,-129 30-523 0 0,-1 0-1 0 0,1 1 1 0 0,-1 0-1 0 0,1 0 1 0 0,-1 0-1 0 0,1 1 1 0 0,-1 0-1 0 0,0 0 1 0 0,1 1 0 0 0,-1 0-1 0 0,0 0 1 0 0,0 0-1 0 0,0 1 1 0 0,0 0-1 0 0,7 5 1 0 0,-5-2 69 0 0,0 0 0 0 0,0 1 0 0 0,-1 0 0 0 0,0 1 0 0 0,0 0 0 0 0,-1 0 0 0 0,0 0 0 0 0,9 17 0 0 0,-4-4 69 0 0,0 0-1 0 0,-2 0 1 0 0,-1 1-1 0 0,10 40 1 0 0,-16-53-193 0 0,0-1 0 0 0,-1 1 0 0 0,0 0 1 0 0,0 0-1 0 0,-1-1 0 0 0,0 1 0 0 0,-1 0 0 0 0,0 0 1 0 0,0 0-1 0 0,-1-1 0 0 0,0 1 0 0 0,0-1 1 0 0,-1 1-1 0 0,0-1 0 0 0,-7 14 0 0 0,8-20-34 0 0,1-1 0 0 0,0 1 0 0 0,0 0 0 0 0,0 0 0 0 0,-1-1 0 0 0,1 1-1 0 0,-1-1 1 0 0,1 1 0 0 0,-1-1 0 0 0,0 0 0 0 0,0 1 0 0 0,1-1 0 0 0,-1 0 0 0 0,0 0 0 0 0,0 0-1 0 0,0-1 1 0 0,0 1 0 0 0,0 0 0 0 0,0-1 0 0 0,-1 1 0 0 0,1-1 0 0 0,0 0 0 0 0,0 0 0 0 0,0 0-1 0 0,0 0 1 0 0,0 0 0 0 0,-1 0 0 0 0,1 0 0 0 0,-3-1 0 0 0,4 0-17 0 0,0 0 0 0 0,0 1 0 0 0,0-1 1 0 0,1 1-1 0 0,-1-1 0 0 0,0 0 0 0 0,0 0 0 0 0,1 0 0 0 0,-1 1 1 0 0,0-1-1 0 0,1 0 0 0 0,-1 0 0 0 0,1 0 0 0 0,-1 0 0 0 0,1 0 1 0 0,-1 0-1 0 0,1 0 0 0 0,0 0 0 0 0,0 0 0 0 0,-1 0 1 0 0,1 0-1 0 0,0 0 0 0 0,0 0 0 0 0,0 0 0 0 0,0 0 0 0 0,0 0 1 0 0,1-2-1 0 0,5-26-426 0 0,-2 16 252 0 0,2 1 0 0 0,0 0 0 0 0,0 1-1 0 0,1-1 1 0 0,1 1 0 0 0,0 1 0 0 0,14-16 0 0 0,71-62-770 0 0,-83 79 868 0 0,47-40-301 0 0,2 3-1 0 0,87-52 0 0 0,-144 97 418 0 0,-1 0-1 0 0,0 0 0 0 0,1 0 0 0 0,-1 1 0 0 0,1-1 0 0 0,-1 1 0 0 0,1-1 0 0 0,-1 1 0 0 0,1 0 1 0 0,0 0-1 0 0,2-1 0 0 0,-3 1 10 0 0,-1 0 0 0 0,1 1 0 0 0,-1-1 0 0 0,1 0 0 0 0,-1 0 0 0 0,1 0 0 0 0,0 1 0 0 0,-1-1 0 0 0,1 0 0 0 0,-1 0 0 0 0,1 1 0 0 0,-1-1 0 0 0,1 0 0 0 0,-1 1 1 0 0,0-1-1 0 0,1 1 0 0 0,-1-1 0 0 0,1 1 0 0 0,-1-1 0 0 0,0 1 0 0 0,1 0 0 0 0,0 1 52 0 0,0 1 0 0 0,-1-1-1 0 0,1 1 1 0 0,-1-1 0 0 0,1 1 0 0 0,-1-1 0 0 0,0 1-1 0 0,0-1 1 0 0,0 1 0 0 0,0 0 0 0 0,-1 2 0 0 0,-4 31 242 0 0,-2-1 0 0 0,-12 39 1 0 0,-14 18-4299 0 0,25-78 2192 0 0</inkml:trace>
</inkml:ink>
</file>

<file path=ppt/ink/ink1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14.858"/>
    </inkml:context>
    <inkml:brush xml:id="br0">
      <inkml:brushProperty name="width" value="0.2" units="cm"/>
      <inkml:brushProperty name="height" value="0.2" units="cm"/>
      <inkml:brushProperty name="color" value="#E71224"/>
    </inkml:brush>
  </inkml:definitions>
  <inkml:trace contextRef="#ctx0" brushRef="#br0">63 173 1700 0 0,'-11'-23'1608'0'0,"4"2"-172"0"0,-1 1-335 0 0,1 3-205 0 0,3-1-184 0 0,-2 3-148 0 0,1 1-108 0 0,-1 0-104 0 0,2 7-32 0 0,-1-11-484 0 0,38 12-6413 0 0</inkml:trace>
  <inkml:trace contextRef="#ctx0" brushRef="#br0" timeOffset="1">662 162 1704 0 0,'2'4'474'0'0,"0"1"0"0"0,0 0 0 0 0,-1 0 0 0 0,0 1-1 0 0,0-1 1 0 0,0 0 0 0 0,-1 0 0 0 0,0 0 0 0 0,0 1 0 0 0,0-1 0 0 0,0 0-1 0 0,-1 0 1 0 0,0 1 0 0 0,0-1 0 0 0,-1 0 0 0 0,1 0 0 0 0,-5 8 0 0 0,-23 57 965 0 0,-4-1 1 0 0,-48 77 0 0 0,74-134-1342 0 0,-2 3-636 0 0,-1-1 1 0 0,-17 22-1 0 0,21-30-664 0 0,0 0-1 0 0,0 0 1 0 0,0-1 0 0 0,-9 6 0 0 0</inkml:trace>
</inkml:ink>
</file>

<file path=ppt/ink/ink1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15.247"/>
    </inkml:context>
    <inkml:brush xml:id="br0">
      <inkml:brushProperty name="width" value="0.2" units="cm"/>
      <inkml:brushProperty name="height" value="0.2" units="cm"/>
      <inkml:brushProperty name="color" value="#E71224"/>
    </inkml:brush>
  </inkml:definitions>
  <inkml:trace contextRef="#ctx0" brushRef="#br0">1 39 1428 0 0,'0'-3'1872'0'0,"0"2"-1686"0"0,0 0-1 0 0,0-1 0 0 0,0 1 1 0 0,0-1-1 0 0,0 1 0 0 0,0 0 1 0 0,0-1-1 0 0,1 1 0 0 0,-1 0 1 0 0,0-1-1 0 0,1 1 1 0 0,-1 0-1 0 0,1-1 0 0 0,0 1 1 0 0,-1 0-1 0 0,1 0 0 0 0,0 0 1 0 0,0-1-1 0 0,0 1 0 0 0,0 0 1 0 0,-1 0-1 0 0,2 0 0 0 0,-1 1 1 0 0,0-1-1 0 0,0 0 0 0 0,0 0 1 0 0,0 0-1 0 0,0 1 0 0 0,1-1 1 0 0,-1 1-1 0 0,0-1 1 0 0,3 0-1 0 0,6 1 69 0 0,0 1 0 0 0,0-1 0 0 0,-1 2 0 0 0,1-1 1 0 0,0 2-1 0 0,-1-1 0 0 0,1 1 0 0 0,-1 1 0 0 0,0-1 0 0 0,9 6 0 0 0,8 5-3 0 0,-1 1-1 0 0,29 22 1 0 0,53 53-787 0 0,-39-25-5529 0 0</inkml:trace>
</inkml:ink>
</file>

<file path=ppt/ink/ink1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15.580"/>
    </inkml:context>
    <inkml:brush xml:id="br0">
      <inkml:brushProperty name="width" value="0.2" units="cm"/>
      <inkml:brushProperty name="height" value="0.2" units="cm"/>
      <inkml:brushProperty name="color" value="#E71224"/>
    </inkml:brush>
  </inkml:definitions>
  <inkml:trace contextRef="#ctx0" brushRef="#br0">1 69 1324 0 0,'12'-9'920'0'0,"1"1"1"0"0,0 1-1 0 0,0 0 0 0 0,1 1 1 0 0,0 0-1 0 0,20-5 0 0 0,-19 7-906 0 0,0 1-1 0 0,-1 0 1 0 0,1 1-1 0 0,0 1 0 0 0,0 0 1 0 0,0 1-1 0 0,0 0 1 0 0,0 2-1 0 0,0-1 1 0 0,26 8-1 0 0,-39-9-87 0 0,-1 1 0 0 0,1-1-1 0 0,-1 0 1 0 0,1 1 0 0 0,-1 0 0 0 0,0-1-1 0 0,1 1 1 0 0,-1 0 0 0 0,0 0 0 0 0,1-1 0 0 0,-1 1-1 0 0,0 0 1 0 0,0 0 0 0 0,0 1 0 0 0,0-1-1 0 0,0 0 1 0 0,0 0 0 0 0,0 0 0 0 0,0 1 0 0 0,0-1-1 0 0,0 2 1 0 0,-1-1 30 0 0,1-1-1 0 0,-1 1 0 0 0,-1 0 1 0 0,1-1-1 0 0,0 1 1 0 0,0-1-1 0 0,0 1 1 0 0,-1-1-1 0 0,1 0 1 0 0,-1 1-1 0 0,1-1 1 0 0,-1 1-1 0 0,0-1 0 0 0,1 0 1 0 0,-1 1-1 0 0,0-1 1 0 0,-1 2-1 0 0,-6 6 90 0 0,0-1-1 0 0,-1 0 0 0 0,1 0 0 0 0,-14 8 1 0 0,16-11 135 0 0,-11 6 369 0 0,8-4 494 0 0,0 0 0 0 0,0 0-1 0 0,-11 12 1 0 0,20-19-1011 0 0,1 1-1 0 0,-1 0 1 0 0,0-1-1 0 0,1 1 1 0 0,-1-1-1 0 0,1 1 1 0 0,-1-1-1 0 0,1 1 1 0 0,-1-1 0 0 0,1 1-1 0 0,-1-1 1 0 0,1 1-1 0 0,0-1 1 0 0,-1 0-1 0 0,1 1 1 0 0,-1-1-1 0 0,1 0 1 0 0,0 1 0 0 0,-1-1-1 0 0,1 0 1 0 0,0 0-1 0 0,0 0 1 0 0,0 0-1 0 0,126 16-432 0 0,-38-13-5095 0 0,-63-5 2439 0 0</inkml:trace>
</inkml:ink>
</file>

<file path=ppt/ink/ink1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22.326"/>
    </inkml:context>
    <inkml:brush xml:id="br0">
      <inkml:brushProperty name="width" value="0.2" units="cm"/>
      <inkml:brushProperty name="height" value="0.2" units="cm"/>
      <inkml:brushProperty name="color" value="#E71224"/>
    </inkml:brush>
  </inkml:definitions>
  <inkml:trace contextRef="#ctx0" brushRef="#br0">33 35 1096 0 0,'-32'-32'9504'0'0,"31"32"-9466"0"0,20-2 297 0 0,0 1 0 0 0,-1 1 1 0 0,30 4-1 0 0,2 0 32 0 0,398 3 1079 0 0,34 1-1335 0 0,-434-5-2639 0 0,93 17 0 0 0</inkml:trace>
</inkml:ink>
</file>

<file path=ppt/ink/ink1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22.691"/>
    </inkml:context>
    <inkml:brush xml:id="br0">
      <inkml:brushProperty name="width" value="0.2" units="cm"/>
      <inkml:brushProperty name="height" value="0.2" units="cm"/>
      <inkml:brushProperty name="color" value="#E71224"/>
    </inkml:brush>
  </inkml:definitions>
  <inkml:trace contextRef="#ctx0" brushRef="#br0">93 1 804 0 0,'-17'3'1589'0'0,"0"0"0"0"0,0 1 0 0 0,-24 11 1374 0 0,43-14-2352 0 0,6 2-407 0 0,0 0 1 0 0,0-1 0 0 0,0 0-1 0 0,1-1 1 0 0,-1 0-1 0 0,12 0 1 0 0,57-2 431 0 0,-31 0-343 0 0,396-15 1474 0 0,-234 6-1154 0 0,-112 3-2749 0 0</inkml:trace>
</inkml:ink>
</file>

<file path=ppt/ink/ink1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28.780"/>
    </inkml:context>
    <inkml:brush xml:id="br0">
      <inkml:brushProperty name="width" value="0.2" units="cm"/>
      <inkml:brushProperty name="height" value="0.2" units="cm"/>
      <inkml:brushProperty name="color" value="#E71224"/>
    </inkml:brush>
  </inkml:definitions>
  <inkml:trace contextRef="#ctx0" brushRef="#br0">570 1 1564 0 0,'-11'14'1081'0'0,"-2"1"-1"0"0,0-1 1 0 0,0-1-1 0 0,-22 16 1 0 0,3-2-307 0 0,-68 66 342 0 0,4 4-1 0 0,-110 143 1 0 0,202-235-1243 0 0,-8 10-1275 0 0,-23 25 0 0 0</inkml:trace>
</inkml:ink>
</file>

<file path=ppt/ink/ink1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29.105"/>
    </inkml:context>
    <inkml:brush xml:id="br0">
      <inkml:brushProperty name="width" value="0.2" units="cm"/>
      <inkml:brushProperty name="height" value="0.2" units="cm"/>
      <inkml:brushProperty name="color" value="#E71224"/>
    </inkml:brush>
  </inkml:definitions>
  <inkml:trace contextRef="#ctx0" brushRef="#br0">0 68 496 0 0,'1'-5'438'0'0,"1"0"0"0"0,-1 0-1 0 0,1 0 1 0 0,0 1 0 0 0,0-1 0 0 0,0 0 0 0 0,0 1-1 0 0,1 0 1 0 0,4-6 0 0 0,-6 8-296 0 0,1 1-1 0 0,0-1 1 0 0,0 1 0 0 0,0 0-1 0 0,0 0 1 0 0,0 0 0 0 0,0-1-1 0 0,0 2 1 0 0,0-1 0 0 0,0 0 0 0 0,0 0-1 0 0,1 1 1 0 0,-1-1 0 0 0,0 1-1 0 0,1 0 1 0 0,-1 0 0 0 0,0 0-1 0 0,1 0 1 0 0,-1 0 0 0 0,0 0-1 0 0,0 0 1 0 0,4 2 0 0 0,3 0 94 0 0,-1 0 1 0 0,0 1 0 0 0,0 0 0 0 0,0 0 0 0 0,-1 1-1 0 0,1 0 1 0 0,7 6 0 0 0,46 38 682 0 0,-42-32-649 0 0,18 19 7 0 0,-1 2-1 0 0,-2 1 1 0 0,-1 2-1 0 0,30 50 0 0 0,-39-54-278 0 0,23 50-1 0 0,-7-1-5686 0 0,-35-75 4209 0 0</inkml:trace>
</inkml:ink>
</file>

<file path=ppt/ink/ink1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29.443"/>
    </inkml:context>
    <inkml:brush xml:id="br0">
      <inkml:brushProperty name="width" value="0.2" units="cm"/>
      <inkml:brushProperty name="height" value="0.2" units="cm"/>
      <inkml:brushProperty name="color" value="#E71224"/>
    </inkml:brush>
  </inkml:definitions>
  <inkml:trace contextRef="#ctx0" brushRef="#br0">154 100 1176 0 0,'3'64'5235'0'0,"-11"32"-2687"0"0,0-13-1732 0 0,6-47-691 0 0,-2 51-15 0 0,3-31-3386 0 0,1-44 1223 0 0</inkml:trace>
  <inkml:trace contextRef="#ctx0" brushRef="#br0" timeOffset="1">37 73 1484 0 0,'-4'-12'1612'0'0,"0"-2"-440"0"0,-3 5 533 0 0,1-7-641 0 0,-3 2-96 0 0,3 7-1180 0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19:26.532"/>
    </inkml:context>
    <inkml:brush xml:id="br0">
      <inkml:brushProperty name="width" value="0.08571" units="cm"/>
      <inkml:brushProperty name="height" value="0.08571" units="cm"/>
      <inkml:brushProperty name="color" value="#E71224"/>
    </inkml:brush>
  </inkml:definitions>
  <inkml:trace contextRef="#ctx0" brushRef="#br0">0 0 12390,'20'8'3958,"-4"3"-3509,-15 11 1,0-2-90,-2 2 0,2-5-90,1 0-1,0 2-89,2 1 0,0-1 0,2 1-90,0-1 0,1-1 0,1 0 0,1-2-90,-1-1 90,1-2 0,0-1 0,-1-3-90,5 0-90,2-5 90,5-5-180,-4-6 180,0-5-90,-4-1 90,-1-2-90,-1-1 90,0 0-90,-1-1 90,0 2 0,-1 0-90,-1 3 0,1-4 0,-1 4 90,3 5 90,-5 9 90,2 12 0,-3 1 0,1 2-90,0-3 90,2 1-90,0 0 0,2 0 0,-1 0 0,2-1-1,-1-2 1,0 0-90,0-3 180,0 0-180,5-2 90,1-4-180,4-7 90,-4-5-90,-1-6 90,-5-2-90,-2-2 90,1-5-90,-2-1 90,0-2-89,-1 2 89,-1 1 0,0 3-90,-1 1 90,0 3-90,1-4 90,-1 4 269,4 8-179,-1 15 90,1 11 90,-2 7 90,0-2-90,0 3 90,0 1-91,1 3 91,0 0-90,0 0 0,-1 0-90,-1-1 0,-1-1 0,-2-1-90,-2-1 0,-1-1-180,-2-2-90,-1-1-90,-2-1-270,-1-2 0,-2-3-1259,-7 4 540,3-6-270,-5 2-450,6-8 1979,-7 1 0,-4-4 0,-6 1 0</inkml:trace>
</inkml:ink>
</file>

<file path=ppt/ink/ink1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29.958"/>
    </inkml:context>
    <inkml:brush xml:id="br0">
      <inkml:brushProperty name="width" value="0.2" units="cm"/>
      <inkml:brushProperty name="height" value="0.2" units="cm"/>
      <inkml:brushProperty name="color" value="#E71224"/>
    </inkml:brush>
  </inkml:definitions>
  <inkml:trace contextRef="#ctx0" brushRef="#br0">49 8 912 0 0,'-6'-8'7619'0'0,"19"8"-7504"0"0,-9 0 15 0 0,14 0 52 0 0,-15 0-123 0 0,1 0 16 0 0,9 1-58 0 0,0 1 1 0 0,0 0 0 0 0,0 1-1 0 0,0 1 1 0 0,-1-1 0 0 0,1 2-1 0 0,16 8 1 0 0,-23-10 35 0 0,-1 0 0 0 0,0 1 0 0 0,0-1 0 0 0,0 1 0 0 0,0 0 0 0 0,0 0 0 0 0,-1 1 0 0 0,0-1 0 0 0,0 1 0 0 0,0 0 0 0 0,-1 0 0 0 0,1 0 0 0 0,-1 1 0 0 0,-1-1 0 0 0,1 1 0 0 0,-1 0 0 0 0,0 0 0 0 0,2 8 0 0 0,0 4 183 0 0,-2 0 1 0 0,0 1-1 0 0,-1-1 0 0 0,-1 1 0 0 0,0-1 0 0 0,-2 0 1 0 0,0 1-1 0 0,-1-1 0 0 0,-1 0 0 0 0,-1 0 0 0 0,0-1 1 0 0,-1 1-1 0 0,-1-1 0 0 0,-17 30 0 0 0,18-38-139 0 0,0-1 1 0 0,-1 0-1 0 0,1-1 0 0 0,-2 1 0 0 0,1-1 1 0 0,-1-1-1 0 0,0 1 0 0 0,0-1 0 0 0,-1-1 0 0 0,0 0 1 0 0,0 0-1 0 0,0 0 0 0 0,0-2 0 0 0,-1 1 0 0 0,0-1 1 0 0,0 0-1 0 0,0-1 0 0 0,0 0 0 0 0,-12 1 0 0 0,17-3-425 0 0,1 0 0 0 0,0 0 0 0 0,-1-1 0 0 0,1 1 0 0 0,0-1 0 0 0,-1 0-1 0 0,1 0 1 0 0,0 0 0 0 0,-5-3 0 0 0</inkml:trace>
</inkml:ink>
</file>

<file path=ppt/ink/ink1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30.291"/>
    </inkml:context>
    <inkml:brush xml:id="br0">
      <inkml:brushProperty name="width" value="0.2" units="cm"/>
      <inkml:brushProperty name="height" value="0.2" units="cm"/>
      <inkml:brushProperty name="color" value="#E71224"/>
    </inkml:brush>
  </inkml:definitions>
  <inkml:trace contextRef="#ctx0" brushRef="#br0">1 135 140 0 0,'1'-3'1854'0'0,"4"-3"-1392"0"0,0 0 1 0 0,1 0-1 0 0,-1 0 1 0 0,1 1-1 0 0,1 0 1 0 0,-1 0-1 0 0,0 0 1 0 0,1 1 0 0 0,0 0-1 0 0,0 1 1 0 0,10-5-1 0 0,16-4 141 0 0,41-11 0 0 0,-71 23-547 0 0,41-11 5 0 0,0 3 1 0 0,1 1-1 0 0,0 3 0 0 0,0 1 1 0 0,0 3-1 0 0,67 7 1 0 0,-82 1-214 0 0,-29-8 135 0 0,0 0 0 0 0,0 0 0 0 0,0 1 0 0 0,0-1-1 0 0,0 1 1 0 0,0-1 0 0 0,0 1 0 0 0,0-1 0 0 0,0 1 0 0 0,0-1-1 0 0,0 1 1 0 0,-1 0 0 0 0,1 0 0 0 0,0-1 0 0 0,0 1-1 0 0,-1 0 1 0 0,1 0 0 0 0,0 0 0 0 0,0 2 0 0 0</inkml:trace>
</inkml:ink>
</file>

<file path=ppt/ink/ink1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30.763"/>
    </inkml:context>
    <inkml:brush xml:id="br0">
      <inkml:brushProperty name="width" value="0.2" units="cm"/>
      <inkml:brushProperty name="height" value="0.2" units="cm"/>
      <inkml:brushProperty name="color" value="#E71224"/>
    </inkml:brush>
  </inkml:definitions>
  <inkml:trace contextRef="#ctx0" brushRef="#br0">1 21 2212 0 0,'0'0'7910'0'0,"0"-1"-7848"0"0,0 1 1 0 0,1-1 0 0 0,-1 1 0 0 0,0-1-1 0 0,0 0 1 0 0,1 1 0 0 0,-1-1 0 0 0,0 1-1 0 0,1-1 1 0 0,-1 1 0 0 0,1-1 0 0 0,-1 1 0 0 0,1 0-1 0 0,-1-1 1 0 0,1 1 0 0 0,-1-1 0 0 0,1 1-1 0 0,-1 0 1 0 0,1-1 0 0 0,0 1 0 0 0,0 0-1 0 0,28-5 226 0 0,43 0-1 0 0,-59 5-1378 0 0,1 0 1 0 0,-1 1-1 0 0,0 1 1 0 0,0 0-1 0 0,25 8 1 0 0,-22-3-2040 0 0</inkml:trace>
</inkml:ink>
</file>

<file path=ppt/ink/ink1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31.110"/>
    </inkml:context>
    <inkml:brush xml:id="br0">
      <inkml:brushProperty name="width" value="0.2" units="cm"/>
      <inkml:brushProperty name="height" value="0.2" units="cm"/>
      <inkml:brushProperty name="color" value="#E71224"/>
    </inkml:brush>
  </inkml:definitions>
  <inkml:trace contextRef="#ctx0" brushRef="#br0">69 1 432 0 0,'-69'46'11982'0'0,"93"-47"-11491"0"0,40-7-1 0 0,13-2-468 0 0,0 10-1951 0 0,-32 0-3804 0 0,-17 0 2382 0 0</inkml:trace>
</inkml:ink>
</file>

<file path=ppt/ink/ink1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54.809"/>
    </inkml:context>
    <inkml:brush xml:id="br0">
      <inkml:brushProperty name="width" value="0.2" units="cm"/>
      <inkml:brushProperty name="height" value="0.2" units="cm"/>
      <inkml:brushProperty name="color" value="#E71224"/>
    </inkml:brush>
  </inkml:definitions>
  <inkml:trace contextRef="#ctx0" brushRef="#br0">87 8 828 0 0,'-6'-7'5604'0'0,"4"14"-5211"0"0,-1 1 0 0 0,1-1 1 0 0,0 1-1 0 0,1 0 0 0 0,0 0 0 0 0,0 0 0 0 0,1 0 1 0 0,0 0-1 0 0,1 10 0 0 0,12 77 888 0 0,-9-76-1071 0 0,7 56-742 0 0,4 152 1 0 0,-16-224 343 0 0,1-1-1 0 0,0 1 1 0 0,-1-1 0 0 0,1 0 0 0 0,-1 1 0 0 0,0-1 0 0 0,0 0 0 0 0,0 1 0 0 0,0-1 0 0 0,-2 4 0 0 0,-5-6-1335 0 0,6 0 1409 0 0,0-1 0 0 0,1 0 0 0 0,-1 1 0 0 0,0-1 0 0 0,1 0 0 0 0,-1 0 0 0 0,0 0 0 0 0,1 0 0 0 0,0 0 0 0 0,-1 0 0 0 0,1-1 1 0 0,-1 1-1 0 0,1 0 0 0 0,-2-3 0 0 0,0-1-146 0 0,-1-1 0 0 0,1 1 0 0 0,0-1 0 0 0,-4-11 0 0 0,-1-7-276 0 0,-7-40 0 0 0,14 58 519 0 0,-9-44 1293 0 0,3 1 0 0 0,-2-72 0 0 0,9 121-1253 0 0,0-1-1 0 0,0 0 1 0 0,0 0-1 0 0,0 1 1 0 0,0-1-1 0 0,0 0 1 0 0,1 1 0 0 0,-1-1-1 0 0,0 0 1 0 0,0 1-1 0 0,0-1 1 0 0,1 0 0 0 0,-1 1-1 0 0,0-1 1 0 0,1 0-1 0 0,-1 1 1 0 0,1-1 0 0 0,-1 1-1 0 0,0-1 1 0 0,1 0-1 0 0,-1 1 1 0 0,1-1-1 0 0,0 1 1 0 0,-1 0 0 0 0,1-1-1 0 0,-1 1 1 0 0,1-1-1 0 0,0 1 1 0 0,-1 0 0 0 0,1 0-1 0 0,0-1 1 0 0,-1 1-1 0 0,1 0 1 0 0,1 0-1 0 0,0-1 40 0 0,0 1-1 0 0,0 0 1 0 0,0 0-1 0 0,0 1 0 0 0,0-1 1 0 0,1 0-1 0 0,-1 1 0 0 0,0-1 1 0 0,2 2-1 0 0,7 4 135 0 0,0 0-1 0 0,0 1 1 0 0,0 0-1 0 0,-1 1 1 0 0,18 18-1 0 0,-3-5 55 0 0,329 289 1003 0 0,-346-303-1226 0 0,16 10 1197 0 0,-23-16-1202 0 0,-1-1 0 0 0,1 0 0 0 0,-1 1 0 0 0,1-1 0 0 0,0 0 0 0 0,-1 1 0 0 0,1-1 0 0 0,-1 0 0 0 0,1 0 0 0 0,0 1 0 0 0,-1-1 0 0 0,1 0 0 0 0,0 0 0 0 0,-1 0 0 0 0,1 0 0 0 0,0 0 0 0 0,-1 0 0 0 0,1 0 1 0 0,0 0-1 0 0,-1 0 0 0 0,1-1 0 0 0,0 1 0 0 0,-1 0 0 0 0,1 0 0 0 0,0 0 0 0 0,-1-1 0 0 0,1 1 0 0 0,-1 0 0 0 0,1-1 0 0 0,-1 1 0 0 0,1-1 0 0 0,0 1 0 0 0,-1 0 0 0 0,0-1 0 0 0,1 1 0 0 0,-1-1 0 0 0,1 1 0 0 0,-1-1 0 0 0,0 0 0 0 0,1 1 0 0 0,-1-1 0 0 0,0 1 0 0 0,1-2 0 0 0,1-7 25 0 0,0 0 0 0 0,0-1 0 0 0,-1 1 0 0 0,0-1 1 0 0,-1 1-1 0 0,-1-15 0 0 0,-9-64 112 0 0,4 46 19 0 0,-4-47 5 0 0,-2-24-104 0 0,-1 41-4780 0 0</inkml:trace>
</inkml:ink>
</file>

<file path=ppt/ink/ink1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55.150"/>
    </inkml:context>
    <inkml:brush xml:id="br0">
      <inkml:brushProperty name="width" value="0.2" units="cm"/>
      <inkml:brushProperty name="height" value="0.2" units="cm"/>
      <inkml:brushProperty name="color" value="#E71224"/>
    </inkml:brush>
  </inkml:definitions>
  <inkml:trace contextRef="#ctx0" brushRef="#br0">42 1 1100 0 0,'-5'26'1557'0'0,"1"-9"-486"0"0,1 1 1 0 0,1 0-1 0 0,-1 32 1 0 0,4-44-920 0 0,0 1 0 0 0,0-1 0 0 0,0 0 0 0 0,0 1 0 0 0,1-1-1 0 0,0 0 1 0 0,1 0 0 0 0,-1 0 0 0 0,1-1 0 0 0,0 1 0 0 0,1-1 0 0 0,-1 1 0 0 0,1-1 0 0 0,7 8 0 0 0,-5-7-5 0 0,1 1-1 0 0,0-1 1 0 0,0 0-1 0 0,0-1 1 0 0,1 0-1 0 0,-1 0 1 0 0,1 0-1 0 0,1-1 1 0 0,-1 0-1 0 0,0-1 1 0 0,1 0-1 0 0,0 0 1 0 0,18 3-1 0 0,-25-6-108 0 0,1 0-1 0 0,-1 0 1 0 0,1 0-1 0 0,-1 0 1 0 0,1 0 0 0 0,-1 0-1 0 0,1 0 1 0 0,-1-1-1 0 0,1 0 1 0 0,-1 1-1 0 0,0-1 1 0 0,1 0 0 0 0,-1 0-1 0 0,0 0 1 0 0,0 0-1 0 0,1-1 1 0 0,-1 1 0 0 0,0 0-1 0 0,0-1 1 0 0,0 0-1 0 0,-1 1 1 0 0,1-1-1 0 0,0 0 1 0 0,-1 0 0 0 0,1 0-1 0 0,-1 0 1 0 0,0 0-1 0 0,1 0 1 0 0,-1-1 0 0 0,0 1-1 0 0,0 0 1 0 0,1-5-1 0 0,-1 3 3 0 0,-1 0 0 0 0,1 0 0 0 0,-1-1 0 0 0,0 1 0 0 0,0 0 0 0 0,0 0 0 0 0,0 0 0 0 0,-1 0 0 0 0,0 0 0 0 0,1 0 0 0 0,-2 0 0 0 0,1 0 0 0 0,0 0 0 0 0,-1 0 0 0 0,0 1 0 0 0,1-1 0 0 0,-2 1 0 0 0,-3-6 0 0 0,-2 0 0 0 0,0 1-1 0 0,0 0 0 0 0,-1 0 0 0 0,0 1 1 0 0,-1 0-1 0 0,-19-10 0 0 0,-65-23-310 0 0,74 32-72 0 0,1 4-662 0 0,14 4 772 0 0,1-1-622 0 0,-14 1-1270 0 0</inkml:trace>
</inkml:ink>
</file>

<file path=ppt/ink/ink1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55.524"/>
    </inkml:context>
    <inkml:brush xml:id="br0">
      <inkml:brushProperty name="width" value="0.2" units="cm"/>
      <inkml:brushProperty name="height" value="0.2" units="cm"/>
      <inkml:brushProperty name="color" value="#E71224"/>
    </inkml:brush>
  </inkml:definitions>
  <inkml:trace contextRef="#ctx0" brushRef="#br0">0 0 1760 0 0,'48'14'9083'0'0,"-24"-13"-6535"0"0</inkml:trace>
</inkml:ink>
</file>

<file path=ppt/ink/ink1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55.914"/>
    </inkml:context>
    <inkml:brush xml:id="br0">
      <inkml:brushProperty name="width" value="0.2" units="cm"/>
      <inkml:brushProperty name="height" value="0.2" units="cm"/>
      <inkml:brushProperty name="color" value="#E71224"/>
    </inkml:brush>
  </inkml:definitions>
  <inkml:trace contextRef="#ctx0" brushRef="#br0">135 22 656 0 0,'-12'-14'4533'0'0,"8"12"-4121"0"0,-3 4-258 0 0,1 0 0 0 0,-1 1 0 0 0,1 0 0 0 0,0 1 0 0 0,0-1 0 0 0,0 1 0 0 0,0 0 0 0 0,1 1 1 0 0,-1-1-1 0 0,1 1 0 0 0,0 0 0 0 0,1 0 0 0 0,-1 1 0 0 0,1-1 0 0 0,0 1 0 0 0,0 0 0 0 0,1 0 0 0 0,0 1 0 0 0,-5 10 0 0 0,6-9-96 0 0,-1-1 1 0 0,1 0-1 0 0,0 1 1 0 0,1-1-1 0 0,0 1 1 0 0,0 0-1 0 0,0-1 1 0 0,1 1-1 0 0,0 0 1 0 0,1 0-1 0 0,0-1 1 0 0,0 1-1 0 0,0 0 1 0 0,1-1-1 0 0,1 0 0 0 0,-1 1 1 0 0,1-1-1 0 0,4 8 1 0 0,0-3 57 0 0,1-1 1 0 0,0 1-1 0 0,17 16 0 0 0,-20-23-41 0 0,0 0-1 0 0,0-1 0 0 0,0 1 0 0 0,1-1 1 0 0,-1-1-1 0 0,1 1 0 0 0,0-1 0 0 0,1 0 1 0 0,6 2-1 0 0,-9-4 1 0 0,0 0 0 0 0,0-1 0 0 0,-1 0 0 0 0,1 1 0 0 0,0-2 0 0 0,0 1 0 0 0,0 0 0 0 0,-1-1 0 0 0,1 0 0 0 0,4-1 0 0 0,-6 1-54 0 0,0 1 0 0 0,0-1 0 0 0,-1 0 0 0 0,1 0 0 0 0,0-1 0 0 0,-1 1 1 0 0,1 0-1 0 0,-1 0 0 0 0,1-1 0 0 0,-1 1 0 0 0,0-1 0 0 0,0 1 0 0 0,0-1 0 0 0,1 0 1 0 0,-1 1-1 0 0,-1-1 0 0 0,1 0 0 0 0,0 0 0 0 0,0 1 0 0 0,0-5 0 0 0,1 0 23 0 0,-1 0 0 0 0,0-1 0 0 0,0 1 0 0 0,0-11-1 0 0,-1 7-17 0 0,-1 0-1 0 0,0 1 0 0 0,-1-1 0 0 0,0 0 0 0 0,-1 0 0 0 0,0 1 0 0 0,0-1 0 0 0,-1 1 0 0 0,0 0 0 0 0,-6-9 0 0 0,-7-9-151 0 0,-37-44 0 0 0,17 24-1603 0 0,30 21-3807 0 0</inkml:trace>
</inkml:ink>
</file>

<file path=ppt/ink/ink1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56.254"/>
    </inkml:context>
    <inkml:brush xml:id="br0">
      <inkml:brushProperty name="width" value="0.2" units="cm"/>
      <inkml:brushProperty name="height" value="0.2" units="cm"/>
      <inkml:brushProperty name="color" value="#E71224"/>
    </inkml:brush>
  </inkml:definitions>
  <inkml:trace contextRef="#ctx0" brushRef="#br0">38 237 432 0 0,'5'3'393'0'0,"0"0"0"0"0,0 1-1 0 0,0-1 1 0 0,-1 1 0 0 0,0 1-1 0 0,0-1 1 0 0,0 0 0 0 0,0 1 0 0 0,0 0-1 0 0,-1 0 1 0 0,0 0 0 0 0,0 0 0 0 0,-1 1-1 0 0,1-1 1 0 0,-1 1 0 0 0,3 11 0 0 0,1 8 543 0 0,-2 1 1 0 0,4 42 0 0 0,-5-28-141 0 0,6 200 1819 0 0,-9-218-2217 0 0,0-21-309 0 0,0 0 1 0 0,0 0-1 0 0,0 0 1 0 0,0 0-1 0 0,0 0 1 0 0,0 1-1 0 0,0-1 1 0 0,0 0-1 0 0,0 0 1 0 0,-1 0-1 0 0,1 0 1 0 0,0 0-1 0 0,-1 0 0 0 0,1 0 1 0 0,-1-1-1 0 0,1 1 1 0 0,-1 0-1 0 0,0 1 1 0 0,0-2-69 0 0,1 1 1 0 0,-1-1-1 0 0,1 0 0 0 0,-1 0 1 0 0,1 0-1 0 0,-1 0 1 0 0,1 0-1 0 0,-1 0 0 0 0,1 0 1 0 0,-1 0-1 0 0,1 0 0 0 0,-1 0 1 0 0,1 0-1 0 0,-1 0 1 0 0,1-1-1 0 0,-1 1 0 0 0,1 0 1 0 0,0 0-1 0 0,-1 0 1 0 0,1-1-1 0 0,-1 1 0 0 0,1 0 1 0 0,-1-1-1 0 0,1 1 0 0 0,0 0 1 0 0,-1-1-1 0 0,-2-2 8 0 0,0 0 0 0 0,0 0 0 0 0,1 0 0 0 0,-1 0 0 0 0,1-1-1 0 0,0 1 1 0 0,-3-6 0 0 0,-4-16 7 0 0,1 1-1 0 0,1-1 1 0 0,2-1-1 0 0,0 1 1 0 0,2-1-1 0 0,0 1 1 0 0,2-1-1 0 0,5-51 1 0 0,0 42-57 0 0,1 0 0 0 0,3 1 0 0 0,0 0 0 0 0,2 1 0 0 0,2 0 0 0 0,17-36 0 0 0,-21 55-51 0 0,0 0 1 0 0,1 0-1 0 0,0 1 1 0 0,1 0-1 0 0,1 1 1 0 0,0 0-1 0 0,0 1 1 0 0,16-12-1 0 0,-19 17-196 0 0,0 0-1 0 0,0 0 0 0 0,1 1 1 0 0,-1 0-1 0 0,2 0 0 0 0,-1 1 0 0 0,0 0 1 0 0,1 1-1 0 0,-1 0 0 0 0,1 1 0 0 0,0 0 1 0 0,0 0-1 0 0,0 1 0 0 0,12 0 0 0 0,-18 1-221 0 0,0 0 0 0 0,0 1 0 0 0,1-1 0 0 0,-1 1 0 0 0,0 0 0 0 0,0 0 0 0 0,-1 1 0 0 0,1-1 0 0 0,0 1 0 0 0,0 0 0 0 0,-1 0 0 0 0,8 4 0 0 0</inkml:trace>
  <inkml:trace contextRef="#ctx0" brushRef="#br0" timeOffset="1">105 332 148 0 0,'-96'53'7195'0'0,"96"-53"-7150"0"0,0 0-1 0 0,-1 0 0 0 0,1 1 1 0 0,-1-1-1 0 0,1 0 0 0 0,-1 0 0 0 0,1 0 1 0 0,0 0-1 0 0,-1 1 0 0 0,1-1 1 0 0,0 0-1 0 0,-1 0 0 0 0,1 1 1 0 0,0-1-1 0 0,-1 0 0 0 0,1 1 0 0 0,0-1 1 0 0,-1 0-1 0 0,1 1 0 0 0,0-1 1 0 0,0 1-1 0 0,0-1 0 0 0,-1 0 1 0 0,1 1-1 0 0,0-1 0 0 0,0 1 0 0 0,0-1 1 0 0,0 1-1 0 0,0-1 0 0 0,0 0 1 0 0,0 1-1 0 0,0-1 0 0 0,0 1 1 0 0,0-1-1 0 0,0 1 0 0 0,0-1 0 0 0,0 1 1 0 0,0-1-1 0 0,0 0 0 0 0,0 1 1 0 0,0-1-1 0 0,1 1 0 0 0,-1-1 1 0 0,0 0-1 0 0,0 1 0 0 0,1-1 0 0 0,-1 1 1 0 0,0-1-1 0 0,0 0 0 0 0,1 1 1 0 0,-1-1-1 0 0,0 0 0 0 0,1 0 1 0 0,-1 1-1 0 0,0-1 0 0 0,1 0 0 0 0,-1 0 1 0 0,1 1-1 0 0,0-1 0 0 0,26 9 949 0 0,-25-8-1013 0 0,42 7 622 0 0,71 4 1 0 0,-34-5-1999 0 0,-1 7-3996 0 0,-62-8 2405 0 0</inkml:trace>
</inkml:ink>
</file>

<file path=ppt/ink/ink1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56.869"/>
    </inkml:context>
    <inkml:brush xml:id="br0">
      <inkml:brushProperty name="width" value="0.2" units="cm"/>
      <inkml:brushProperty name="height" value="0.2" units="cm"/>
      <inkml:brushProperty name="color" value="#E71224"/>
    </inkml:brush>
  </inkml:definitions>
  <inkml:trace contextRef="#ctx0" brushRef="#br0">1 8 392 0 0,'13'-8'4133'0'0,"-10"10"-3505"0"0,0-1-486 0 0,-1 1 0 0 0,1 0 0 0 0,0 0 1 0 0,-1 0-1 0 0,0 1 0 0 0,1-1 0 0 0,-1 0 0 0 0,0 1 0 0 0,0 0 0 0 0,0-1 0 0 0,-1 1 1 0 0,1 0-1 0 0,-1 0 0 0 0,1 0 0 0 0,-1 0 0 0 0,0 0 0 0 0,1 5 0 0 0,3 13 679 0 0,5 33 0 0 0,-6-29-445 0 0,16 88 1007 0 0,30 143 344 0 0,-38-212-1555 0 0,1 1 1 0 0,3-2-1 0 0,33 67 1 0 0,-45-101-275 0 0,1-1 1 0 0,0 0 0 0 0,0 0-1 0 0,1 0 1 0 0,0 0 0 0 0,1-1 0 0 0,0 0-1 0 0,0 0 1 0 0,0-1 0 0 0,1 0 0 0 0,0 0-1 0 0,0-1 1 0 0,0 0 0 0 0,1 0-1 0 0,-1-1 1 0 0,1 0 0 0 0,1-1 0 0 0,-1 0-1 0 0,0 0 1 0 0,13 1 0 0 0,-19-3-307 0 0,0-1 1 0 0,0 0 0 0 0,1 1 0 0 0,-1-1-1 0 0,0-1 1 0 0,0 1 0 0 0,0 0 0 0 0,0-1-1 0 0,0 0 1 0 0,0 1 0 0 0,0-1-1 0 0,0 0 1 0 0,3-2 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8T04:48:31.835"/>
    </inkml:context>
    <inkml:brush xml:id="br0">
      <inkml:brushProperty name="width" value="0.08571" units="cm"/>
      <inkml:brushProperty name="height" value="0.08571" units="cm"/>
      <inkml:brushProperty name="color" value="#E71224"/>
    </inkml:brush>
  </inkml:definitions>
  <inkml:trace contextRef="#ctx0" brushRef="#br0">1 356 7982,'33'-16'360,"-6"3"-6020,-7 9 5930,54 0-270,-38 2 1196,60 0-1196,-61 2 0,26 0 0,-22 0 0,11 0 0,-14 0 0,1-1 901,-1 2-901,2-2 0,-1 1-2182,1 0 2182,0-1 0,0 1 2182,1-1-2182,21 0-90,-14-1 90,16-1 0,-19 1-90,16-1 90,-12 0 261,12 0-261,-16 0-90,19-2 90,-15 1-90,16-2 90,-20 2-90,1-1 0,0 0 90,-1 0-90,1-1 90,1 0 0,-1 0 0,0 0-90,0-1 3348,0 1-3348,0 0 90,-1 0 0,1 0 0,-2-1 0,20-1 0,-15 2 0,13-2 0,-18 3-3317,-1-1 3317,2 1-2038,-1-1 2038,0 1-111,1 0 111,-1 0 90,20-2-180,-14 2 90,14-1 102,-18 2-102,0-1-90,0 1 90,0 1 0,0-2 0,-1 2-90,0-1 180,1 0 1854,-1 0-1944,-1 0 0,1 0 163,18-1-253,5-1-171,1 0 171,-6 0 90,-18 2-90,0 0 90,0 1 0,-1 0 0,-2 0 0,-1 0 0,-2 0 0,-1 1 0,1-1 0,-2 1 0,0 0 0,0 0 0,-1-1 0,0 2 0,13-2 0,-10 1 0,10 0 3286,-15 1-3286,-1-1 0,-2 1 0,1 0 0,-3 0 0,1 1 0,-1 0-90,0 0 90,1 0-90,0 0 90,0 1-90,1 0 0,0 0 164,2 1-163,-1 0-1,1 0-68,-1 0-22,14 2 180,-11-1-90,10 1 90,-12-1-179,-1 0-1,1 0 180,-1 0 0,4 1 0,1-1 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19:26.750"/>
    </inkml:context>
    <inkml:brush xml:id="br0">
      <inkml:brushProperty name="width" value="0.08571" units="cm"/>
      <inkml:brushProperty name="height" value="0.08571" units="cm"/>
      <inkml:brushProperty name="color" value="#E71224"/>
    </inkml:brush>
  </inkml:definitions>
  <inkml:trace contextRef="#ctx0" brushRef="#br0">1 0 17247,'19'19'900,"1"-4"-631,3-11-448,1-2-181,2 0-270,1-1-179,1 0-541,-1 0-359,-1-1-719,-1 1-1170,-3-1 3598,-2 2 0,-10-1 0,-2-1 0</inkml:trace>
</inkml:ink>
</file>

<file path=ppt/ink/ink2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57.222"/>
    </inkml:context>
    <inkml:brush xml:id="br0">
      <inkml:brushProperty name="width" value="0.2" units="cm"/>
      <inkml:brushProperty name="height" value="0.2" units="cm"/>
      <inkml:brushProperty name="color" value="#E71224"/>
    </inkml:brush>
  </inkml:definitions>
  <inkml:trace contextRef="#ctx0" brushRef="#br0">78 114 104 0 0,'-77'-20'6761'0'0,"88"10"-6096"0"0,-4 6-567 0 0,0 1-1 0 0,0 1 1 0 0,0-1-1 0 0,0 1 1 0 0,0 0-1 0 0,0 1 1 0 0,9-1-1 0 0,6-2 25 0 0,392-55 2044 0 0,-410 58-2079 0 0,1 1 0 0 0,-1 0 0 0 0,1 0 0 0 0,-1 0 0 0 0,0 1 0 0 0,1-1 0 0 0,-1 1 0 0 0,0 0 1 0 0,0 0-1 0 0,0 1 0 0 0,0-1 0 0 0,0 1 0 0 0,0 0 0 0 0,0 0 0 0 0,0 0 0 0 0,-1 1 0 0 0,1-1 1 0 0,-1 1-1 0 0,1 0 0 0 0,-1 0 0 0 0,0 0 0 0 0,0 0 0 0 0,3 6 0 0 0,0 0 84 0 0,-1 1-1 0 0,0 0 1 0 0,0-1-1 0 0,-1 2 1 0 0,-1-1-1 0 0,1 0 1 0 0,-2 1-1 0 0,3 11 1 0 0,7 38 194 0 0,4 26-438 0 0,-12-30-2939 0 0,-2-42 807 0 0</inkml:trace>
</inkml:ink>
</file>

<file path=ppt/ink/ink2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57.625"/>
    </inkml:context>
    <inkml:brush xml:id="br0">
      <inkml:brushProperty name="width" value="0.2" units="cm"/>
      <inkml:brushProperty name="height" value="0.2" units="cm"/>
      <inkml:brushProperty name="color" value="#E71224"/>
    </inkml:brush>
  </inkml:definitions>
  <inkml:trace contextRef="#ctx0" brushRef="#br0">22 150 1104 0 0,'-2'-21'1276'0'0,"-2"3"-204"0"0,4 3-232 0 0,-4-1-60 0 0,-1 3-279 0 0,5-1 11 0 0,-2 5-204 0 0,0-3 48 0 0,0-6-440 0 0,4 5-1088 0 0</inkml:trace>
</inkml:ink>
</file>

<file path=ppt/ink/ink2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58.009"/>
    </inkml:context>
    <inkml:brush xml:id="br0">
      <inkml:brushProperty name="width" value="0.2" units="cm"/>
      <inkml:brushProperty name="height" value="0.2" units="cm"/>
      <inkml:brushProperty name="color" value="#E71224"/>
    </inkml:brush>
  </inkml:definitions>
  <inkml:trace contextRef="#ctx0" brushRef="#br0">0 1 1464 0 0,'16'40'1752'0'0,"-2"1"0"0"0,-2 0 0 0 0,-2 1-1 0 0,-2 0 1 0 0,4 52 0 0 0,-8-53 2190 0 0,-2-43-3901 0 0,-1-1-1 0 0,1 1 0 0 0,-1-1 1 0 0,0 0-1 0 0,1 0 0 0 0,-1 0 1 0 0,-1 0-1 0 0,1 0 0 0 0,1-6 1 0 0,-2 9-38 0 0,2-7-4 0 0,0 1-1 0 0,0-1 1 0 0,1 1-1 0 0,0 0 1 0 0,1-1-1 0 0,-1 1 1 0 0,1 1 0 0 0,0-1-1 0 0,1 0 1 0 0,-1 1-1 0 0,1 0 1 0 0,0 0-1 0 0,1 1 1 0 0,-1-1-1 0 0,1 1 1 0 0,-1 0-1 0 0,1 1 1 0 0,1-1-1 0 0,-1 1 1 0 0,0 0 0 0 0,1 1-1 0 0,-1-1 1 0 0,1 1-1 0 0,0 1 1 0 0,0-1-1 0 0,8 0 1 0 0,-11 2-3 0 0,0 1-1 0 0,-1-1 1 0 0,1 1 0 0 0,0-1 0 0 0,0 1-1 0 0,0 0 1 0 0,0 0 0 0 0,-1 1-1 0 0,1-1 1 0 0,-1 1 0 0 0,1 0 0 0 0,-1 0-1 0 0,0 0 1 0 0,6 5 0 0 0,1 1-8 0 0,0 1 0 0 0,13 17 0 0 0,-21-24 12 0 0,5 8 20 0 0,0 0-1 0 0,-1 0 1 0 0,11 23 0 0 0,-17-32 202 0 0,0-1-221 0 0,0 0 1 0 0,0-1-1 0 0,0 1 0 0 0,0 0 0 0 0,0 0 0 0 0,0 0 0 0 0,0-1 1 0 0,0 1-1 0 0,0 0 0 0 0,-1 0 0 0 0,1 0 0 0 0,0-1 0 0 0,0 1 1 0 0,0 0-1 0 0,0 0 0 0 0,-1 0 0 0 0,1 0 0 0 0,0 0 1 0 0,0-1-1 0 0,0 1 0 0 0,-1 0 0 0 0,1 0 0 0 0,0 0 0 0 0,0 0 1 0 0,-1 0-1 0 0,1 0 0 0 0,0 0 0 0 0,0 0 0 0 0,-1 0 1 0 0,1 0-1 0 0,0 0 0 0 0,-1 0 0 0 0,1 0-1 0 0,0 0-1 0 0,-1 0 1 0 0,1 0 0 0 0,0 0-1 0 0,-1 0 1 0 0,1 0-1 0 0,-1 0 1 0 0,1-1 0 0 0,0 1-1 0 0,-1 0 1 0 0,1 0 0 0 0,0 0-1 0 0,-1 0 1 0 0,1-1-1 0 0,0 1 1 0 0,0 0 0 0 0,-1 0-1 0 0,1-1 1 0 0,0 1 0 0 0,-1 0-1 0 0,1 0 1 0 0,0-1-1 0 0,0 1 1 0 0,0 0 0 0 0,-1-1-1 0 0,1 1 1 0 0,0 0 0 0 0,0-1-1 0 0,0 1 1 0 0,0 0-1 0 0,0-1 1 0 0,0 1 0 0 0,-1-1-1 0 0,1 1 1 0 0,0-1 0 0 0,1-7-2 0 0,1 0 1 0 0,-1 0 0 0 0,1 0 0 0 0,0 0 0 0 0,1 0 0 0 0,0 0 0 0 0,0 1 0 0 0,1-1 0 0 0,0 1 0 0 0,0 0 0 0 0,1 0 0 0 0,0 0 0 0 0,0 1 0 0 0,0 0 0 0 0,1 0 0 0 0,8-7 0 0 0,-6 5-17 0 0,0 1 1 0 0,1 1-1 0 0,0-1 0 0 0,0 1 1 0 0,1 0-1 0 0,-1 1 0 0 0,1 1 1 0 0,1-1-1 0 0,-1 1 0 0 0,0 1 1 0 0,20-4-1 0 0,-25 6 19 0 0,-1 1 0 0 0,0-1 0 0 0,1 1 0 0 0,-1 0 0 0 0,0 1 0 0 0,0-1 0 0 0,1 1 0 0 0,-1 0 0 0 0,0 0-1 0 0,0 0 1 0 0,0 0 0 0 0,0 1 0 0 0,0-1 0 0 0,0 1 0 0 0,0 0 0 0 0,0 1 0 0 0,-1-1 0 0 0,1 1 0 0 0,-1-1 0 0 0,0 1 0 0 0,0 0 0 0 0,0 0 0 0 0,0 0-1 0 0,0 1 1 0 0,-1-1 0 0 0,1 1 0 0 0,1 4 0 0 0,3 7-197 0 0,0 0 0 0 0,-2 1-1 0 0,0 0 1 0 0,0 0 0 0 0,2 25 0 0 0,0-10-1404 0 0,-3-5-1501 0 0</inkml:trace>
</inkml:ink>
</file>

<file path=ppt/ink/ink2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58.355"/>
    </inkml:context>
    <inkml:brush xml:id="br0">
      <inkml:brushProperty name="width" value="0.2" units="cm"/>
      <inkml:brushProperty name="height" value="0.2" units="cm"/>
      <inkml:brushProperty name="color" value="#E71224"/>
    </inkml:brush>
  </inkml:definitions>
  <inkml:trace contextRef="#ctx0" brushRef="#br0">0 254 624 0 0,'4'-1'1234'0'0,"63"-22"2925"0"0,26-11-2148 0 0,-81 29-1791 0 0,0 0-1 0 0,-1-1 1 0 0,0-1-1 0 0,0 0 0 0 0,14-12 1 0 0,-22 16-191 0 0,0 1-1 0 0,-1-1 1 0 0,1 0-1 0 0,-1 0 1 0 0,0 0 0 0 0,0 0-1 0 0,0-1 1 0 0,3-5 0 0 0,-5 7-18 0 0,1 1 0 0 0,-1-1 0 0 0,1 0 0 0 0,-1 1-1 0 0,0-1 1 0 0,1 0 0 0 0,-1 1 0 0 0,0-1 0 0 0,0 0 0 0 0,0 0 0 0 0,0 1 0 0 0,-1-1 0 0 0,1 0 0 0 0,0 1 0 0 0,-1-1 0 0 0,1 0 0 0 0,-1 1 0 0 0,1-1 0 0 0,-1 1 0 0 0,-1-3 0 0 0,1 3 16 0 0,-1-1 1 0 0,1 1-1 0 0,0 0 1 0 0,-1-1-1 0 0,1 1 0 0 0,-1 0 1 0 0,1 0-1 0 0,-1 0 1 0 0,1 0-1 0 0,-1 1 0 0 0,0-1 1 0 0,0 0-1 0 0,1 1 1 0 0,-1-1-1 0 0,0 1 0 0 0,-4-1 1 0 0,2 0 38 0 0,-1 1 0 0 0,1 0 0 0 0,-1 0 0 0 0,1 0 0 0 0,-9 2 0 0 0,-4 2 115 0 0,0 0 0 0 0,0 2-1 0 0,1 0 1 0 0,0 0 0 0 0,-24 15 0 0 0,35-19-140 0 0,0 1 1 0 0,0 0 0 0 0,1 0-1 0 0,0 1 1 0 0,-1-1-1 0 0,1 1 1 0 0,1 0 0 0 0,-1 0-1 0 0,0 0 1 0 0,1 0-1 0 0,0 1 1 0 0,0-1 0 0 0,0 1-1 0 0,1 0 1 0 0,-1 0 0 0 0,1 0-1 0 0,1 0 1 0 0,-1 0-1 0 0,1 1 1 0 0,-1-1 0 0 0,0 11-1 0 0,3-12 0 0 0,-1 0 0 0 0,1 1 0 0 0,0-1 0 0 0,0 0 0 0 0,1 0 0 0 0,-1 0 0 0 0,1 0 0 0 0,0 0 0 0 0,0 0 0 0 0,0-1 0 0 0,0 1 0 0 0,1 0 0 0 0,-1-1 0 0 0,1 0 0 0 0,0 0 0 0 0,0 0 0 0 0,1 0 0 0 0,-1 0 0 0 0,0 0 0 0 0,5 2 0 0 0,4 2 18 0 0,1 0 0 0 0,-1 0 0 0 0,1-1 0 0 0,25 8 0 0 0,-25-10-42 0 0,1 0-1 0 0,-1-1 0 0 0,1-1 0 0 0,0 0 1 0 0,0 0-1 0 0,0-2 0 0 0,0 0 0 0 0,0 0 1 0 0,0-2-1 0 0,0 1 0 0 0,0-2 1 0 0,0 0-1 0 0,0 0 0 0 0,-1-2 0 0 0,0 1 1 0 0,0-2-1 0 0,0 0 0 0 0,0 0 0 0 0,-1-1 1 0 0,0-1-1 0 0,-1 0 0 0 0,0 0 1 0 0,0-1-1 0 0,0-1 0 0 0,-1 0 0 0 0,13-17 1 0 0,-15 16-15 0 0,0-1 1 0 0,-1 1-1 0 0,-1-2 1 0 0,0 1-1 0 0,6-19 1 0 0,14-66 0 0 0,-24 84-7 0 0,-1 11-7 0 0,-1 1 1 0 0,0-1 0 0 0,0 1 0 0 0,1-1-1 0 0,-1 1 1 0 0,1-1 0 0 0,-1 1 0 0 0,1 0-1 0 0,0-1 1 0 0,-1 1 0 0 0,1 0 0 0 0,0 0-1 0 0,0-1 1 0 0,1 0 0 0 0,-1 2 7 0 0,-1 0 0 0 0,1 0 1 0 0,-1-1-1 0 0,0 1 0 0 0,1 0 1 0 0,-1 0-1 0 0,1 0 0 0 0,-1 0 0 0 0,0 0 1 0 0,1 0-1 0 0,-1 1 0 0 0,1-1 1 0 0,-1 0-1 0 0,0 0 0 0 0,1 0 1 0 0,-1 0-1 0 0,0 0 0 0 0,1 0 0 0 0,-1 1 1 0 0,0-1-1 0 0,1 0 0 0 0,-1 0 1 0 0,0 1-1 0 0,1-1 0 0 0,-1 0 1 0 0,0 0-1 0 0,0 1 0 0 0,1-1 0 0 0,-1 0 1 0 0,0 1-1 0 0,0-1 0 0 0,1 1 1 0 0,3 6-11 0 0,0 0 1 0 0,-1 0 0 0 0,5 14 0 0 0,-5-14 14 0 0,15 42-8 0 0,-3 1 1 0 0,-1 0-1 0 0,8 62 0 0 0,-21-105 4 0 0,0-1-1 0 0,0 1 1 0 0,-1 0 0 0 0,0 0 0 0 0,0 0-1 0 0,0 0 1 0 0,-1 0 0 0 0,0 0 0 0 0,-1 0-1 0 0,1 0 1 0 0,-1 0 0 0 0,-1-1 0 0 0,1 1-1 0 0,-1-1 1 0 0,0 0 0 0 0,0 0 0 0 0,-1 0-1 0 0,0 0 1 0 0,0 0 0 0 0,-1-1 0 0 0,1 1-1 0 0,-1-1 1 0 0,0-1 0 0 0,0 1 0 0 0,-1-1-1 0 0,0 0 1 0 0,1 0 0 0 0,-1 0 0 0 0,0-1-1 0 0,-1 0 1 0 0,1 0 0 0 0,-1 0 0 0 0,-11 2-1 0 0,5-1-672 0 0,0-1 0 0 0,-1 0 1 0 0,-14 1-1 0 0,-19-4-4580 0 0,28 0 1698 0 0</inkml:trace>
</inkml:ink>
</file>

<file path=ppt/ink/ink2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59.365"/>
    </inkml:context>
    <inkml:brush xml:id="br0">
      <inkml:brushProperty name="width" value="0.2" units="cm"/>
      <inkml:brushProperty name="height" value="0.2" units="cm"/>
      <inkml:brushProperty name="color" value="#E71224"/>
    </inkml:brush>
  </inkml:definitions>
  <inkml:trace contextRef="#ctx0" brushRef="#br0">4 1 964 0 0,'0'0'2394'0'0,"-1"2"-1926"0"0,0 3-163 0 0,0 0 0 0 0,1 0-1 0 0,-1 1 1 0 0,1-1 0 0 0,0 0-1 0 0,1 0 1 0 0,1 9-1 0 0,9 41 1213 0 0,-6-36-1035 0 0,69 321 3455 0 0,-59-266-828 0 0,-12-75-2930 0 0,-1 0-160 0 0,1-1 0 0 0,-1 1 0 0 0,0 0-1 0 0,0-1 1 0 0,0 1 0 0 0,0-1 0 0 0,0 0-1 0 0,0 0 1 0 0,0 1 0 0 0,0-1-1 0 0,0-1 1 0 0,-1 1 0 0 0,3-4 0 0 0,19-41-321 0 0,-10 20 105 0 0,-3 8 44 0 0,-3 4 40 0 0,0 1 0 0 0,2 0 0 0 0,-1 0 0 0 0,2 0 0 0 0,12-13 0 0 0,-20 26 102 0 0,-1 0 0 0 0,1-1-1 0 0,0 1 1 0 0,0 1 0 0 0,-1-1 0 0 0,1 0-1 0 0,0 0 1 0 0,0 1 0 0 0,0-1 0 0 0,0 1 0 0 0,0-1-1 0 0,0 1 1 0 0,0 0 0 0 0,0 0 0 0 0,0 0 0 0 0,0 0-1 0 0,0 0 1 0 0,0 0 0 0 0,0 0 0 0 0,0 1-1 0 0,-1-1 1 0 0,1 1 0 0 0,0-1 0 0 0,0 1 0 0 0,0 0-1 0 0,0 0 1 0 0,2 1 0 0 0,4 3-3 0 0,0 0 0 0 0,0 1 0 0 0,-1 0 0 0 0,8 7 0 0 0,-13-11 1 0 0,54 49 68 0 0,83 71-252 0 0,-122-109 377 0 0,1-1-1 0 0,0 0 1 0 0,1-1 0 0 0,0-1-1 0 0,1-1 1 0 0,24 8 0 0 0,-42-17-145 0 0,0 1 0 0 0,0-1 0 0 0,0 0 0 0 0,0 0-1 0 0,0 0 1 0 0,0 0 0 0 0,0 0 0 0 0,0 0 0 0 0,0 0 0 0 0,0-1 0 0 0,0 1 0 0 0,0-1 0 0 0,0 0 0 0 0,0 1 0 0 0,-1-1 0 0 0,1 0 0 0 0,0 0 0 0 0,0 0 0 0 0,3-3 0 0 0,-2 2-7 0 0,0-1 1 0 0,0 0-1 0 0,-1 0 1 0 0,1 0-1 0 0,-1 0 1 0 0,1 0-1 0 0,-1 0 1 0 0,0-1-1 0 0,2-3 1 0 0,-1-1-10 0 0,-1 0 0 0 0,1-1 0 0 0,-1 1 0 0 0,-1 0 0 0 0,0-1 0 0 0,0 1 0 0 0,0-12 0 0 0,-7-61 11 0 0,4 65-23 0 0,-2-18 4 0 0,-1 0-1 0 0,-12-39 1 0 0,12 59-39 0 0,0-1 1 0 0,0 1 0 0 0,-1 0-1 0 0,-1 1 1 0 0,0-1 0 0 0,-1 1-1 0 0,-13-16 1 0 0,-9 3-531 0 0,18 18-1496 0 0</inkml:trace>
</inkml:ink>
</file>

<file path=ppt/ink/ink2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6:59.689"/>
    </inkml:context>
    <inkml:brush xml:id="br0">
      <inkml:brushProperty name="width" value="0.2" units="cm"/>
      <inkml:brushProperty name="height" value="0.2" units="cm"/>
      <inkml:brushProperty name="color" value="#E71224"/>
    </inkml:brush>
  </inkml:definitions>
  <inkml:trace contextRef="#ctx0" brushRef="#br0">0 3 744 0 0,'3'0'7'0'0,"1"-1"594"0"0,-1 0-1 0 0,0 1 1 0 0,1 0 0 0 0,-1 0-1 0 0,0 0 1 0 0,1 0-1 0 0,-1 0 1 0 0,0 1 0 0 0,1 0-1 0 0,5 1 1 0 0,-9-1-541 0 0,0 0 1 0 0,0 0-1 0 0,0 0 0 0 0,0 0 0 0 0,0-1 1 0 0,0 1-1 0 0,0 0 0 0 0,-1 0 0 0 0,1 0 1 0 0,0 0-1 0 0,0-1 0 0 0,-1 1 1 0 0,1 0-1 0 0,-1 0 0 0 0,1-1 0 0 0,-1 2 49 0 0,-7 16 428 0 0,1 1 1 0 0,0 0-1 0 0,-4 25 0 0 0,9-34-419 0 0,1-1-1 0 0,0 1 0 0 0,1-1 1 0 0,0 1-1 0 0,1-1 0 0 0,0 0 1 0 0,1 1-1 0 0,-1-1 0 0 0,5 10 1 0 0,-3-9-67 0 0,1-1 0 0 0,0 0 0 0 0,0 0 0 0 0,1 0 0 0 0,0-1 0 0 0,1 1 0 0 0,0-1 0 0 0,0 0 0 0 0,1-1 0 0 0,0 0 0 0 0,0 0 1 0 0,1 0-1 0 0,-1-1 0 0 0,1 0 0 0 0,1-1 0 0 0,-1 0 0 0 0,1 0 0 0 0,0 0 0 0 0,0-1 0 0 0,1-1 0 0 0,12 4 0 0 0,-20-7-40 0 0,0 0 0 0 0,0 0 0 0 0,0 0-1 0 0,0 0 1 0 0,0-1 0 0 0,0 1 0 0 0,0 0-1 0 0,0-1 1 0 0,0 0 0 0 0,0 1 0 0 0,0-1-1 0 0,0 0 1 0 0,0 0 0 0 0,0 0 0 0 0,0 0 0 0 0,-1-1-1 0 0,1 1 1 0 0,0 0 0 0 0,-1-1 0 0 0,1 1-1 0 0,-1-1 1 0 0,0 1 0 0 0,1-1 0 0 0,-1 0 0 0 0,0 1-1 0 0,0-1 1 0 0,0 0 0 0 0,0 0 0 0 0,-1 0-1 0 0,2-4 1 0 0,-1 0-4 0 0,-1 0 1 0 0,0 1-1 0 0,0-1 0 0 0,0 0 0 0 0,-1 0 1 0 0,1 0-1 0 0,-2 0 0 0 0,1 0 0 0 0,-1 1 1 0 0,-3-10-1 0 0,0 2-7 0 0,-1 1 0 0 0,0-1 0 0 0,-11-15 0 0 0,0 5-75 0 0,-1 0 1 0 0,-38-37-1 0 0,40 46-1906 0 0,0 0 0 0 0,-22-14 0 0 0</inkml:trace>
</inkml:ink>
</file>

<file path=ppt/ink/ink2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00.016"/>
    </inkml:context>
    <inkml:brush xml:id="br0">
      <inkml:brushProperty name="width" value="0.2" units="cm"/>
      <inkml:brushProperty name="height" value="0.2" units="cm"/>
      <inkml:brushProperty name="color" value="#E71224"/>
    </inkml:brush>
  </inkml:definitions>
  <inkml:trace contextRef="#ctx0" brushRef="#br0">1 0 896 0 0,'8'5'481'0'0,"0"0"1"0"0,-1 1-1 0 0,0 0 0 0 0,0 0 1 0 0,0 1-1 0 0,0-1 0 0 0,-1 1 1 0 0,0 1-1 0 0,-1-1 0 0 0,0 1 1 0 0,0 0-1 0 0,6 15 0 0 0,4 11 627 0 0,19 66-1 0 0,-28-78-620 0 0,-2-11-113 0 0,-1 0 0 0 0,-1 0 0 0 0,0 0 1 0 0,0 0-1 0 0,-1 0 0 0 0,-1 0 0 0 0,0 1 0 0 0,0-1 0 0 0,-3 14 713 0 0,2-26-1059 0 0,0 1 0 0 0,0 0 0 0 0,1-1 0 0 0,-1 1 0 0 0,0-1 0 0 0,0 1 0 0 0,0 0 0 0 0,1-1 0 0 0,-1 0 0 0 0,0 1 0 0 0,1-1 0 0 0,-1 1 0 0 0,0-1 0 0 0,1 0 0 0 0,-1 0 0 0 0,1 1 0 0 0,-1-1 0 0 0,1 0 0 0 0,-1 0 0 0 0,1 0 0 0 0,0 1 0 0 0,-1-1 0 0 0,1 0 0 0 0,-1-2 0 0 0,-5-23 165 0 0,5 11-247 0 0,0 1 0 0 0,1-1 0 0 0,0 0 0 0 0,1 0 0 0 0,1 1 0 0 0,0-1 0 0 0,1 1 0 0 0,1-1 0 0 0,0 1-1 0 0,1 0 1 0 0,11-23 0 0 0,-12 32-442 0 0,0 1 0 0 0,-1-1-1 0 0,2 1 1 0 0,-1-1 0 0 0,0 1-1 0 0,1 1 1 0 0,0-1-1 0 0,0 0 1 0 0,0 1 0 0 0,0 0-1 0 0,0 0 1 0 0,1 1 0 0 0,0 0-1 0 0,-1 0 1 0 0,1 0 0 0 0,0 0-1 0 0,0 1 1 0 0,9-1-1 0 0,4 0-2221 0 0</inkml:trace>
</inkml:ink>
</file>

<file path=ppt/ink/ink2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00.507"/>
    </inkml:context>
    <inkml:brush xml:id="br0">
      <inkml:brushProperty name="width" value="0.2" units="cm"/>
      <inkml:brushProperty name="height" value="0.2" units="cm"/>
      <inkml:brushProperty name="color" value="#E71224"/>
    </inkml:brush>
  </inkml:definitions>
  <inkml:trace contextRef="#ctx0" brushRef="#br0">367 57 716 0 0,'-3'-11'2026'0'0,"-1"0"0"0"0,0 0 1 0 0,-7-13-1 0 0,7 60-993 0 0,8 71 315 0 0,-1-66-971 0 0,-1 0 1 0 0,-3 0 0 0 0,-8 71-1 0 0,6-101-343 0 0,1 1 0 0 0,-1-1 0 0 0,-1 1-1 0 0,0-1 1 0 0,-1 0 0 0 0,0 0-1 0 0,0-1 1 0 0,-1 1 0 0 0,-1-1 0 0 0,0-1-1 0 0,0 1 1 0 0,-1-1 0 0 0,0-1-1 0 0,0 1 1 0 0,-1-1 0 0 0,0-1 0 0 0,-15 10-1 0 0,15-11-4 0 0,-1-1 1 0 0,0 0-1 0 0,0-1 0 0 0,0 0 0 0 0,-1 0 0 0 0,1-1 1 0 0,-1-1-1 0 0,0 0 0 0 0,-13 1 0 0 0,20-2-24 0 0,0-1 0 0 0,0 0 0 0 0,1 0 0 0 0,-1 0 0 0 0,0 0 0 0 0,1-1 0 0 0,-1 1 0 0 0,0-1 1 0 0,1 0-1 0 0,-1 0 0 0 0,1-1 0 0 0,-1 1 0 0 0,1-1 0 0 0,0 0 0 0 0,-1 1 0 0 0,1-1 0 0 0,0-1 0 0 0,0 1 0 0 0,0 0 0 0 0,1-1 0 0 0,-1 0 0 0 0,1 1 0 0 0,-1-1 0 0 0,1 0 0 0 0,0 0 0 0 0,0 0 0 0 0,0-1 0 0 0,0 1 0 0 0,1 0 0 0 0,-1-1 0 0 0,0-3 0 0 0,1 4-11 0 0,0 0-1 0 0,0 0 1 0 0,1 1 0 0 0,-1-1-1 0 0,1 0 1 0 0,-1 0 0 0 0,1 0 0 0 0,0 1-1 0 0,0-1 1 0 0,1 0 0 0 0,-1 0-1 0 0,0 0 1 0 0,1 0 0 0 0,0 1-1 0 0,0-1 1 0 0,0 0 0 0 0,0 1 0 0 0,0-1-1 0 0,0 0 1 0 0,0 1 0 0 0,1-1-1 0 0,0 1 1 0 0,-1 0 0 0 0,1 0-1 0 0,0 0 1 0 0,0-1 0 0 0,0 2 0 0 0,0-1-1 0 0,1 0 1 0 0,2-2 0 0 0,-1 2-2 0 0,0 0 1 0 0,0 0 0 0 0,0 1-1 0 0,1-1 1 0 0,-1 1 0 0 0,1 0 0 0 0,-1 0-1 0 0,1 0 1 0 0,0 1 0 0 0,-1-1-1 0 0,1 1 1 0 0,-1 0 0 0 0,1 1-1 0 0,0-1 1 0 0,-1 1 0 0 0,1 0 0 0 0,5 2-1 0 0,5 2 20 0 0,0 2 1 0 0,-1 0-1 0 0,1 0 0 0 0,-1 2 1 0 0,-1-1-1 0 0,17 15 0 0 0,67 68-3787 0 0,-69-62-152 0 0</inkml:trace>
</inkml:ink>
</file>

<file path=ppt/ink/ink2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00.933"/>
    </inkml:context>
    <inkml:brush xml:id="br0">
      <inkml:brushProperty name="width" value="0.2" units="cm"/>
      <inkml:brushProperty name="height" value="0.2" units="cm"/>
      <inkml:brushProperty name="color" value="#E71224"/>
    </inkml:brush>
  </inkml:definitions>
  <inkml:trace contextRef="#ctx0" brushRef="#br0">85 44 624 0 0,'6'-9'7703'0'0,"3"5"-7407"0"0,0 0 0 0 0,0 0 0 0 0,1 1 0 0 0,-1 0 0 0 0,1 1 0 0 0,11-2 0 0 0,62-4 254 0 0,-73 7-365 0 0,-8 1-172 0 0,5-1 49 0 0,0 1 0 0 0,0 0 0 0 0,13 1 0 0 0,-19-1-21 0 0,1 1 0 0 0,0-1 0 0 0,-1 1 0 0 0,1-1 0 0 0,0 1 0 0 0,-1 0 0 0 0,1-1 0 0 0,-1 1 0 0 0,1 0 0 0 0,-1 0 0 0 0,1 0 0 0 0,-1 0 0 0 0,0 0 0 0 0,1 1 0 0 0,-1-1 0 0 0,0 0 0 0 0,0 0 0 0 0,0 1 0 0 0,0-1 0 0 0,1 3 0 0 0,1 2 117 0 0,-1 0 0 0 0,0 1 0 0 0,-1-1 1 0 0,1 1-1 0 0,-1 0 0 0 0,0-1 0 0 0,0 11 0 0 0,-4 56 902 0 0,0-20-334 0 0,7 35 332 0 0,-1-41-512 0 0,-4 49 0 0 0,0-82-439 0 0,0-1 0 0 0,-1 0 0 0 0,0-1 1 0 0,-2 1-1 0 0,1 0 0 0 0,-1-1 0 0 0,-1 0 0 0 0,-9 18 0 0 0,10-24-78 0 0,1-1-1 0 0,-1 0 1 0 0,0 0 0 0 0,0-1-1 0 0,-1 1 1 0 0,0-1 0 0 0,1 0-1 0 0,-1 0 1 0 0,-1-1 0 0 0,1 1-1 0 0,0-1 1 0 0,-1 0 0 0 0,0 0-1 0 0,1-1 1 0 0,-1 0 0 0 0,0 0-1 0 0,0 0 1 0 0,-1-1-1 0 0,1 0 1 0 0,0 0 0 0 0,0 0-1 0 0,-9-1 1 0 0,-7-1-1092 0 0,1-1 0 0 0,-1 0-1 0 0,1-2 1 0 0,-1 0 0 0 0,-23-9-1 0 0,16 0-4309 0 0</inkml:trace>
</inkml:ink>
</file>

<file path=ppt/ink/ink2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01.718"/>
    </inkml:context>
    <inkml:brush xml:id="br0">
      <inkml:brushProperty name="width" value="0.2" units="cm"/>
      <inkml:brushProperty name="height" value="0.2" units="cm"/>
      <inkml:brushProperty name="color" value="#E71224"/>
    </inkml:brush>
  </inkml:definitions>
  <inkml:trace contextRef="#ctx0" brushRef="#br0">229 25 40 0 0,'0'0'1486'0'0,"-4"-15"1560"0"0,4 14-2941 0 0,-1 0 0 0 0,0 0 0 0 0,0 0 0 0 0,0 1 0 0 0,0-1 0 0 0,0 0 0 0 0,0 1 0 0 0,0-1 0 0 0,0 1 0 0 0,0-1 0 0 0,-1 1 0 0 0,1-1 0 0 0,0 1 0 0 0,0 0-1 0 0,0 0 1 0 0,-1 0 0 0 0,1-1 0 0 0,0 1 0 0 0,0 0 0 0 0,0 1 0 0 0,-3-1 0 0 0,1 1 55 0 0,-1 0-1 0 0,0 0 1 0 0,1 0 0 0 0,-1 1 0 0 0,1-1-1 0 0,-1 1 1 0 0,-3 2 0 0 0,-4 4 161 0 0,0 0 0 0 0,0 1 0 0 0,-11 11 1 0 0,10-8-128 0 0,1 1 0 0 0,0 0 0 0 0,1 1 0 0 0,0 0 0 0 0,1 1 1 0 0,1 0-1 0 0,0 1 0 0 0,2-1 0 0 0,-10 31 0 0 0,13-37-101 0 0,1 0-1 0 0,0 1 0 0 0,1-1 0 0 0,0 1 1 0 0,0 0-1 0 0,1-1 0 0 0,0 1 1 0 0,1 0-1 0 0,0-1 0 0 0,0 1 1 0 0,1-1-1 0 0,1 0 0 0 0,-1 1 1 0 0,2-1-1 0 0,-1 0 0 0 0,1 0 1 0 0,0-1-1 0 0,11 17 0 0 0,-8-16 49 0 0,1 1 0 0 0,0-2 0 0 0,0 1 0 0 0,12 9 1 0 0,-15-14-25 0 0,0-1 1 0 0,0 1 0 0 0,1-1 0 0 0,-1-1 0 0 0,1 1 0 0 0,-1-1 0 0 0,1 0 0 0 0,0 0-1 0 0,9 2 1 0 0,-13-4-98 0 0,1 0 0 0 0,-1 0 0 0 0,0 0 0 0 0,1 0 0 0 0,-1 0 0 0 0,0 0 0 0 0,0 0 0 0 0,1-1 0 0 0,-1 1 0 0 0,0-1-1 0 0,0 0 1 0 0,1 0 0 0 0,-1 0 0 0 0,0 0 0 0 0,0 0 0 0 0,0 0 0 0 0,0 0 0 0 0,0-1 0 0 0,-1 1 0 0 0,1 0 0 0 0,0-1 0 0 0,-1 0-1 0 0,1 0 1 0 0,-1 1 0 0 0,1-1 0 0 0,-1 0 0 0 0,1-2 0 0 0,2-3 8 0 0,0 0 0 0 0,-1-1-1 0 0,0 1 1 0 0,-1-1 0 0 0,3-14-1 0 0,-3 9-3 0 0,0 1-1 0 0,-2-1 0 0 0,1 1 1 0 0,-2-1-1 0 0,1 0 0 0 0,-2 1 0 0 0,0-1 1 0 0,0 1-1 0 0,-1 0 0 0 0,-1-1 1 0 0,-9-20-1 0 0,3 11-631 0 0,-20-34 1 0 0,-18-14-4348 0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19:26.908"/>
    </inkml:context>
    <inkml:brush xml:id="br0">
      <inkml:brushProperty name="width" value="0.08571" units="cm"/>
      <inkml:brushProperty name="height" value="0.08571" units="cm"/>
      <inkml:brushProperty name="color" value="#E71224"/>
    </inkml:brush>
  </inkml:definitions>
  <inkml:trace contextRef="#ctx0" brushRef="#br0">0 64 14279,'12'13'2608,"-1"-4"-2158,13-11-90,-2-2-90,3 0 0,2-1-91,3-1 1,-1 0-360,2 0-269,-1-1-271,-1 1-9111,25-10 9815,-27 8 0,13-5 0,-34 10 1</inkml:trace>
</inkml:ink>
</file>

<file path=ppt/ink/ink2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02.574"/>
    </inkml:context>
    <inkml:brush xml:id="br0">
      <inkml:brushProperty name="width" value="0.2" units="cm"/>
      <inkml:brushProperty name="height" value="0.2" units="cm"/>
      <inkml:brushProperty name="color" value="#E71224"/>
    </inkml:brush>
  </inkml:definitions>
  <inkml:trace contextRef="#ctx0" brushRef="#br0">248 0 1416 0 0,'-35'21'2331'0'0,"1"1"0"0"0,-51 44 1 0 0,76-58-2171 0 0,1 0 1 0 0,-1 1 0 0 0,1 0 0 0 0,1 0-1 0 0,0 0 1 0 0,0 1 0 0 0,1 1 0 0 0,0-1-1 0 0,1 1 1 0 0,0 0 0 0 0,1 0 0 0 0,0 0 0 0 0,-4 19-1 0 0,8-23-114 0 0,0-1 0 0 0,0 1 0 0 0,0-1 0 0 0,1 1-1 0 0,0-1 1 0 0,0 0 0 0 0,1 1 0 0 0,0-1 0 0 0,0 0-1 0 0,0 0 1 0 0,1 0 0 0 0,-1 0 0 0 0,2 0 0 0 0,-1-1 0 0 0,1 1-1 0 0,-1-1 1 0 0,2 0 0 0 0,-1 0 0 0 0,0 0 0 0 0,7 4-1 0 0,2 3-1 0 0,0-1-1 0 0,1-1 0 0 0,1 0 0 0 0,0-1 1 0 0,0 0-1 0 0,21 8 0 0 0,-19-11-363 0 0,0 0 0 0 0,0 0 1 0 0,1-2-1 0 0,31 5 0 0 0,-37-8-706 0 0,0-1 0 0 0,0 0 0 0 0,0-1 0 0 0,21-3 0 0 0,-11-2-1819 0 0</inkml:trace>
</inkml:ink>
</file>

<file path=ppt/ink/ink2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02.955"/>
    </inkml:context>
    <inkml:brush xml:id="br0">
      <inkml:brushProperty name="width" value="0.2" units="cm"/>
      <inkml:brushProperty name="height" value="0.2" units="cm"/>
      <inkml:brushProperty name="color" value="#E71224"/>
    </inkml:brush>
  </inkml:definitions>
  <inkml:trace contextRef="#ctx0" brushRef="#br0">138 29 1052 0 0,'0'-3'1274'0'0,"0"2"-1150"0"0,0 0 0 0 0,1 0 0 0 0,-1 0 1 0 0,0 1-1 0 0,0-1 0 0 0,0 0 0 0 0,0 0 1 0 0,0 0-1 0 0,0 0 0 0 0,0 0 1 0 0,0 0-1 0 0,0 1 0 0 0,-1-1 0 0 0,1 0 1 0 0,0 0-1 0 0,0 0 0 0 0,-1 0 1 0 0,1 1-1 0 0,-1-1 0 0 0,1 0 0 0 0,0 0 1 0 0,-1 1-1 0 0,0-1 0 0 0,1 0 0 0 0,-1 1 1 0 0,1-1-1 0 0,-1 1 0 0 0,0-1 1 0 0,1 1-1 0 0,-1-1 0 0 0,0 1 0 0 0,-1-1 1 0 0,0 0-20 0 0,1 1 1 0 0,-1 0 0 0 0,0 0-1 0 0,1 0 1 0 0,-1 0 0 0 0,0 0-1 0 0,0 1 1 0 0,1-1 0 0 0,-1 0-1 0 0,0 1 1 0 0,1-1 0 0 0,-1 1-1 0 0,1 0 1 0 0,-1 0 0 0 0,-2 1-1 0 0,-4 3 25 0 0,1 1 0 0 0,0-1 0 0 0,0 2 0 0 0,0-1 0 0 0,1 1 0 0 0,0 0 0 0 0,0 0 0 0 0,1 0 0 0 0,-1 1-1 0 0,2 0 1 0 0,-1 0 0 0 0,1 0 0 0 0,1 1 0 0 0,-1-1 0 0 0,1 1 0 0 0,1 0 0 0 0,0 0 0 0 0,0 0 0 0 0,0 0-1 0 0,1 0 1 0 0,1 13 0 0 0,-1-11-96 0 0,1 0-1 0 0,1 0 1 0 0,0 1-1 0 0,1-1 1 0 0,0-1 0 0 0,0 1-1 0 0,1 0 1 0 0,1 0-1 0 0,0-1 1 0 0,0 0-1 0 0,1 0 1 0 0,0 0-1 0 0,1 0 1 0 0,0-1-1 0 0,0 0 1 0 0,1 0 0 0 0,10 9-1 0 0,-4-7-331 0 0,0 0-1 0 0,0-1 1 0 0,1-1-1 0 0,17 9 1 0 0,-24-14-245 0 0,1-1 1 0 0,-1 0-1 0 0,1 0 0 0 0,-1-1 0 0 0,1 0 1 0 0,0 0-1 0 0,0-1 0 0 0,0 0 0 0 0,0 0 1 0 0,14-1-1 0 0,-2-2-1170 0 0</inkml:trace>
</inkml:ink>
</file>

<file path=ppt/ink/ink2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03.321"/>
    </inkml:context>
    <inkml:brush xml:id="br0">
      <inkml:brushProperty name="width" value="0.2" units="cm"/>
      <inkml:brushProperty name="height" value="0.2" units="cm"/>
      <inkml:brushProperty name="color" value="#E71224"/>
    </inkml:brush>
  </inkml:definitions>
  <inkml:trace contextRef="#ctx0" brushRef="#br0">5 249 156 0 0,'7'-17'1149'0'0,"0"0"0"0"0,-1-1 0 0 0,-1 0 0 0 0,-1 0 0 0 0,0 0 0 0 0,-2 0 0 0 0,2-25 0 0 0,-15 49-1073 0 0,0 20 201 0 0,7-13-158 0 0,0 1 0 0 0,0-1 0 0 0,1 1 0 0 0,0 0 0 0 0,2-1-1 0 0,-1 1 1 0 0,2 0 0 0 0,0 0 0 0 0,1 0 0 0 0,2 18 0 0 0,-2-26-102 0 0,1 1 0 0 0,-1-1 1 0 0,1 0-1 0 0,1 0 0 0 0,-1 0 0 0 0,1 0 0 0 0,0 0 0 0 0,0-1 1 0 0,0 1-1 0 0,1-1 0 0 0,0 0 0 0 0,0 0 0 0 0,1 0 0 0 0,-1-1 1 0 0,1 1-1 0 0,0-1 0 0 0,0 0 0 0 0,0-1 0 0 0,1 1 1 0 0,-1-1-1 0 0,1 0 0 0 0,0 0 0 0 0,0-1 0 0 0,7 3 0 0 0,-5-3-3 0 0,0 0 0 0 0,1 0-1 0 0,-1-1 1 0 0,1 0 0 0 0,-1 0-1 0 0,1-1 1 0 0,-1 0-1 0 0,1 0 1 0 0,-1-1 0 0 0,1 0-1 0 0,-1-1 1 0 0,17-4 0 0 0,-19 3-18 0 0,1 0 1 0 0,-1 0 0 0 0,0-1-1 0 0,0 0 1 0 0,0 0-1 0 0,0 0 1 0 0,-1-1 0 0 0,0 1-1 0 0,1-1 1 0 0,-2-1 0 0 0,1 1-1 0 0,-1-1 1 0 0,0 0-1 0 0,0 0 1 0 0,6-11 0 0 0,-2-5 51 0 0,-1 0 0 0 0,0 0 0 0 0,-2-1 1 0 0,0 0-1 0 0,2-41 0 0 0,3-11 876 0 0,-4 11-286 0 0,-6 62-618 0 0,0 3-33 0 0,-1 0 11 0 0,1 0 0 0 0,-1 0 1 0 0,0 0-1 0 0,1 0 1 0 0,0 0-1 0 0,-1 0 0 0 0,1 0 1 0 0,0 0-1 0 0,-1 0 1 0 0,1 0-1 0 0,0 0 0 0 0,0 0 1 0 0,0 0-1 0 0,0 0 1 0 0,0 0-1 0 0,0 1 0 0 0,1 24-41 0 0,-1-23 39 0 0,10 105-215 0 0,4 63 963 0 0,-13-130-2203 0 0,-2 1 0 0 0,-6 45-1 0 0,5-63-2543 0 0</inkml:trace>
</inkml:ink>
</file>

<file path=ppt/ink/ink2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03.871"/>
    </inkml:context>
    <inkml:brush xml:id="br0">
      <inkml:brushProperty name="width" value="0.2" units="cm"/>
      <inkml:brushProperty name="height" value="0.2" units="cm"/>
      <inkml:brushProperty name="color" value="#E71224"/>
    </inkml:brush>
  </inkml:definitions>
  <inkml:trace contextRef="#ctx0" brushRef="#br0">0 94 1412 0 0,'12'-6'3554'0'0,"-10"5"-3345"0"0,3 4 34 0 0,-1-1 0 0 0,0 1 0 0 0,1 0 0 0 0,-1 0 0 0 0,0 0 0 0 0,0 1 0 0 0,-1-1 0 0 0,1 1 0 0 0,-1 0 0 0 0,0 0 0 0 0,0 0 0 0 0,3 6 0 0 0,33 62 1140 0 0,-36-65-1272 0 0,9 17 121 0 0,3 6 97 0 0,15 45 1 0 0,-27-66-287 0 0,0 0 1 0 0,-1 1-1 0 0,0-1 1 0 0,-1 1-1 0 0,0-1 1 0 0,0 1-1 0 0,-1 0 1 0 0,0-1-1 0 0,-3 14 1 0 0,3-21-34 0 0,0-1 1 0 0,-1 1 0 0 0,1-1-1 0 0,-1 1 1 0 0,1-1 0 0 0,-1 0-1 0 0,0 1 1 0 0,0-1-1 0 0,1 0 1 0 0,-1 0 0 0 0,0 1-1 0 0,0-1 1 0 0,0 0 0 0 0,0 0-1 0 0,-2 1 1 0 0,3-2-8 0 0,-1 0 0 0 0,0 1 0 0 0,1-1 0 0 0,-1 0 0 0 0,0 1 0 0 0,1-1 0 0 0,-1 0 0 0 0,0 0 0 0 0,1 1 0 0 0,-1-1 0 0 0,0 0 0 0 0,0 0 0 0 0,1 0 0 0 0,-1 0 0 0 0,0 0 0 0 0,0 0 0 0 0,1 0 0 0 0,-1-1 0 0 0,0 1 0 0 0,1 0 0 0 0,-1 0 0 0 0,0 0 0 0 0,1-1 0 0 0,-1 1 0 0 0,0 0 0 0 0,1-1 0 0 0,-1 1 0 0 0,0 0 0 0 0,1-1 0 0 0,-1 1 0 0 0,1-1 0 0 0,-1 1 0 0 0,1-1 0 0 0,-1 0 0 0 0,-1-1-1 0 0,1 1 0 0 0,0-1 0 0 0,-1 0 0 0 0,1 1 0 0 0,0-1 0 0 0,0 0 0 0 0,0 0 1 0 0,0 0-1 0 0,1 0 0 0 0,-1 0 0 0 0,0 0 0 0 0,1 0 0 0 0,0 0 0 0 0,-1 0 0 0 0,1 0 0 0 0,0 0 0 0 0,0-1 0 0 0,0-3 0 0 0,1 2-2 0 0,0 0-1 0 0,0 0 1 0 0,1 0-1 0 0,-1 0 1 0 0,1 0-1 0 0,0 1 1 0 0,0-1-1 0 0,0 0 1 0 0,3-3-1 0 0,3-3-5 0 0,1 0-1 0 0,-1 1 1 0 0,1 1-1 0 0,1-1 0 0 0,18-11 1 0 0,123-62-56 0 0,-114 65 48 0 0,-1-1 0 0 0,-1-3 0 0 0,-1 0-1 0 0,43-36 1 0 0,-71 52 19 0 0,0 0 0 0 0,-1-1 0 0 0,1 1 0 0 0,-1-1 0 0 0,-1-1 0 0 0,1 1 1 0 0,-1-1-1 0 0,0 1 0 0 0,4-10 0 0 0,-8 12 31 0 0,0 3-36 0 0,0-1 0 0 0,1 1 0 0 0,-1 0 0 0 0,0 0 0 0 0,0 0-1 0 0,0 0 1 0 0,0 0 0 0 0,0-1 0 0 0,-1 1 0 0 0,1 0 0 0 0,0 0-1 0 0,0 0 1 0 0,-1 0 0 0 0,1 0 0 0 0,-1 0 0 0 0,1-1 0 0 0,-1 1-1 0 0,1 0 1 0 0,-1 1 0 0 0,0-1 0 0 0,1 0 0 0 0,-1 0 0 0 0,0 0-1 0 0,0 0 1 0 0,0 0 0 0 0,0 1 0 0 0,0-1 0 0 0,0 0 0 0 0,0 1-1 0 0,0-1 1 0 0,0 1 0 0 0,-1-1 0 0 0,-1 0 0 0 0,1 1 1 0 0,-1 1 0 0 0,1-1-1 0 0,-1 0 1 0 0,1 0-1 0 0,-1 1 1 0 0,1 0-1 0 0,0-1 1 0 0,-1 1-1 0 0,-2 2 1 0 0,1-2-1 0 0,0 1 0 0 0,1 0 0 0 0,-1 0 0 0 0,1 0 0 0 0,0 1 0 0 0,-1-1 0 0 0,1 1 1 0 0,0 0-1 0 0,0 0 0 0 0,1 0 0 0 0,-1 0 0 0 0,1 1 0 0 0,-1-1 0 0 0,1 1 0 0 0,0-1 0 0 0,0 1 0 0 0,1 0 0 0 0,-1-1 0 0 0,1 1 0 0 0,-2 8 0 0 0,1 6 19 0 0,1 0-1 0 0,0 0 0 0 0,1 0 1 0 0,1 0-1 0 0,6 29 0 0 0,-4-29 9 0 0,-1 1-1 0 0,0-1 0 0 0,-1 0 1 0 0,-1 1-1 0 0,-3 21 0 0 0,1-34-26 0 0,1 0 0 0 0,-1-1 0 0 0,0 1 0 0 0,0-1-1 0 0,-1 1 1 0 0,1-1 0 0 0,-1 0 0 0 0,0 0 0 0 0,-1 0 0 0 0,1-1-1 0 0,-1 1 1 0 0,0-1 0 0 0,0 0 0 0 0,-1 0 0 0 0,1 0-1 0 0,-1 0 1 0 0,-9 5 0 0 0,1-2-993 0 0,-1 0-1 0 0,0-1 1 0 0,-1 0 0 0 0,1-1-1 0 0,-26 5 1 0 0,8-3-2288 0 0</inkml:trace>
</inkml:ink>
</file>

<file path=ppt/ink/ink2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23.998"/>
    </inkml:context>
    <inkml:brush xml:id="br0">
      <inkml:brushProperty name="width" value="0.2" units="cm"/>
      <inkml:brushProperty name="height" value="0.2" units="cm"/>
      <inkml:brushProperty name="color" value="#E71224"/>
    </inkml:brush>
  </inkml:definitions>
  <inkml:trace contextRef="#ctx0" brushRef="#br0">0 29 320 0 0,'15'-28'11304'0'0,"-14"28"-11227"0"0,0 3 36 0 0,0 0 0 0 0,0 0 1 0 0,0 0-1 0 0,0 0 0 0 0,-1 0 0 0 0,0 0 1 0 0,1 0-1 0 0,-1 1 0 0 0,0-1 0 0 0,-1 3 0 0 0,1-4-99 0 0,1 45 778 0 0,-6 52 0 0 0,-1 10-347 0 0,10-21-209 0 0,-3-79-205 0 0,0 0-1 0 0,1 1 0 0 0,0-1 1 0 0,1 0-1 0 0,0-1 1 0 0,0 1-1 0 0,6 11 1 0 0,-7-18-18 0 0,0 1 1 0 0,-1 0-1 0 0,1-1 0 0 0,0 1 1 0 0,1-1-1 0 0,-1 1 0 0 0,0-1 1 0 0,1 0-1 0 0,-1 0 1 0 0,1 0-1 0 0,0 0 0 0 0,-1-1 1 0 0,1 1-1 0 0,0-1 1 0 0,0 0-1 0 0,0 0 0 0 0,0 0 1 0 0,0 0-1 0 0,1 0 1 0 0,-1 0-1 0 0,0-1 0 0 0,5 1 1 0 0,-3-2-21 0 0,0 0-1 0 0,0-1 1 0 0,0 1 0 0 0,-1-1 0 0 0,1 0 0 0 0,0 0 0 0 0,-1 0 0 0 0,1-1-1 0 0,-1 1 1 0 0,0-1 0 0 0,1 0 0 0 0,-2 0 0 0 0,1-1 0 0 0,0 1-1 0 0,-1-1 1 0 0,4-4 0 0 0,8-11-192 0 0,-2 0 1 0 0,15-28-1 0 0,-13 23 111 0 0,-12 18 57 0 0,9-15-187 0 0,-11 20 213 0 0,-1 1-1 0 0,0-1 1 0 0,0 1 0 0 0,1 0 0 0 0,-1-1-1 0 0,1 1 1 0 0,-1-1 0 0 0,0 1-1 0 0,1 0 1 0 0,-1-1 0 0 0,1 1-1 0 0,-1 0 1 0 0,0 0 0 0 0,1-1 0 0 0,-1 1-1 0 0,1 0 1 0 0,-1 0 0 0 0,1 0-1 0 0,-1 0 1 0 0,1-1 0 0 0,-1 1-1 0 0,1 0 1 0 0,-1 0 0 0 0,1 0 0 0 0,0 0-1 0 0,-1 0 1 0 0,1 0 0 0 0,-1 0-1 0 0,1 0 1 0 0,-1 1 0 0 0,1-1 0 0 0,-1 0-1 0 0,1 0 1 0 0,-1 0 0 0 0,1 0-1 0 0,0 1 1 0 0,18 14-69 0 0,-13-9 78 0 0,1-1 0 0 0,0 0 0 0 0,0 0 0 0 0,0 0 0 0 0,1-1 0 0 0,0 0 0 0 0,0 0 0 0 0,0-1-1 0 0,15 4 1 0 0,-11-5 60 0 0,1 0-1 0 0,-1 0 0 0 0,22-1 1 0 0,-30-2-10 0 0,1 1 0 0 0,0-1 0 0 0,-1 1 1 0 0,1-2-1 0 0,-1 1 0 0 0,1 0 0 0 0,-1-1 0 0 0,0 0 1 0 0,1 1-1 0 0,-1-2 0 0 0,0 1 0 0 0,6-5 0 0 0,-5 3-12 0 0,0-1 0 0 0,-1 0 0 0 0,1 0 0 0 0,-1 0 0 0 0,0-1 0 0 0,0 1-1 0 0,-1-1 1 0 0,0 0 0 0 0,0 0 0 0 0,0 0 0 0 0,-1-1 0 0 0,1 1 0 0 0,-2-1-1 0 0,1 1 1 0 0,-1-1 0 0 0,0 1 0 0 0,0-1 0 0 0,-1 0 0 0 0,1 0 0 0 0,-2 1-1 0 0,1-1 1 0 0,-1 0 0 0 0,0 0 0 0 0,-3-10 0 0 0,0 3-135 0 0,-1 0 1 0 0,0 0 0 0 0,0 0-1 0 0,-2 1 1 0 0,0 0-1 0 0,0 0 1 0 0,-1 0-1 0 0,-1 1 1 0 0,0 1-1 0 0,-15-16 1 0 0,-9-9-4145 0 0</inkml:trace>
</inkml:ink>
</file>

<file path=ppt/ink/ink2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24.372"/>
    </inkml:context>
    <inkml:brush xml:id="br0">
      <inkml:brushProperty name="width" value="0.2" units="cm"/>
      <inkml:brushProperty name="height" value="0.2" units="cm"/>
      <inkml:brushProperty name="color" value="#E71224"/>
    </inkml:brush>
  </inkml:definitions>
  <inkml:trace contextRef="#ctx0" brushRef="#br0">1 1 1320 0 0,'4'3'391'0'0,"0"1"0"0"0,0 1 0 0 0,0-1-1 0 0,0 0 1 0 0,-1 1 0 0 0,1 0 0 0 0,-1 0 0 0 0,-1 0-1 0 0,1 0 1 0 0,-1 0 0 0 0,1 1 0 0 0,-2-1 0 0 0,1 1-1 0 0,0-1 1 0 0,-1 1 0 0 0,1 9 0 0 0,0 10 493 0 0,-2 0 0 0 0,-3 41 1 0 0,1-11-303 0 0,-7 87 95 0 0,2-73-2263 0 0,6-59 985 0 0</inkml:trace>
</inkml:ink>
</file>

<file path=ppt/ink/ink2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24.770"/>
    </inkml:context>
    <inkml:brush xml:id="br0">
      <inkml:brushProperty name="width" value="0.2" units="cm"/>
      <inkml:brushProperty name="height" value="0.2" units="cm"/>
      <inkml:brushProperty name="color" value="#E71224"/>
    </inkml:brush>
  </inkml:definitions>
  <inkml:trace contextRef="#ctx0" brushRef="#br0">77 135 112 0 0,'-3'-11'1263'0'0,"-3"-8"-55"0"0,-1 0 1 0 0,0 1-1 0 0,-1 0 1 0 0,-11-18-1 0 0,18 35-1188 0 0,0 0-1 0 0,0 0 0 0 0,0 0 0 0 0,0 0 1 0 0,0 0-1 0 0,0 0 0 0 0,0 0 0 0 0,0 0 1 0 0,0 0-1 0 0,0 0 0 0 0,-3-1 0 0 0,4 2-89 0 0,-1 0 0 0 0,1 0 0 0 0,0 0 0 0 0,-1 0 0 0 0,1 0 0 0 0,-1-1-1 0 0,1 1 1 0 0,0 0 0 0 0,-1 0 0 0 0,1 0 0 0 0,-1 0 0 0 0,1 0 0 0 0,-1 0-1 0 0,1 1 1 0 0,0-1 0 0 0,-1 0 0 0 0,1 0 0 0 0,-1 0 0 0 0,1 0 0 0 0,0 0-1 0 0,-1 1 1 0 0,1-1 0 0 0,0 0 0 0 0,-1 0 0 0 0,1 1 0 0 0,-1 0-70 0 0</inkml:trace>
  <inkml:trace contextRef="#ctx0" brushRef="#br0" timeOffset="1">429 44 764 0 0,'3'1'260'0'0,"0"0"0"0"0,0 0 0 0 0,0 1-1 0 0,0 0 1 0 0,0-1 0 0 0,-1 1 0 0 0,1 0 0 0 0,0 0 0 0 0,-1 1 0 0 0,0-1-1 0 0,1 0 1 0 0,-1 1 0 0 0,0-1 0 0 0,0 1 0 0 0,0 0 0 0 0,-1 0 0 0 0,1 0-1 0 0,-1 0 1 0 0,0 0 0 0 0,1 0 0 0 0,0 5 0 0 0,1 7 252 0 0,0 0 1 0 0,-1 0-1 0 0,1 24 1 0 0,-2-13-128 0 0,15 152 902 0 0,-2-11-1555 0 0,-5-56-4986 0 0,-9-97 2977 0 0</inkml:trace>
</inkml:ink>
</file>

<file path=ppt/ink/ink2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25.104"/>
    </inkml:context>
    <inkml:brush xml:id="br0">
      <inkml:brushProperty name="width" value="0.2" units="cm"/>
      <inkml:brushProperty name="height" value="0.2" units="cm"/>
      <inkml:brushProperty name="color" value="#E71224"/>
    </inkml:brush>
  </inkml:definitions>
  <inkml:trace contextRef="#ctx0" brushRef="#br0">35 128 596 0 0,'-5'-2'1286'0'0,"-17"-12"1702"0"0,21 13-2895 0 0,1 1 0 0 0,-1 0 0 0 0,1-1-1 0 0,-1 1 1 0 0,1-1 0 0 0,-1 0 0 0 0,1 1 0 0 0,0-1-1 0 0,-1 1 1 0 0,1-1 0 0 0,-1 0 0 0 0,1 1 0 0 0,0-1-1 0 0,0 0 1 0 0,-1 1 0 0 0,1-1 0 0 0,0 0 0 0 0,0 1-1 0 0,0-1 1 0 0,0 0 0 0 0,0 1 0 0 0,0-1 0 0 0,0 0-1 0 0,0 0 1 0 0,0 1 0 0 0,0-1 0 0 0,1-1 0 0 0,3-1 219 0 0,55-9 280 0 0,117-10-1 0 0,-112 16-232 0 0,108-23 1 0 0,-142 20 509 0 0,-24 6-693 0 0,1 1 0 0 0,0 0 1 0 0,-1 0-1 0 0,11-1 0 0 0,-15 3-90 0 0,2 0-35 0 0,9 0 17 0 0,-12 0-51 0 0,0 0 0 0 0,0 1 0 0 0,0-1 0 0 0,-1 1-1 0 0,1-1 1 0 0,0 0 0 0 0,0 1 0 0 0,0-1 0 0 0,0 1-1 0 0,0 0 1 0 0,-1-1 0 0 0,1 1 0 0 0,0 0 0 0 0,0-1-1 0 0,-1 1 1 0 0,1 0 0 0 0,0 0 0 0 0,-1 0 0 0 0,1 0-1 0 0,-1-1 1 0 0,1 1 0 0 0,-1 0 0 0 0,0 0 0 0 0,1 2-1 0 0,5 22 319 0 0,12 290 1865 0 0,-12-267-1770 0 0,-8-38-831 0 0,-2-18-788 0 0,-3-20-548 0 0,8 17 1308 0 0,0-24-5267 0 0</inkml:trace>
</inkml:ink>
</file>

<file path=ppt/ink/ink2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25.580"/>
    </inkml:context>
    <inkml:brush xml:id="br0">
      <inkml:brushProperty name="width" value="0.2" units="cm"/>
      <inkml:brushProperty name="height" value="0.2" units="cm"/>
      <inkml:brushProperty name="color" value="#E71224"/>
    </inkml:brush>
  </inkml:definitions>
  <inkml:trace contextRef="#ctx0" brushRef="#br0">55 0 804 0 0,'-9'20'2878'0'0,"0"6"-1931"0"0,1 0 1 0 0,1 1-1 0 0,1 0 0 0 0,2 0 0 0 0,-2 34 0 0 0,5 142 1027 0 0,4-98-1342 0 0,5 144 1078 0 0,-8-248-1659 0 0,0-1 0 0 0,0 1 1 0 0,0 0-1 0 0,1-1 0 0 0,-2 1 0 0 0,1-1 0 0 0,0 1 0 0 0,0-1 0 0 0,0 1 0 0 0,0 0 1 0 0,0-1-1 0 0,0 1 0 0 0,-1-1 0 0 0,1 1 0 0 0,0-1 0 0 0,0 1 0 0 0,-1-1 0 0 0,1 1 1 0 0,0-1-1 0 0,-1 1 0 0 0,1-1 0 0 0,-1 1 0 0 0,1-1 0 0 0,0 1 0 0 0,-1-1 0 0 0,1 0 0 0 0,-1 1 1 0 0,0-1-1 0 0,0 0-41 0 0,1 0 0 0 0,0 0 0 0 0,-1 0-1 0 0,1 0 1 0 0,-1 0 0 0 0,1 0 0 0 0,0 0 0 0 0,-1-1 0 0 0,1 1 0 0 0,0 0 0 0 0,-1 0 0 0 0,1 0 0 0 0,0-1 0 0 0,-1 1 0 0 0,1 0 0 0 0,0-1-1 0 0,0 1 1 0 0,-1 0 0 0 0,1 0 0 0 0,0-1 0 0 0,0 1 0 0 0,0 0 0 0 0,-1-1 0 0 0,1 1 0 0 0,0-1 0 0 0,0 1 0 0 0,0 0 0 0 0,0-1 0 0 0,0 1-1 0 0,0 0 1 0 0,0-1 0 0 0,0 1 0 0 0,0-1 0 0 0,0 1 0 0 0,0 0 0 0 0,0-1 0 0 0,0 1 0 0 0,0-1 0 0 0,0-7-4 0 0,0 0 1 0 0,1 1 0 0 0,0-1 0 0 0,0 0-1 0 0,1 0 1 0 0,-1 1 0 0 0,2-1 0 0 0,-1 1-1 0 0,1-1 1 0 0,0 1 0 0 0,1 0 0 0 0,0 0-1 0 0,0 1 1 0 0,0-1 0 0 0,1 1 0 0 0,0 0-1 0 0,6-6 1 0 0,-5 6-18 0 0,1 0-1 0 0,-1 1 1 0 0,1 0-1 0 0,0 1 1 0 0,0-1 0 0 0,0 1-1 0 0,1 0 1 0 0,-1 1-1 0 0,1 0 1 0 0,0 0-1 0 0,14-2 1 0 0,-16 4 3 0 0,1 0 0 0 0,0 1 0 0 0,-1 0-1 0 0,1 0 1 0 0,0 1 0 0 0,-1-1 0 0 0,1 1 0 0 0,0 1 0 0 0,-1 0 0 0 0,1 0-1 0 0,-1 0 1 0 0,0 0 0 0 0,0 1 0 0 0,0 0 0 0 0,7 5 0 0 0,1 1 3 0 0,0 1 0 0 0,-1 1 0 0 0,0 0 0 0 0,-1 0 0 0 0,0 1 0 0 0,-1 1 1 0 0,0 0-1 0 0,-1 1 0 0 0,-1 0 0 0 0,0 1 0 0 0,-1-1 0 0 0,0 2 0 0 0,-1-1 0 0 0,6 20 0 0 0,9 32-3098 0 0</inkml:trace>
</inkml:ink>
</file>

<file path=ppt/ink/ink2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25.969"/>
    </inkml:context>
    <inkml:brush xml:id="br0">
      <inkml:brushProperty name="width" value="0.2" units="cm"/>
      <inkml:brushProperty name="height" value="0.2" units="cm"/>
      <inkml:brushProperty name="color" value="#E71224"/>
    </inkml:brush>
  </inkml:definitions>
  <inkml:trace contextRef="#ctx0" brushRef="#br0">59 0 2008 0 0,'-2'2'4789'0'0,"-3"3"-4336"0"0,1 0 1 0 0,0 1 0 0 0,0-1 0 0 0,1 1-1 0 0,0 0 1 0 0,0 0 0 0 0,0 0 0 0 0,1 0-1 0 0,-4 12 1 0 0,0 5 556 0 0,-4 35 1 0 0,8-36-751 0 0,1-1 1 0 0,0 1-1 0 0,2-1 1 0 0,1 1-1 0 0,0 0 1 0 0,2-1 0 0 0,8 30-1 0 0,-7-35-234 0 0,0 0-1 0 0,1-1 1 0 0,1 0-1 0 0,0 0 1 0 0,1-1-1 0 0,1 0 0 0 0,0 0 1 0 0,1-1-1 0 0,0 0 1 0 0,17 15-1 0 0,-24-25-291 0 0,0 0-1 0 0,1-1 0 0 0,-1 1 1 0 0,1-1-1 0 0,0 0 0 0 0,-1 0 1 0 0,1 0-1 0 0,0 0 0 0 0,0-1 0 0 0,5 2 1 0 0,-7-3-43 0 0,0 0 0 0 0,0 0 0 0 0,0 1 0 0 0,0-1-1 0 0,0 0 1 0 0,0 0 0 0 0,0-1 0 0 0,1 1 0 0 0,-1 0 0 0 0,0-1 0 0 0,0 0 0 0 0,0 1 0 0 0,0-1 0 0 0,-1 0 0 0 0,1 0 0 0 0,0 0 0 0 0,0 0 0 0 0,0 0 0 0 0,-1 0 0 0 0,1-1 0 0 0,2-1 0 0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7:41.511"/>
    </inkml:context>
    <inkml:brush xml:id="br0">
      <inkml:brushProperty name="width" value="0.08571" units="cm"/>
      <inkml:brushProperty name="height" value="0.08571" units="cm"/>
      <inkml:brushProperty name="color" value="#00A0D7"/>
    </inkml:brush>
  </inkml:definitions>
  <inkml:trace contextRef="#ctx0" brushRef="#br0">280 100 9242,'-2'-29'5307,"1"2"-3958,0 8-1079,-1 2-270,-5 9 0,-7 11 90,0 6-90,-12 10 0,11-8 0,-6 3 0,-5 3-90,5-3 180,-5 2-90,11-6-90,1-1 90,1-1 0,-2 1-90,3-1 90,0 1 0,3 0 0,1 4 0,4 5-90,2-1 180,2 4-90,2-1 0,0 3 90,1 6-90,0 2 180,2 7-90,0 4 90,4 28-936,-2-14 936,4 21 0,-4-21 0,2 0-495,-1 1 495,1-2 0,0 0-90,0 0 90,0-1 0,0 0 90,0-4-180,-1 0 90,0-3-90,-1-1 89,0 1-156,0 0 157,-1-1-90,0-1 0,-1 0 0,0 0 0,0-2 0,0 0 90,-1-1-90,1-3 90,-1-1-90,0-2 180,2 14-181,-2-13 91,1 11-90,-2-16 877,-1-3-877,1 0 529,-1-2-529,1-1 0,-1-2-90,0 0 181,1-1-181,-2-1 0,1-1 90,0-1-90,0 8 0,0-7 0,0 6 90,0-9-90,-1 0 0,1 1 0,-1-1 90,0 0-90,0 0 0,0 0 0,1 10 0,-1-5 0,1 8 0,-1-7 0,1-1 0,-1 2 0,0 0 0,1 1 0,-1 0 0,1 1 0,0 0 0,-1 1 0,1 14 89,0-10-89,0 11 0,-1-14 0,0-1 90,-1 0-90,0 1 0,0-1 0,0 1 0,0-1 0,0 1 0,-1 0 0,0 14 0,0-10 0,-1 13 0,1-17 0,0 3 0,-1-1 0,0 2 0,0 1 0,0-1 0,0 1 90,-1-1-90,1 1-90,-1 16 90,1-12 0,-1 14 0,1-17 0,0 1 0,0 0 0,0 0 0,-1 0 0,1 0 0,-1 0 0,1-1 0,-1 2 0,-1 15 90,1-11-424,-2 12 334,2-17 0,-1 0 0,0 0 0,0-1 0,1 1 0,0-1 90,-1 0-90,1 1 0,0-1 0,-1 16 0,1-12 0,-1 12 0,1-16 0,1-1 0,0 0 90,-1 0-90,1-1 0,-1 0 0,1-1 0,0 0 0,-1-1 0,-2 14 0,2-11 0,-2 9 0,3-14 0,-1-2 0,0 2 0,1-1 0,-1 0 0,0 0 0,1-1 0,0-1 0,0 1 244,-1 11-244,1-9 0,-1 10 0,1-13 0,0 0 0,0 0 0,0 0 0,0 0 0,-1 0 90,1 1 0,0-1-90,0 0 90,-2 11 0,1-8-90,0 7 0,-1-10 0,1-1 0,0 0 0,-1-1 90,1 0-90,-1-1 0,0 0 0,0-1 0,1-2 0,-2 5 0,1-2 90,0 3 90,0-5 180,1-4-90,1 0-91,7-6-179,8-5 0,5-7 90,7-6-90,0-1 0,6-3 0,7-2 0,3-2-390,6-2 210,1-1-90,2-1-713,-1 0 443,0 0-90,-1 0-179,-2 1-694,-4 2 64,-4 1-450,-6 3-1529,-4 1-2339,-6 2 5757,-3 0 0,-9 4 0,-3 1 0</inkml:trace>
</inkml:ink>
</file>

<file path=ppt/ink/ink2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26.333"/>
    </inkml:context>
    <inkml:brush xml:id="br0">
      <inkml:brushProperty name="width" value="0.2" units="cm"/>
      <inkml:brushProperty name="height" value="0.2" units="cm"/>
      <inkml:brushProperty name="color" value="#E71224"/>
    </inkml:brush>
  </inkml:definitions>
  <inkml:trace contextRef="#ctx0" brushRef="#br0">93 98 408 0 0,'-80'-92'10461'0'0,"78"90"-10251"0"0,-9-1-689 0 0,14 29-4741 0 0</inkml:trace>
</inkml:ink>
</file>

<file path=ppt/ink/ink2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26.983"/>
    </inkml:context>
    <inkml:brush xml:id="br0">
      <inkml:brushProperty name="width" value="0.2" units="cm"/>
      <inkml:brushProperty name="height" value="0.2" units="cm"/>
      <inkml:brushProperty name="color" value="#E71224"/>
    </inkml:brush>
  </inkml:definitions>
  <inkml:trace contextRef="#ctx0" brushRef="#br0">26 37 60 0 0,'-16'-37'8327'0'0,"16"37"-8262"0"0,-1 1 0 0 0,1-1 0 0 0,-1 0 0 0 0,1 1 1 0 0,-1-1-1 0 0,1 0 0 0 0,-1 1 0 0 0,1-1 0 0 0,-1 1 0 0 0,1-1 1 0 0,-1 1-1 0 0,1-1 0 0 0,0 1 0 0 0,-1 0 0 0 0,1-1 0 0 0,0 1 1 0 0,-1-1-1 0 0,1 1 0 0 0,0 0 0 0 0,0-1 0 0 0,0 1 0 0 0,0 0 1 0 0,-2 28 511 0 0,3 1 0 0 0,0-1 1 0 0,8 39-1 0 0,24 93 294 0 0,-13-67-221 0 0,-15-79 64 0 0,-5-15-705 0 0,0 0-1 0 0,0 0 1 0 0,0 0 0 0 0,0 1-1 0 0,0-1 1 0 0,0 0-1 0 0,0 0 1 0 0,0 0 0 0 0,0 0-1 0 0,0 0 1 0 0,0 0-1 0 0,0 0 1 0 0,0 0 0 0 0,0 0-1 0 0,0 0 1 0 0,0 0-1 0 0,0 0 1 0 0,0 0 0 0 0,0 1-1 0 0,0-1 1 0 0,0 0-1 0 0,0 0 1 0 0,0 0 0 0 0,0 0-1 0 0,0 0 1 0 0,0 0-1 0 0,0 0 1 0 0,0 0 0 0 0,0 0-1 0 0,0 0 1 0 0,1 0-1 0 0,-1 0 1 0 0,0 0 0 0 0,0 0-1 0 0,0 0 1 0 0,0 0 0 0 0,0 0-1 0 0,0 0 1 0 0,0 0-1 0 0,0 0 1 0 0,0 0 0 0 0,0 0-1 0 0,0 0 1 0 0,0 0-1 0 0,0 0 1 0 0,1 0 0 0 0,-1 0-1 0 0,0 0 1 0 0,0 0-1 0 0,0 0 1 0 0,0 0 0 0 0,0 0-1 0 0,0 0 1 0 0,0 0-1 0 0,0 0 1 0 0,0 0 0 0 0,0 0-1 0 0,0 0 1 0 0,0 0-1 0 0,0 0 1 0 0,0 0 0 0 0,0 0-1 0 0,0-1 1 0 0,1 1-1 0 0,-1 0 1 0 0,0 0 0 0 0,0 0-1 0 0,4-23 687 0 0,0-1-702 0 0,0 10-7 0 0,1 1 1 0 0,0 0-1 0 0,1 0 1 0 0,0 1-1 0 0,1-1 1 0 0,0 1-1 0 0,1 1 1 0 0,12-15-1 0 0,-19 25 6 0 0,0-1 0 0 0,1 1 0 0 0,-1 0 0 0 0,0 0 0 0 0,1 0 0 0 0,-1 0 0 0 0,1 0 0 0 0,-1 0 0 0 0,1 1 0 0 0,-1-1 0 0 0,1 0 0 0 0,-1 1 0 0 0,1-1 0 0 0,0 1 0 0 0,-1 0 0 0 0,1-1 0 0 0,0 1 0 0 0,-1 0 0 0 0,3 0 0 0 0,-1 0-1 0 0,1 1 0 0 0,-1 0 0 0 0,0-1 1 0 0,0 1-1 0 0,0 0 0 0 0,0 1 0 0 0,0-1 0 0 0,0 1 0 0 0,4 2 0 0 0,4 5-11 0 0,0-1-1 0 0,0 2 1 0 0,15 18 0 0 0,-22-24 12 0 0,43 47 33 0 0,72 61 0 0 0,-117-110-9 0 0,0 0-1 0 0,0-1 1 0 0,0 1-1 0 0,1-1 0 0 0,-1 0 1 0 0,0 1-1 0 0,1-1 1 0 0,-1 0-1 0 0,1-1 0 0 0,-1 1 1 0 0,1 0-1 0 0,-1-1 1 0 0,1 1-1 0 0,-1-1 0 0 0,1 0 1 0 0,0 0-1 0 0,3 0 0 0 0,-4-1 7 0 0,-1 1 0 0 0,1-1 0 0 0,-1 1 0 0 0,1-1 0 0 0,0 0 0 0 0,-1 0 0 0 0,1 1 0 0 0,-1-1 0 0 0,0 0 0 0 0,1-1 0 0 0,-1 1 0 0 0,0 0 0 0 0,0 0 0 0 0,1 0 0 0 0,-1-1 0 0 0,0 1 0 0 0,0-1 0 0 0,-1 1 0 0 0,1-1 0 0 0,0 1 0 0 0,0-1 0 0 0,-1 1 0 0 0,1-1 0 0 0,-1 0 0 0 0,1 1 0 0 0,-1-3 0 0 0,5-24 85 0 0,-1 1 1 0 0,-2-1-1 0 0,-1-49 1 0 0,-17-82-30 0 0,16 156-65 0 0,-11-54-872 0 0,10 52 485 0 0,0 0 0 0 0,-1 0 0 0 0,0 0 0 0 0,0 0 0 0 0,0 1 0 0 0,0-1 0 0 0,-1 1 0 0 0,-4-7 0 0 0</inkml:trace>
</inkml:ink>
</file>

<file path=ppt/ink/ink2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27.317"/>
    </inkml:context>
    <inkml:brush xml:id="br0">
      <inkml:brushProperty name="width" value="0.2" units="cm"/>
      <inkml:brushProperty name="height" value="0.2" units="cm"/>
      <inkml:brushProperty name="color" value="#E71224"/>
    </inkml:brush>
  </inkml:definitions>
  <inkml:trace contextRef="#ctx0" brushRef="#br0">63 0 976 0 0,'-4'15'3792'0'0,"-3"-7"-3293"0"0,0 1 0 0 0,1 0 0 0 0,0 0 0 0 0,0 1 0 0 0,1 0 0 0 0,0 0 0 0 0,1 0 0 0 0,-4 13-1 0 0,7-18-403 0 0,-1 1-1 0 0,2-1 0 0 0,-1 1 1 0 0,1-1-1 0 0,0 1 0 0 0,0-1 0 0 0,0 1 1 0 0,1 0-1 0 0,0-1 0 0 0,0 0 0 0 0,0 1 1 0 0,1-1-1 0 0,-1 0 0 0 0,1 1 0 0 0,1-1 1 0 0,-1 0-1 0 0,1-1 0 0 0,0 1 0 0 0,4 5 1 0 0,0-1-13 0 0,1-1 1 0 0,0 1 0 0 0,1-1-1 0 0,0-1 1 0 0,0 0 0 0 0,1 0-1 0 0,0-1 1 0 0,0 0 0 0 0,0-1-1 0 0,1 0 1 0 0,0 0 0 0 0,22 5-1 0 0,-31-9-64 0 0,0-1 0 0 0,0 1-1 0 0,0-1 1 0 0,0 0-1 0 0,0 1 1 0 0,0-1-1 0 0,0 0 1 0 0,0 0-1 0 0,0 0 1 0 0,0-1 0 0 0,0 1-1 0 0,0 0 1 0 0,0-1-1 0 0,0 0 1 0 0,0 1-1 0 0,0-1 1 0 0,-1 0-1 0 0,1 0 1 0 0,0 0 0 0 0,0 0-1 0 0,-1 0 1 0 0,1 0-1 0 0,0 0 1 0 0,-1-1-1 0 0,0 1 1 0 0,1-1-1 0 0,-1 1 1 0 0,0-1-1 0 0,1 1 1 0 0,-1-1 0 0 0,0 0-1 0 0,0 0 1 0 0,-1 1-1 0 0,2-4 1 0 0,0 0 0 0 0,-1 1 1 0 0,0 0-1 0 0,0 0 1 0 0,0-1-1 0 0,-1 1 1 0 0,1-1-1 0 0,-1 1 1 0 0,0 0-1 0 0,0-1 1 0 0,-1 1-1 0 0,1-1 0 0 0,-1 1 1 0 0,0 0-1 0 0,-2-6 1 0 0,-2-1 16 0 0,-1 0-1 0 0,0 1 1 0 0,0 0 0 0 0,-1 0 0 0 0,-1 0 0 0 0,1 1-1 0 0,-1 0 1 0 0,-12-10 0 0 0,-8-5-2178 0 0,-41-25 1 0 0,62 44 1283 0 0</inkml:trace>
</inkml:ink>
</file>

<file path=ppt/ink/ink2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27.648"/>
    </inkml:context>
    <inkml:brush xml:id="br0">
      <inkml:brushProperty name="width" value="0.2" units="cm"/>
      <inkml:brushProperty name="height" value="0.2" units="cm"/>
      <inkml:brushProperty name="color" value="#E71224"/>
    </inkml:brush>
  </inkml:definitions>
  <inkml:trace contextRef="#ctx0" brushRef="#br0">1 111 1536 0 0,'12'3'618'0'0,"1"0"-1"0"0,-1 1 0 0 0,0 0 1 0 0,0 1-1 0 0,0 0 1 0 0,21 14-1 0 0,-27-15-386 0 0,0 0 0 0 0,0 1-1 0 0,-1 0 1 0 0,0 0 0 0 0,0 1-1 0 0,0-1 1 0 0,0 1 0 0 0,-1 0 0 0 0,0 0-1 0 0,0 1 1 0 0,-1-1 0 0 0,0 1-1 0 0,4 10 1 0 0,-4-7 117 0 0,0 0 0 0 0,-1 0 0 0 0,-1 0 0 0 0,0 0 0 0 0,0 15 0 0 0,-1-24-299 0 0,0 0-1 0 0,0 0 1 0 0,0-1-1 0 0,0 1 1 0 0,0 0 0 0 0,0 0-1 0 0,0 0 1 0 0,0 0-1 0 0,0-1 1 0 0,0 1-1 0 0,-1 0 1 0 0,1 0-1 0 0,0 0 1 0 0,-1-1-1 0 0,1 1 1 0 0,0 0-1 0 0,-1 0 1 0 0,1-1 0 0 0,-1 1-1 0 0,1 0 1 0 0,-1-1-1 0 0,0 1 1 0 0,1-1-1 0 0,-1 1 1 0 0,1 0-1 0 0,-1-1 1 0 0,0 0-1 0 0,0 1 1 0 0,1-1-1 0 0,-1 1 1 0 0,0-1-1 0 0,0 0 1 0 0,0 1 0 0 0,1-1-1 0 0,-1 0 1 0 0,0 0-1 0 0,0 0 1 0 0,0 0-1 0 0,0 0 1 0 0,1 0-1 0 0,-1 0 1 0 0,0 0-1 0 0,0 0 1 0 0,0 0-1 0 0,0 0 1 0 0,1 0-1 0 0,-1-1 1 0 0,-1 0 0 0 0,1 1-32 0 0,1-1 0 0 0,-1 0 0 0 0,1 0 0 0 0,-1 0 0 0 0,1 1 0 0 0,0-1 0 0 0,-1 0 0 0 0,1 0 0 0 0,0 0 1 0 0,0 0-1 0 0,0 0 0 0 0,-1 0 0 0 0,1 0 0 0 0,0 0 0 0 0,0 0 0 0 0,0 0 0 0 0,1 1 0 0 0,-1-3 0 0 0,2-16 73 0 0,-2 19-84 0 0,2-7 15 0 0,-1 1-1 0 0,2 0 0 0 0,-1 0 1 0 0,1 1-1 0 0,-1-1 1 0 0,2 0-1 0 0,-1 1 0 0 0,5-6 1 0 0,34-36-83 0 0,-14 22-953 0 0,0 2 0 0 0,2 0-1 0 0,50-27 1 0 0,40-13-4835 0 0,-95 51 4068 0 0</inkml:trace>
</inkml:ink>
</file>

<file path=ppt/ink/ink2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28.017"/>
    </inkml:context>
    <inkml:brush xml:id="br0">
      <inkml:brushProperty name="width" value="0.2" units="cm"/>
      <inkml:brushProperty name="height" value="0.2" units="cm"/>
      <inkml:brushProperty name="color" value="#E71224"/>
    </inkml:brush>
  </inkml:definitions>
  <inkml:trace contextRef="#ctx0" brushRef="#br0">263 4 876 0 0,'8'-4'5815'0'0,"-8"4"-5708"0"0,3 4 89 0 0,-1-1 1 0 0,0 0-1 0 0,-1 0 0 0 0,1 1 1 0 0,0-1-1 0 0,-1 1 0 0 0,0 0 1 0 0,0-1-1 0 0,0 1 1 0 0,0 0-1 0 0,-1-1 0 0 0,0 1 1 0 0,1 4-1 0 0,-3 59 1104 0 0,0-42-937 0 0,1 7-70 0 0,-2 0-1 0 0,-1 0 0 0 0,-1 0 0 0 0,-12 38 0 0 0,12-56-253 0 0,0 0-1 0 0,-1 0 1 0 0,-1 0-1 0 0,0-1 1 0 0,-1 0 0 0 0,0 0-1 0 0,-1-1 1 0 0,0 0-1 0 0,-1 0 1 0 0,0-1-1 0 0,-18 14 1 0 0,19-17-5 0 0,-2 0 0 0 0,1 0 0 0 0,-1-1 0 0 0,0 0 0 0 0,-1-1 0 0 0,0-1 0 0 0,-14 6 1 0 0,24-11-26 0 0,1 0 0 0 0,-1 0 0 0 0,0 0 0 0 0,0-1 0 0 0,0 1 0 0 0,0 0 0 0 0,0-1 0 0 0,1 1 0 0 0,-1-1 1 0 0,0 1-1 0 0,0-1 0 0 0,1 0 0 0 0,-1 0 0 0 0,0 0 0 0 0,1 0 0 0 0,-1 0 0 0 0,1 0 0 0 0,-1 0 0 0 0,-1-3 1 0 0,2 3-9 0 0,1 1 0 0 0,-1-1 0 0 0,1 0 0 0 0,-1 0 1 0 0,1 1-1 0 0,0-1 0 0 0,0 0 0 0 0,-1 0 0 0 0,1 0 1 0 0,0 1-1 0 0,0-1 0 0 0,0 0 0 0 0,0 0 0 0 0,0 0 1 0 0,0 0-1 0 0,0 0 0 0 0,0 1 0 0 0,0-1 0 0 0,0 0 1 0 0,0 0-1 0 0,1-1 0 0 0,-1 0 0 0 0,1-3-12 0 0,0 0-1 0 0,0 0 1 0 0,1-1-1 0 0,0 1 1 0 0,0 0 0 0 0,0 1-1 0 0,0-1 1 0 0,1 0-1 0 0,0 0 1 0 0,0 1 0 0 0,0 0-1 0 0,0 0 1 0 0,1 0-1 0 0,-1 0 1 0 0,1 0 0 0 0,0 1-1 0 0,0-1 1 0 0,1 1-1 0 0,-1 0 1 0 0,1 0 0 0 0,6-2-1 0 0,-6 3 9 0 0,1 1 0 0 0,0 0 0 0 0,-1 0 0 0 0,1 1 1 0 0,0 0-1 0 0,0 0 0 0 0,-1 0 0 0 0,1 1 0 0 0,0-1 0 0 0,0 1 0 0 0,-1 1 0 0 0,1-1 0 0 0,-1 1 0 0 0,1 0 0 0 0,-1 0 0 0 0,0 1 0 0 0,1-1 0 0 0,4 5 1 0 0,11 6 0 0 0,-1 2-1 0 0,32 30 1 0 0,-46-40 0 0 0,34 37-457 0 0,-18-16-1293 0 0,3-3-3285 0 0</inkml:trace>
</inkml:ink>
</file>

<file path=ppt/ink/ink2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7:32.114"/>
    </inkml:context>
    <inkml:brush xml:id="br0">
      <inkml:brushProperty name="width" value="0.2" units="cm"/>
      <inkml:brushProperty name="height" value="0.2" units="cm"/>
      <inkml:brushProperty name="color" value="#E71224"/>
    </inkml:brush>
  </inkml:definitions>
  <inkml:trace contextRef="#ctx0" brushRef="#br0">43 33 184 0 0,'0'0'1932'0'0,"-7"-9"-198"0"0,-4-4-1141 0 0,10 12-514 0 0,-14-4 15 0 0,6 0-1997 0 0</inkml:trace>
</inkml:ink>
</file>

<file path=ppt/ink/ink2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8:29.828"/>
    </inkml:context>
    <inkml:brush xml:id="br0">
      <inkml:brushProperty name="width" value="0.2" units="cm"/>
      <inkml:brushProperty name="height" value="0.2" units="cm"/>
      <inkml:brushProperty name="color" value="#E71224"/>
    </inkml:brush>
  </inkml:definitions>
  <inkml:trace contextRef="#ctx0" brushRef="#br0">659 11 232 0 0,'4'-11'5304'0'0,"-4"11"-5257"0"0,-28 13 1172 0 0,1 1 0 0 0,1 2 0 0 0,-29 21 1 0 0,-8 5-402 0 0,-111 76 453 0 0,-60 35-3634 0 0,227-149 1775 0 0,-7 3-319 0 0,-20 0-5380 0 0</inkml:trace>
</inkml:ink>
</file>

<file path=ppt/ink/ink2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8:30.245"/>
    </inkml:context>
    <inkml:brush xml:id="br0">
      <inkml:brushProperty name="width" value="0.2" units="cm"/>
      <inkml:brushProperty name="height" value="0.2" units="cm"/>
      <inkml:brushProperty name="color" value="#E71224"/>
    </inkml:brush>
  </inkml:definitions>
  <inkml:trace contextRef="#ctx0" brushRef="#br0">0 4 1264 0 0,'3'-1'245'0'0,"0"0"0"0"0,-1 1 0 0 0,1-1 0 0 0,0 1 0 0 0,0-1-1 0 0,-1 1 1 0 0,1 0 0 0 0,0 0 0 0 0,0 0 0 0 0,-1 1 0 0 0,1-1 0 0 0,0 1 0 0 0,-1-1 0 0 0,1 1-1 0 0,0 0 1 0 0,-1 0 0 0 0,1 0 0 0 0,-1 0 0 0 0,1 1 0 0 0,-1-1 0 0 0,0 0 0 0 0,1 1 0 0 0,-1 0-1 0 0,0 0 1 0 0,2 2 0 0 0,8 7 352 0 0,-1 1 0 0 0,0 1 0 0 0,10 16 0 0 0,-6-10-5 0 0,46 63 534 0 0,-3 4 1 0 0,72 140-1 0 0,-98-157-2906 0 0,-14-23-4454 0 0</inkml:trace>
</inkml:ink>
</file>

<file path=ppt/ink/ink2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8:30.632"/>
    </inkml:context>
    <inkml:brush xml:id="br0">
      <inkml:brushProperty name="width" value="0.2" units="cm"/>
      <inkml:brushProperty name="height" value="0.2" units="cm"/>
      <inkml:brushProperty name="color" value="#E71224"/>
    </inkml:brush>
  </inkml:definitions>
  <inkml:trace contextRef="#ctx0" brushRef="#br0">0 16 1512 0 0,'5'-1'1586'0'0,"170"-8"4781"0"0,94 3-5490 0 0,-183 12-6911 0 0</inkml:trace>
  <inkml:trace contextRef="#ctx0" brushRef="#br0" timeOffset="1">225 185 420 0 0,'-59'27'8316'0'0,"60"-26"-8233"0"0,0 0 0 0 0,0-1 1 0 0,0 1-1 0 0,1 0 0 0 0,-1-1 0 0 0,0 1 0 0 0,0-1 0 0 0,0 1 0 0 0,1-1 0 0 0,-1 1 1 0 0,0-1-1 0 0,0 0 0 0 0,1 0 0 0 0,-1 1 0 0 0,2-1 0 0 0,218-8 792 0 0,-71-2-6565 0 0,-123 8 2843 0 0</inkml:trace>
</inkml:ink>
</file>

<file path=ppt/ink/ink2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8:35.738"/>
    </inkml:context>
    <inkml:brush xml:id="br0">
      <inkml:brushProperty name="width" value="0.2" units="cm"/>
      <inkml:brushProperty name="height" value="0.2" units="cm"/>
      <inkml:brushProperty name="color" value="#E71224"/>
    </inkml:brush>
  </inkml:definitions>
  <inkml:trace contextRef="#ctx0" brushRef="#br0">566 0 980 0 0,'0'3'2182'0'0,"-1"1"-1894"0"0,-1 0 0 0 0,1 0-1 0 0,-1 1 1 0 0,0-1 0 0 0,0-1-1 0 0,0 1 1 0 0,-1 0 0 0 0,1 0-1 0 0,-5 4 1 0 0,-34 35 868 0 0,20-22-594 0 0,-196 195 1524 0 0,57-61-1862 0 0,131-126-2694 0 0,-44 34 1 0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8:17.772"/>
    </inkml:context>
    <inkml:brush xml:id="br0">
      <inkml:brushProperty name="width" value="0.08571" units="cm"/>
      <inkml:brushProperty name="height" value="0.08571" units="cm"/>
      <inkml:brushProperty name="color" value="#00A0D7"/>
    </inkml:brush>
  </inkml:definitions>
  <inkml:trace contextRef="#ctx0" brushRef="#br0">31 1 11400,'-20'6'6117,"9"5"-5757,20-2-90,12 3-180,5-5 0,1-1-1,-3-3 1,3 0 0,17 2-90,-6-2-279,16 1 369,-12-2-90,4 0 0,1 0 0,1-1 0,0 0 0,0 0 90,1 0-90,-1 0 0,0-1 0,16 0 0,-16 0 0,10 0 0,-20 0 0,-2 0 0,-2-1 0,0 1 0,-4-1 90,-2 1-90,-2-1 0,-5 1 0,-1-1 90,-2 1 90,4-1 189,-2 1-189,3-1 180,-5 1 179,1-1 181,-2 1-1170,0-2-5846,-3-2 6296,-14 1 0,3-1 0,-9 2 0</inkml:trace>
</inkml:ink>
</file>

<file path=ppt/ink/ink2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8:36.207"/>
    </inkml:context>
    <inkml:brush xml:id="br0">
      <inkml:brushProperty name="width" value="0.2" units="cm"/>
      <inkml:brushProperty name="height" value="0.2" units="cm"/>
      <inkml:brushProperty name="color" value="#E71224"/>
    </inkml:brush>
  </inkml:definitions>
  <inkml:trace contextRef="#ctx0" brushRef="#br0">0 1 668 0 0,'2'1'4666'0'0,"4"6"-4350"0"0,0 0-1 0 0,-1 0 1 0 0,0 1 0 0 0,-1-1 0 0 0,1 1-1 0 0,-1 0 1 0 0,-1 0 0 0 0,5 16 0 0 0,7 14 293 0 0,90 161 1237 0 0,9 18-1247 0 0,-103-194-627 0 0,13 45 1 0 0,-21-57-1257 0 0,-1-1 0 0 0,0 0 1 0 0,-1 0-1 0 0,0 11 0 0 0</inkml:trace>
</inkml:ink>
</file>

<file path=ppt/ink/ink2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8:36.542"/>
    </inkml:context>
    <inkml:brush xml:id="br0">
      <inkml:brushProperty name="width" value="0.2" units="cm"/>
      <inkml:brushProperty name="height" value="0.2" units="cm"/>
      <inkml:brushProperty name="color" value="#E71224"/>
    </inkml:brush>
  </inkml:definitions>
  <inkml:trace contextRef="#ctx0" brushRef="#br0">0 25 68 0 0,'4'-3'656'0'0,"0"0"0"0"0,0 0 0 0 0,1 0 0 0 0,-1 1-1 0 0,1 0 1 0 0,0 0 0 0 0,-1 0 0 0 0,9-2 0 0 0,-12 4-576 0 0,1 0 0 0 0,-1 0 0 0 0,0 0 1 0 0,1 0-1 0 0,-1 0 0 0 0,1 0 0 0 0,-1 0 1 0 0,0 1-1 0 0,1-1 0 0 0,-1 1 0 0 0,1-1 0 0 0,-1 1 1 0 0,0-1-1 0 0,0 1 0 0 0,1 0 0 0 0,-1 0 0 0 0,0 0 1 0 0,0-1-1 0 0,0 1 0 0 0,0 0 0 0 0,0 0 0 0 0,0 1 1 0 0,0-1-1 0 0,0 0 0 0 0,0 0 0 0 0,-1 0 0 0 0,1 0 1 0 0,0 1-1 0 0,-1-1 0 0 0,1 0 0 0 0,-1 1 0 0 0,1-1 1 0 0,-1 1-1 0 0,0-1 0 0 0,1 3 0 0 0,4 20 17 0 0,-1 1-1 0 0,-1 0 1 0 0,-2 1 0 0 0,0-1-1 0 0,-1 0 1 0 0,-2 0-1 0 0,0 0 1 0 0,-2 0 0 0 0,-1 0-1 0 0,-8 25 1 0 0,-6 1-4627 0 0</inkml:trace>
</inkml:ink>
</file>

<file path=ppt/ink/ink2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8:36.872"/>
    </inkml:context>
    <inkml:brush xml:id="br0">
      <inkml:brushProperty name="width" value="0.2" units="cm"/>
      <inkml:brushProperty name="height" value="0.2" units="cm"/>
      <inkml:brushProperty name="color" value="#E71224"/>
    </inkml:brush>
  </inkml:definitions>
  <inkml:trace contextRef="#ctx0" brushRef="#br0">34 82 392 0 0,'-2'-1'1720'0'0,"-2"-1"-1112"0"0,1 1 0 0 0,0-1 1 0 0,0 0-1 0 0,0 0 0 0 0,-6-5 1217 0 0,3 0-1216 0 0,10 5-347 0 0,0 0 0 0 0,0 0 1 0 0,0 1-1 0 0,0-1 0 0 0,7-1 0 0 0,-9 3-233 0 0,54-8 560 0 0,0 2-1 0 0,58 2 1 0 0,16-2 231 0 0,-38-7 774 0 0,-61 9-3160 0 0,-3 0-4221 0 0</inkml:trace>
</inkml:ink>
</file>

<file path=ppt/ink/ink2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8:48.671"/>
    </inkml:context>
    <inkml:brush xml:id="br0">
      <inkml:brushProperty name="width" value="0.2" units="cm"/>
      <inkml:brushProperty name="height" value="0.2" units="cm"/>
      <inkml:brushProperty name="color" value="#E71224"/>
    </inkml:brush>
  </inkml:definitions>
  <inkml:trace contextRef="#ctx0" brushRef="#br0">36 141 312 0 0,'-2'-2'1403'0'0,"-3"-4"-168"0"0,0-1 0 0 0,0 1 0 0 0,1-1 0 0 0,0 0 1 0 0,-6-15 424 0 0,9 15-471 0 0,14 30-650 0 0,-1 2 1 0 0,13 35-1 0 0,75 202 1200 0 0,-96-252-1495 0 0,0-1-1 0 0,1 0 1 0 0,0 0 0 0 0,0-1-1 0 0,1 0 1 0 0,0 0-1 0 0,1 0 1 0 0,12 12-1 0 0,-17-19-192 0 0,1 0 0 0 0,-1 1 0 0 0,1-1-1 0 0,0 0 1 0 0,0 0 0 0 0,0 0-1 0 0,-1-1 1 0 0,1 1 0 0 0,0-1 0 0 0,0 0-1 0 0,0 1 1 0 0,0-1 0 0 0,0-1-1 0 0,0 1 1 0 0,0 0 0 0 0,0-1-1 0 0,-1 1 1 0 0,1-1 0 0 0,0 0 0 0 0,0 0-1 0 0,0 0 1 0 0,-1 0 0 0 0,4-3-1 0 0,2 0 9 0 0,0-1-1 0 0,0 0 1 0 0,0 0-1 0 0,-1-1 1 0 0,13-13-1 0 0,14-20 13 0 0,-2-1 0 0 0,-2-2 1 0 0,-1-1-1 0 0,-2-1 0 0 0,23-54 0 0 0,-45 88-129 0 0,6-12-155 0 0,-2-1 0 0 0,0 0 0 0 0,9-34 0 0 0,-18 54-223 0 0,0 0 1 0 0,0 0 0 0 0,0 0-1 0 0,0 1 1 0 0,0-1 0 0 0,-1 0 0 0 0,1 0-1 0 0,-1 1 1 0 0,1-1 0 0 0,-1 0-1 0 0,0 1 1 0 0,0-1 0 0 0,-1 1-1 0 0,1-1 1 0 0,0 1 0 0 0,-4-4 0 0 0</inkml:trace>
</inkml:ink>
</file>

<file path=ppt/ink/ink2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8:49.074"/>
    </inkml:context>
    <inkml:brush xml:id="br0">
      <inkml:brushProperty name="width" value="0.2" units="cm"/>
      <inkml:brushProperty name="height" value="0.2" units="cm"/>
      <inkml:brushProperty name="color" value="#E71224"/>
    </inkml:brush>
  </inkml:definitions>
  <inkml:trace contextRef="#ctx0" brushRef="#br0">386 0 732 0 0,'1'3'1442'0'0,"-1"1"-1096"0"0,0 1 0 0 0,0-1 0 0 0,0 1-1 0 0,-1-1 1 0 0,0 1 0 0 0,0-1 0 0 0,0 0 0 0 0,0 0 0 0 0,0 1 0 0 0,-1-1 0 0 0,0 0 0 0 0,0 0 0 0 0,-2 3 0 0 0,-7 11 610 0 0,-22 25-1 0 0,2-2-31 0 0,-185 265 90 0 0,207-294-2235 0 0,0-1 0 0 0,-1 0 0 0 0,0 0 0 0 0,-19 14-1 0 0,16-15-1134 0 0</inkml:trace>
</inkml:ink>
</file>

<file path=ppt/ink/ink2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8:49.473"/>
    </inkml:context>
    <inkml:brush xml:id="br0">
      <inkml:brushProperty name="width" value="0.2" units="cm"/>
      <inkml:brushProperty name="height" value="0.2" units="cm"/>
      <inkml:brushProperty name="color" value="#E71224"/>
    </inkml:brush>
  </inkml:definitions>
  <inkml:trace contextRef="#ctx0" brushRef="#br0">1 8 1252 0 0,'2'-2'1230'0'0,"0"1"-1014"0"0,1 0 1 0 0,-1 0-1 0 0,1 0 1 0 0,-1 1 0 0 0,1-1-1 0 0,-1 1 1 0 0,1-1 0 0 0,-1 1-1 0 0,1 0 1 0 0,-1 0 0 0 0,1 0-1 0 0,0 0 1 0 0,-1 1-1 0 0,1-1 1 0 0,2 2 0 0 0,1-1 28 0 0,0 2 0 0 0,-1-1 0 0 0,1 0 0 0 0,-1 1 0 0 0,0 0 0 0 0,7 6-1 0 0,5 5 231 0 0,0 1 0 0 0,23 29 0 0 0,-34-38-290 0 0,38 44 449 0 0,-3 3-1 0 0,59 96 1 0 0,-77-106-1289 0 0,-1 0-1 0 0,20 61 1 0 0,-30-75-3188 0 0</inkml:trace>
</inkml:ink>
</file>

<file path=ppt/ink/ink2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8:49.820"/>
    </inkml:context>
    <inkml:brush xml:id="br0">
      <inkml:brushProperty name="width" value="0.2" units="cm"/>
      <inkml:brushProperty name="height" value="0.2" units="cm"/>
      <inkml:brushProperty name="color" value="#E71224"/>
    </inkml:brush>
  </inkml:definitions>
  <inkml:trace contextRef="#ctx0" brushRef="#br0">0 39 748 0 0,'1'-2'1522'0'0,"22"-34"2876"0"0,-21 37-3999 0 0,2 2-288 0 0,-1 0 0 0 0,0 0 0 0 0,0 0 1 0 0,0 1-1 0 0,0-1 0 0 0,0 1 0 0 0,-1 0 0 0 0,0 0 0 0 0,0 0 0 0 0,0 0 0 0 0,3 8 0 0 0,15 59 703 0 0,-11-35-538 0 0,49 184 652 0 0,-29-101-252 0 0,-26-104-49 0 0,-3-12-415 0 0,1-1-1 0 0,-1 0 0 0 0,1 1 1 0 0,0-1-1 0 0,-1 1 0 0 0,1-1 0 0 0,0 0 1 0 0,1 0-1 0 0,-1 0 0 0 0,0 1 0 0 0,4 3 339 0 0,13-14 104 0 0,3-22-512 0 0,-1-1 0 0 0,-2-1 0 0 0,24-55 1 0 0,-12 25-105 0 0,113-211-151 0 0,-139 263-277 0 0</inkml:trace>
</inkml:ink>
</file>

<file path=ppt/ink/ink2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9:53.329"/>
    </inkml:context>
    <inkml:brush xml:id="br0">
      <inkml:brushProperty name="width" value="0.1" units="cm"/>
      <inkml:brushProperty name="height" value="0.1" units="cm"/>
      <inkml:brushProperty name="color" value="#66CC00"/>
    </inkml:brush>
  </inkml:definitions>
  <inkml:trace contextRef="#ctx0" brushRef="#br0">382 48 672 0 0,'0'-4'1650'0'0,"2"-39"5352"0"0,-12 60-6069 0 0,-37 86 1121 0 0,16-31-1374 0 0,10-29-397 0 0,-155 306 824 0 0,165-329-1343 0 0,-16 24-700 0 0,25-41 528 0 0,0-1 0 0 0,0 0-1 0 0,-1 1 1 0 0,1-1 0 0 0,0 0-1 0 0,-1 0 1 0 0,0 0 0 0 0,1-1-1 0 0,-1 1 1 0 0,0-1 0 0 0,0 1-1 0 0,0-1 1 0 0,-3 1 0 0 0,0-3-1926 0 0,-10-7-421 0 0</inkml:trace>
</inkml:ink>
</file>

<file path=ppt/ink/ink2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9:53.701"/>
    </inkml:context>
    <inkml:brush xml:id="br0">
      <inkml:brushProperty name="width" value="0.1" units="cm"/>
      <inkml:brushProperty name="height" value="0.1" units="cm"/>
      <inkml:brushProperty name="color" value="#66CC00"/>
    </inkml:brush>
  </inkml:definitions>
  <inkml:trace contextRef="#ctx0" brushRef="#br0">1 34 40 0 0,'8'-31'4233'0'0,"-7"29"-3502"0"0,2 1-74 0 0,0 1-466 0 0,1 0 0 0 0,0 1 1 0 0,-1-1-1 0 0,1 1 0 0 0,-1-1 1 0 0,1 1-1 0 0,-1 0 1 0 0,1 0-1 0 0,-1 1 0 0 0,0-1 1 0 0,0 1-1 0 0,1-1 1 0 0,-1 1-1 0 0,0 0 0 0 0,-1 0 1 0 0,1 1-1 0 0,3 2 1 0 0,12 11 665 0 0,22 27 0 0 0,-27-29-454 0 0,78 85 1613 0 0,132 189 0 0 0,-155-175-1999 0 0,-26-40-2625 0 0,-40-68 2000 0 0,7 11-395 0 0,2-10-3544 0 0,-11-6 4341 0 0,1 0-1 0 0,0 0 0 0 0,-1 0 1 0 0,1 0-1 0 0,-1 0 0 0 0,2-1 1 0 0,10-4-2450 0 0</inkml:trace>
</inkml:ink>
</file>

<file path=ppt/ink/ink2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9:54.030"/>
    </inkml:context>
    <inkml:brush xml:id="br0">
      <inkml:brushProperty name="width" value="0.1" units="cm"/>
      <inkml:brushProperty name="height" value="0.1" units="cm"/>
      <inkml:brushProperty name="color" value="#66CC00"/>
    </inkml:brush>
  </inkml:definitions>
  <inkml:trace contextRef="#ctx0" brushRef="#br0">56 276 216 0 0,'1'-1'243'0'0,"0"0"0"0"0,-1 0 0 0 0,1 0 0 0 0,0 0 0 0 0,0 0 0 0 0,0 0 0 0 0,0 0 0 0 0,0 1 0 0 0,0-1 0 0 0,0 0 0 0 0,0 1 0 0 0,0-1-1 0 0,0 0 1 0 0,0 1 0 0 0,1 0 0 0 0,-1-1 0 0 0,0 1 0 0 0,0 0 0 0 0,0-1 0 0 0,1 1 0 0 0,-1 0 0 0 0,0 0 0 0 0,0 0 0 0 0,1 0 0 0 0,1 0 0 0 0,-1 1-40 0 0,-1 0-1 0 0,1 0 1 0 0,0 0-1 0 0,0 0 1 0 0,0 0-1 0 0,-1 0 1 0 0,1 1 0 0 0,-1-1-1 0 0,1 1 1 0 0,-1-1-1 0 0,1 1 1 0 0,-1-1 0 0 0,2 4-1 0 0,3 6 372 0 0,0 0 0 0 0,-1 0 1 0 0,0 0-1 0 0,3 14 0 0 0,5 27 180 0 0,-3 1 1 0 0,-1 0-1 0 0,0 59 0 0 0,-5-62-1694 0 0,-4-48 582 0 0,1 15-804 0 0</inkml:trace>
  <inkml:trace contextRef="#ctx0" brushRef="#br0" timeOffset="1">73 97 64 0 0,'-1'-7'1313'0'0,"-2"0"0"0"0,1 0 0 0 0,-1 1 0 0 0,0-1 0 0 0,-4-6 0 0 0,-24-29 1873 0 0,30 40-3011 0 0,1 2-192 0 0,0 0-1 0 0,0-1 1 0 0,0 1 0 0 0,0 0 0 0 0,-1 0-1 0 0,1-1 1 0 0,0 1 0 0 0,0 0-1 0 0,0 0 1 0 0,0-1 0 0 0,0 1-1 0 0,0 0 1 0 0,0 0 0 0 0,0 0 0 0 0,-1-1-1 0 0,1 1 1 0 0,0 0 0 0 0,0 0-1 0 0,0 0 1 0 0,-1-1 0 0 0,1 1-1 0 0,0 0 1 0 0,0 0 0 0 0,0 0 0 0 0,-1 0-1 0 0,1 0 1 0 0,0-1 0 0 0,0 1-1 0 0,-1 0 1 0 0,1 0 0 0 0,0 0-1 0 0,0 0 1 0 0,-1 0 0 0 0,1 0 0 0 0,0 0-1 0 0,0 0 1 0 0,-1 0 0 0 0,1 0-1 0 0,0 0 1 0 0,0 0 0 0 0,-1 0-1 0 0,1 0 1 0 0,0 0 0 0 0,-10 3-1489 0 0,10-3 1506 0 0,-4 17-6632 0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8:19.872"/>
    </inkml:context>
    <inkml:brush xml:id="br0">
      <inkml:brushProperty name="width" value="0.08571" units="cm"/>
      <inkml:brushProperty name="height" value="0.08571" units="cm"/>
      <inkml:brushProperty name="color" value="#00A0D7"/>
    </inkml:brush>
  </inkml:definitions>
  <inkml:trace contextRef="#ctx0" brushRef="#br0">0 111 15268,'16'12'1979,"-1"-2"-1079,49-16-631,-21 2 226,29-4 0,4-1-1777,-7 2 1417,-7 0 0,-1 1-45,-9 1 223,-5 1-223,0 1 90,-2-1-90,-1 2 90,-3-1-44,-3 1 134,-3 0-180,-1 0 180,-1 0-180,-3 1 179,-1-1 1051,-5 0-1050,0 1 451,-4-1-451,-1 1 321,-2 0-142,3-1-179,-1 1-360,3-1-3778,-3-1 540,-11-6-6386,-7 1 9714,-15-5 0,4 8 0,0 1 0</inkml:trace>
</inkml:ink>
</file>

<file path=ppt/ink/ink2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9:54.434"/>
    </inkml:context>
    <inkml:brush xml:id="br0">
      <inkml:brushProperty name="width" value="0.1" units="cm"/>
      <inkml:brushProperty name="height" value="0.1" units="cm"/>
      <inkml:brushProperty name="color" value="#66CC00"/>
    </inkml:brush>
  </inkml:definitions>
  <inkml:trace contextRef="#ctx0" brushRef="#br0">37 56 1536 0 0,'-2'1'2175'0'0,"-30"4"6718"0"0,31-7-8096 0 0,1 2-771 0 0,0 0 1 0 0,0-1-1 0 0,0 1 1 0 0,-1 0-1 0 0,1-1 0 0 0,0 1 1 0 0,0-1-1 0 0,0 1 0 0 0,0 0 1 0 0,0-1-1 0 0,0 1 1 0 0,0 0-1 0 0,0-1 0 0 0,0 1 1 0 0,0-1-1 0 0,0 1 1 0 0,0 0-1 0 0,0-1 0 0 0,0 1 1 0 0,0 0-1 0 0,0-1 1 0 0,1 1-1 0 0,-1 0 0 0 0,0-1 1 0 0,0 1-1 0 0,0 0 0 0 0,0-1 1 0 0,1 1-1 0 0,-1-1 1 0 0,23-7 311 0 0,-1 0 1 0 0,1 2 0 0 0,0 0-1 0 0,41-4 1 0 0,99-1-1841 0 0,-92 11-1379 0 0,-27 4-2383 0 0</inkml:trace>
</inkml:ink>
</file>

<file path=ppt/ink/ink2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9:54.782"/>
    </inkml:context>
    <inkml:brush xml:id="br0">
      <inkml:brushProperty name="width" value="0.1" units="cm"/>
      <inkml:brushProperty name="height" value="0.1" units="cm"/>
      <inkml:brushProperty name="color" value="#66CC00"/>
    </inkml:brush>
  </inkml:definitions>
  <inkml:trace contextRef="#ctx0" brushRef="#br0">44 12 508 0 0,'-43'39'8906'0'0,"43"-39"-8821"0"0,0 0 0 0 0,-1 1 0 0 0,1-1 1 0 0,0 0-1 0 0,0 1 0 0 0,0-1 0 0 0,0 0 0 0 0,0 0 0 0 0,0 1 0 0 0,0-1 0 0 0,0 0 0 0 0,0 1 0 0 0,0-1 1 0 0,0 0-1 0 0,0 1 0 0 0,1-1 0 0 0,-1 0 0 0 0,0 0 0 0 0,0 1 0 0 0,0-1 0 0 0,0 0 0 0 0,0 0 0 0 0,1 1 1 0 0,-1-1-1 0 0,0 0 0 0 0,0 0 0 0 0,0 0 0 0 0,1 1 0 0 0,-1-1 0 0 0,0 0 0 0 0,0 0 0 0 0,0 0 0 0 0,1 1 1 0 0,-1-1-1 0 0,0 0 0 0 0,1 0 0 0 0,-1 0 0 0 0,0 0 0 0 0,0 0 0 0 0,1 0 0 0 0,-1 0 0 0 0,0 0 0 0 0,1 0 1 0 0,-1 0-1 0 0,0 0 0 0 0,1 0 0 0 0,179-14 4559 0 0,98-20-2503 0 0,-250 29-2273 0 0,2 0-1402 0 0,-6 3-2278 0 0</inkml:trace>
</inkml:ink>
</file>

<file path=ppt/ink/ink2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9:55.918"/>
    </inkml:context>
    <inkml:brush xml:id="br0">
      <inkml:brushProperty name="width" value="0.1" units="cm"/>
      <inkml:brushProperty name="height" value="0.1" units="cm"/>
      <inkml:brushProperty name="color" value="#66CC00"/>
    </inkml:brush>
  </inkml:definitions>
  <inkml:trace contextRef="#ctx0" brushRef="#br0">9 136 1908 0 0,'-9'3'8194'0'0,"53"-8"-7239"0"0,56-16 1 0 0,1 1-469 0 0,529-69 468 0 0,-608 86-1024 0 0,-30 2-381 0 0,-31 3 63 0 0,-386 57-217 0 0,355-46 521 0 0,27-6 57 0 0,12-3-20 0 0,-1 2 1 0 0,1 1 0 0 0,-57 21 0 0 0,85-26 96 0 0,0-1 0 0 0,0 1 1 0 0,0-1-1 0 0,0 1 0 0 0,1 0 0 0 0,-1 0 0 0 0,0 0 0 0 0,1 0 0 0 0,-1 1 1 0 0,1-1-1 0 0,0 1 0 0 0,0-1 0 0 0,0 1 0 0 0,0 0 0 0 0,-2 5 0 0 0,3-6-7 0 0,1 0 0 0 0,-1 0 0 0 0,1 0-1 0 0,0 0 1 0 0,0 0 0 0 0,0 0-1 0 0,0 0 1 0 0,0 0 0 0 0,0 0-1 0 0,0 0 1 0 0,1 0 0 0 0,-1 0-1 0 0,1-1 1 0 0,-1 1 0 0 0,1 0 0 0 0,0 0-1 0 0,0 0 1 0 0,0-1 0 0 0,0 1-1 0 0,0 0 1 0 0,0-1 0 0 0,0 1-1 0 0,1-1 1 0 0,-1 1 0 0 0,0-1 0 0 0,1 0-1 0 0,-1 1 1 0 0,3 0 0 0 0,15 12 190 0 0,0-1 1 0 0,1-1-1 0 0,0-1 1 0 0,1-1-1 0 0,0 0 1 0 0,27 7 0 0 0,141 32 281 0 0,-161-42-426 0 0,112 17 227 0 0,-33-6-155 0 0,-106-18-144 0 0,1 0 0 0 0,-1 0 1 0 0,1 1-1 0 0,-1-1 0 0 0,1 0 0 0 0,-1 1 0 0 0,1-1 0 0 0,-1 1 0 0 0,0 0 0 0 0,1-1 1 0 0,-1 1-1 0 0,0 0 0 0 0,0 0 0 0 0,0 0 0 0 0,1 0 0 0 0,-1 0 0 0 0,0 0 0 0 0,0 0 1 0 0,0 0-1 0 0,0 0 0 0 0,-1 1 0 0 0,2 1 0 0 0,-2-2 0 0 0,1 1 0 0 0,-1-1 0 0 0,0 1 0 0 0,0 0 1 0 0,0-1-1 0 0,0 1 0 0 0,0-1 0 0 0,-1 1 0 0 0,1-1 0 0 0,0 1 0 0 0,-1 0 0 0 0,1-1 0 0 0,-1 1 0 0 0,0-1 0 0 0,1 0 1 0 0,-1 1-1 0 0,-1 1 0 0 0,-6 7 58 0 0,1 0 0 0 0,-2 0 0 0 0,1-1 0 0 0,-12 9 0 0 0,13-11-47 0 0,-119 100 442 0 0,80-70-155 0 0,1 1 1 0 0,-48 55-1 0 0,92-93-269 0 0,1 1 1 0 0,-1 0 0 0 0,0 0 0 0 0,0-1-1 0 0,0 1 1 0 0,1 0 0 0 0,-1 0 0 0 0,0 0-1 0 0,1 0 1 0 0,-1 0 0 0 0,1 0-1 0 0,-1 0 1 0 0,1 0 0 0 0,0 0 0 0 0,-1 0-1 0 0,1 1 1 0 0,0-1 0 0 0,0 0-1 0 0,0 0 1 0 0,0 0 0 0 0,-1 0 0 0 0,2 0-1 0 0,-1 0 1 0 0,0 1 0 0 0,0-1 0 0 0,0 0-1 0 0,0 0 1 0 0,1 0 0 0 0,-1 0-1 0 0,1 0 1 0 0,0 2 0 0 0,1-2 20 0 0,0 1 0 0 0,-1-1 0 0 0,1 1 0 0 0,0-1 0 0 0,0 0 1 0 0,0 0-1 0 0,0 0 0 0 0,1 0 0 0 0,-1-1 0 0 0,0 1 0 0 0,0 0 0 0 0,0-1 0 0 0,1 0 0 0 0,-1 1 1 0 0,4-1-1 0 0,28 1 239 0 0,-1-1 1 0 0,46-6 0 0 0,70-18-16 0 0,-93 15-206 0 0,243-55 384 0 0,-125 25-218 0 0,-153 32-316 0 0,-1 1-3829 0 0,-28 16 746 0 0,2-5 1522 0 0,-1-1 1 0 0,0 0 0 0 0,-13 5-1 0 0,11-5-352 0 0,-14 6-3720 0 0</inkml:trace>
</inkml:ink>
</file>

<file path=ppt/ink/ink2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9:58.798"/>
    </inkml:context>
    <inkml:brush xml:id="br0">
      <inkml:brushProperty name="width" value="0.1" units="cm"/>
      <inkml:brushProperty name="height" value="0.1" units="cm"/>
      <inkml:brushProperty name="color" value="#66CC00"/>
    </inkml:brush>
  </inkml:definitions>
  <inkml:trace contextRef="#ctx0" brushRef="#br0">0 1 1036 0 0,'0'0'2096'0'0,"15"7"653"0"0,-2 10-1326 0 0,-1 0 0 0 0,-1 1 0 0 0,14 27 0 0 0,3 6-245 0 0,0-6-683 0 0,41 70 593 0 0,-29-37-3574 0 0,-21-50-3589 0 0</inkml:trace>
</inkml:ink>
</file>

<file path=ppt/ink/ink2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9:59.137"/>
    </inkml:context>
    <inkml:brush xml:id="br0">
      <inkml:brushProperty name="width" value="0.1" units="cm"/>
      <inkml:brushProperty name="height" value="0.1" units="cm"/>
      <inkml:brushProperty name="color" value="#66CC00"/>
    </inkml:brush>
  </inkml:definitions>
  <inkml:trace contextRef="#ctx0" brushRef="#br0">268 0 596 0 0,'0'0'2543'0'0,"-3"2"-1538"0"0,-54 36 2426 0 0,-72 43-688 0 0,113-73-2442 0 0,1 1-1 0 0,-26 20 0 0 0,40-28-272 0 0,1-1 0 0 0,-1 0-1 0 0,1 1 1 0 0,-1-1 0 0 0,1 1 0 0 0,0-1 0 0 0,-1 1-1 0 0,1-1 1 0 0,-1 1 0 0 0,1-1 0 0 0,0 1 0 0 0,0-1-1 0 0,-1 1 1 0 0,1-1 0 0 0,0 1 0 0 0,0 0 0 0 0,0-1-1 0 0,-1 1 1 0 0,1-1 0 0 0,0 1 0 0 0,0 0 0 0 0,0-1-1 0 0,0 1 1 0 0,0-1 0 0 0,0 1 0 0 0,0 0 0 0 0,0-1-1 0 0,1 2 1 0 0,-1-1 11 0 0,1 0-1 0 0,0 0 0 0 0,0 0 1 0 0,-1 0-1 0 0,1 0 0 0 0,0-1 0 0 0,0 1 1 0 0,0 0-1 0 0,0 0 0 0 0,0-1 1 0 0,0 1-1 0 0,0 0 0 0 0,1 0 1 0 0,34 11 570 0 0,8-3-40 0 0,356 89 2477 0 0,-296-59-2797 0 0,-75-27-881 0 0,-17-5-462 0 0</inkml:trace>
</inkml:ink>
</file>

<file path=ppt/ink/ink2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49:59.882"/>
    </inkml:context>
    <inkml:brush xml:id="br0">
      <inkml:brushProperty name="width" value="0.1" units="cm"/>
      <inkml:brushProperty name="height" value="0.1" units="cm"/>
      <inkml:brushProperty name="color" value="#66CC00"/>
    </inkml:brush>
  </inkml:definitions>
  <inkml:trace contextRef="#ctx0" brushRef="#br0">262 90 964 0 0,'0'-25'4591'0'0,"6"-37"0"0"0,-6 60-3896 0 0,-11 35 1254 0 0,-56 188 1440 0 0,43-132-3791 0 0,-3-1 1 0 0,-50 106-1 0 0,72-182-486 0 0,-10 17-446 0 0,14-27 925 0 0,0-1 1 0 0,0 1-1 0 0,0-1 1 0 0,0 1-1 0 0,-1-1 0 0 0,1 0 1 0 0,0 0-1 0 0,-1 0 1 0 0,1 1-1 0 0,-1-1 0 0 0,1-1 1 0 0,-1 1-1 0 0,1 0 1 0 0,-1 0-1 0 0,0-1 0 0 0,-1 2 1 0 0,-13 1-2994 0 0</inkml:trace>
</inkml:ink>
</file>

<file path=ppt/ink/ink2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0:00.300"/>
    </inkml:context>
    <inkml:brush xml:id="br0">
      <inkml:brushProperty name="width" value="0.1" units="cm"/>
      <inkml:brushProperty name="height" value="0.1" units="cm"/>
      <inkml:brushProperty name="color" value="#66CC00"/>
    </inkml:brush>
  </inkml:definitions>
  <inkml:trace contextRef="#ctx0" brushRef="#br0">0 21 1392 0 0,'3'-12'4795'0'0,"-2"12"-4669"0"0,-1-1 1 0 0,1 0-1 0 0,0 0 0 0 0,-1 1 1 0 0,1-1-1 0 0,0 1 1 0 0,-1-1-1 0 0,1 1 1 0 0,0-1-1 0 0,0 1 1 0 0,-1-1-1 0 0,1 1 1 0 0,0 0-1 0 0,0-1 1 0 0,0 1-1 0 0,0 0 1 0 0,0 0-1 0 0,-1-1 1 0 0,1 1-1 0 0,0 0 1 0 0,0 0-1 0 0,2 0 1 0 0,27 6 1303 0 0,-15 0-575 0 0,27 13-1 0 0,17 16 168 0 0,-2 1-1 0 0,-2 4 1 0 0,-1 1-1 0 0,51 53 1 0 0,-89-77-1295 0 0,0 1 0 0 0,-2 1-1 0 0,18 28 1 0 0,-20-29-1212 0 0,-10 7-1949 0 0</inkml:trace>
</inkml:ink>
</file>

<file path=ppt/ink/ink2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0:00.627"/>
    </inkml:context>
    <inkml:brush xml:id="br0">
      <inkml:brushProperty name="width" value="0.1" units="cm"/>
      <inkml:brushProperty name="height" value="0.1" units="cm"/>
      <inkml:brushProperty name="color" value="#66CC00"/>
    </inkml:brush>
  </inkml:definitions>
  <inkml:trace contextRef="#ctx0" brushRef="#br0">13 65 2124 0 0,'4'0'708'0'0,"-1"0"0"0"0,1 1 0 0 0,-1 0 0 0 0,1 0-1 0 0,-1 0 1 0 0,1 0 0 0 0,-1 1 0 0 0,1-1 0 0 0,-1 1 0 0 0,0 0-1 0 0,0 0 1 0 0,0 0 0 0 0,3 4 0 0 0,3 4-711 0 0,13 22 1794 0 0,22 42 0 0 0,-29-43-1664 0 0,-1 1-1 0 0,-1 0 1 0 0,11 47-1 0 0,-22-73-682 0 0,-1 1-1 0 0,0-1 1 0 0,-1 0-1 0 0,0 1 0 0 0,0-1 1 0 0,0 1-1 0 0,0-1 0 0 0,-1 0 1 0 0,-3 13-1 0 0,-1-8-2567 0 0</inkml:trace>
  <inkml:trace contextRef="#ctx0" brushRef="#br0" timeOffset="1">41 84 1532 0 0,'-4'-10'1532'0'0,"-1"1"808"0"0,-1-7-847 0 0,-3 0-553 0 0,3 3-704 0 0,1 5-576 0 0,-1-4-3057 0 0</inkml:trace>
</inkml:ink>
</file>

<file path=ppt/ink/ink2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0:01.039"/>
    </inkml:context>
    <inkml:brush xml:id="br0">
      <inkml:brushProperty name="width" value="0.1" units="cm"/>
      <inkml:brushProperty name="height" value="0.1" units="cm"/>
      <inkml:brushProperty name="color" value="#66CC00"/>
    </inkml:brush>
  </inkml:definitions>
  <inkml:trace contextRef="#ctx0" brushRef="#br0">4 7 452 0 0,'-3'-6'10167'0'0,"10"11"-9647"0"0,0 1 1 0 0,-1 0-1 0 0,0 1 0 0 0,0 0 1 0 0,0 0-1 0 0,7 13 1 0 0,27 51 652 0 0,-36-65-1109 0 0,7 17 60 0 0,0 0 0 0 0,-2 0 0 0 0,0 1 0 0 0,8 40 0 0 0,-10-7-3003 0 0,-8 0-4389 0 0,-1-39 3700 0 0</inkml:trace>
</inkml:ink>
</file>

<file path=ppt/ink/ink2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0:01.377"/>
    </inkml:context>
    <inkml:brush xml:id="br0">
      <inkml:brushProperty name="width" value="0.1" units="cm"/>
      <inkml:brushProperty name="height" value="0.1" units="cm"/>
      <inkml:brushProperty name="color" value="#66CC00"/>
    </inkml:brush>
  </inkml:definitions>
  <inkml:trace contextRef="#ctx0" brushRef="#br0">204 0 1280 0 0,'-3'4'407'0'0,"1"-1"0"0"0,-1 0 0 0 0,0 0 0 0 0,1-1-1 0 0,-2 1 1 0 0,1 0 0 0 0,0-1 0 0 0,0 0 0 0 0,-7 4 0 0 0,-40 17 1114 0 0,34-16-1114 0 0,3-2-227 0 0,0 2-1 0 0,1 0 0 0 0,0 0 1 0 0,0 1-1 0 0,0 0 0 0 0,-11 11 1 0 0,23-18-142 0 0,-1 0 1 0 0,1-1 0 0 0,-1 1-1 0 0,1 0 1 0 0,0 0 0 0 0,-1-1 0 0 0,1 1-1 0 0,0 0 1 0 0,-1 0 0 0 0,1-1-1 0 0,0 1 1 0 0,0 0 0 0 0,0 0-1 0 0,0 0 1 0 0,0 0 0 0 0,-1-1-1 0 0,2 1 1 0 0,-1 0 0 0 0,0 0-1 0 0,0 0 1 0 0,0-1 0 0 0,0 1-1 0 0,0 0 1 0 0,1 0 0 0 0,-1 0-1 0 0,0-1 1 0 0,1 1 0 0 0,-1 0-1 0 0,1-1 1 0 0,-1 1 0 0 0,1 0-1 0 0,0 0 1 0 0,17 17 825 0 0,-6-10-515 0 0,0-1-1 0 0,1-1 1 0 0,0 0-1 0 0,0-1 1 0 0,1 0-1 0 0,22 5 1 0 0,-4-1 253 0 0,101 29 1326 0 0,43 14-2433 0 0,-165-46-113 0 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8:25.364"/>
    </inkml:context>
    <inkml:brush xml:id="br0">
      <inkml:brushProperty name="width" value="0.08571" units="cm"/>
      <inkml:brushProperty name="height" value="0.08571" units="cm"/>
      <inkml:brushProperty name="color" value="#00A0D7"/>
    </inkml:brush>
  </inkml:definitions>
  <inkml:trace contextRef="#ctx0" brushRef="#br0">45 1 11311,'-23'1'7195,"2"3"-6745,20 0-360,12 3 90,6-1-90,7 1 90,-6-4 180,28 7-180,-14-4-1,37 7 1,-14-4-90,0 0 0,16 1-473,-31-3 383,12 0 90,-19-2-90,-1 0 0,-2-1 0,-2-1 0,-2 1 0,-4-2 90,-2 1 293,-2-1-293,-3 0 0,5 0 0,-3 0-4138,3 0 840,-16-4 0,-4-2 0</inkml:trace>
</inkml:ink>
</file>

<file path=ppt/ink/ink2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0:01.914"/>
    </inkml:context>
    <inkml:brush xml:id="br0">
      <inkml:brushProperty name="width" value="0.1" units="cm"/>
      <inkml:brushProperty name="height" value="0.1" units="cm"/>
      <inkml:brushProperty name="color" value="#66CC00"/>
    </inkml:brush>
  </inkml:definitions>
  <inkml:trace contextRef="#ctx0" brushRef="#br0">0 34 1512 0 0,'0'0'1732'0'0,"2"-12"2349"0"0,1 0-1265 0 0,1 3-2276 0 0,13 13-2828 0 0</inkml:trace>
</inkml:ink>
</file>

<file path=ppt/ink/ink2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0:03.544"/>
    </inkml:context>
    <inkml:brush xml:id="br0">
      <inkml:brushProperty name="width" value="0.1" units="cm"/>
      <inkml:brushProperty name="height" value="0.1" units="cm"/>
      <inkml:brushProperty name="color" value="#66CC00"/>
    </inkml:brush>
  </inkml:definitions>
  <inkml:trace contextRef="#ctx0" brushRef="#br0">33 163 80 0 0,'-32'-160'8316'0'0,"32"157"-7829"0"0,10 13-36 0 0,-3 6-235 0 0,-1 0 1 0 0,0 0-1 0 0,6 28 0 0 0,-3-8-9 0 0,-6-27-158 0 0,249 778 2279 0 0,-201-656-2128 0 0,5 13-1124 0 0,-20-48-3508 0 0</inkml:trace>
</inkml:ink>
</file>

<file path=ppt/ink/ink2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0:04.311"/>
    </inkml:context>
    <inkml:brush xml:id="br0">
      <inkml:brushProperty name="width" value="0.1" units="cm"/>
      <inkml:brushProperty name="height" value="0.1" units="cm"/>
      <inkml:brushProperty name="color" value="#66CC00"/>
    </inkml:brush>
  </inkml:definitions>
  <inkml:trace contextRef="#ctx0" brushRef="#br0">14 993 896 0 0,'-1'-2'153'0'0,"0"1"0"0"0,-1-1 0 0 0,1 1 0 0 0,0-1 0 0 0,0 1 0 0 0,0-1 0 0 0,0 0 0 0 0,0 1 0 0 0,0-1 0 0 0,1 0-1 0 0,-1 0 1 0 0,1 1 0 0 0,-1-1 0 0 0,1 0 0 0 0,0 0 0 0 0,-1 0 0 0 0,1 0 0 0 0,0 0 0 0 0,0 0 0 0 0,0 0 0 0 0,1 0 0 0 0,-1 0 0 0 0,0 1 0 0 0,1-1 0 0 0,1-4 0 0 0,0 2-30 0 0,0 0 0 0 0,1 1 0 0 0,-1-1 1 0 0,1 1-1 0 0,0-1 0 0 0,0 1 1 0 0,0 0-1 0 0,1 0 0 0 0,-1 0 0 0 0,6-3 1 0 0,19-12 123 0 0,1 1 1 0 0,1 2-1 0 0,1 0 1 0 0,43-13-1 0 0,133-30 187 0 0,-183 52-385 0 0,711-131 497 0 0,9 50-407 0 0,-495 61-76 0 0,404-41 51 0 0,765-95-920 0 0,-457 16 704 0 0,-819 125 152 0 0,311-58 684 0 0,-352 61 578 0 0,-98 18-1214 0 0,0-1-29 0 0,25 0 211 0 0,-24 1-254 0 0,11 5 174 0 0,-7 2-20 0 0,-1 0 0 0 0,0 1 0 0 0,0 0 1 0 0,0 0-1 0 0,9 15 0 0 0,27 51 510 0 0,-37-62-595 0 0,131 277 1668 0 0,-19 10-338 0 0,-4-11-271 0 0,118 293 624 0 0,-210-524-1669 0 0,26 77-1426 0 0,-32-95-3092 0 0</inkml:trace>
</inkml:ink>
</file>

<file path=ppt/ink/ink2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0:06.296"/>
    </inkml:context>
    <inkml:brush xml:id="br0">
      <inkml:brushProperty name="width" value="0.1" units="cm"/>
      <inkml:brushProperty name="height" value="0.1" units="cm"/>
      <inkml:brushProperty name="color" value="#66CC00"/>
    </inkml:brush>
  </inkml:definitions>
  <inkml:trace contextRef="#ctx0" brushRef="#br0">12 146 636 0 0,'-7'-57'3424'0'0,"3"28"-1461"0"0,4 23-1157 0 0,2 6-292 0 0,6 14-82 0 0,8 26 22 0 0,197 466 2878 0 0,-187-450-3166 0 0,-16-34-94 0 0,0 0 0 0 0,1-1 0 0 0,1 0 0 0 0,22 28-1 0 0,-30-45-56 0 0,-1-1 0 0 0,1-1-1 0 0,-1 1 1 0 0,1 0-1 0 0,0-1 1 0 0,0 0-1 0 0,0 0 1 0 0,0 0-1 0 0,1 0 1 0 0,-1-1-1 0 0,0 0 1 0 0,10 2 0 0 0,2-1-7 0 0,0 0 1 0 0,21-1 0 0 0,249-23 49 0 0,-56 0-3 0 0,-53 12-54 0 0,69-3-83 0 0,496 26 92 0 0,-452 2 75 0 0,123 4-13 0 0,-182-11-67 0 0,200-1 142 0 0,365-46 335 0 0,-554 17-452 0 0,-104 9-10 0 0,654-116 240 0 0,-229 4-272 0 0,-481 106 19 0 0,102-27 84 0 0,-126 31-16 0 0,-20 5-48 0 0,54-21 1 0 0,-44 15 44 0 0,-46 15 71 0 0,1 0 66 0 0,22-7 958 0 0,-22 7-944 0 0,8-22 543 0 0,-10 15-696 0 0,0 0 1 0 0,-1 0-1 0 0,0 0 0 0 0,-1-1 1 0 0,0 1-1 0 0,0 0 1 0 0,-4-11-1 0 0,0-14 57 0 0,-10-63 194 0 0,12 82-616 0 0,0 1 0 0 0,-1 1 0 0 0,-1-1 0 0 0,0 1 1 0 0,-8-16-1 0 0,10 25-665 0 0,1-1 0 0 0,-1 0 0 0 0,0 1 1 0 0,0 0-1 0 0,0 0 0 0 0,0 0 0 0 0,-7-5 1 0 0,-3 0-4442 0 0</inkml:trace>
</inkml:ink>
</file>

<file path=ppt/ink/ink2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1:25.133"/>
    </inkml:context>
    <inkml:brush xml:id="br0">
      <inkml:brushProperty name="width" value="0.2" units="cm"/>
      <inkml:brushProperty name="height" value="0.2" units="cm"/>
      <inkml:brushProperty name="color" value="#E71224"/>
    </inkml:brush>
  </inkml:definitions>
  <inkml:trace contextRef="#ctx0" brushRef="#br0">472 24 860 0 0,'-10'-5'473'0'0,"0"1"0"0"0,-1 1 1 0 0,1 0-1 0 0,-1 0 0 0 0,1 1 0 0 0,-1 0 0 0 0,0 1 1 0 0,0 0-1 0 0,0 1 0 0 0,-21 2 0 0 0,14 0-249 0 0,0 1-1 0 0,0 1 1 0 0,1 1-1 0 0,-1 0 1 0 0,-28 14 0 0 0,41-17-195 0 0,-1 1 1 0 0,1 0 0 0 0,1 0 0 0 0,-1 0 0 0 0,0 0-1 0 0,1 1 1 0 0,0 0 0 0 0,-1 0 0 0 0,2 0 0 0 0,-1 0-1 0 0,0 1 1 0 0,1-1 0 0 0,0 1 0 0 0,0 0-1 0 0,0 0 1 0 0,1 0 0 0 0,-1 1 0 0 0,1-1 0 0 0,-1 8-1 0 0,1-6-5 0 0,1 0-1 0 0,1 1 1 0 0,0-1-1 0 0,0 0 1 0 0,0 0-1 0 0,0 1 1 0 0,1-1-1 0 0,1 0 1 0 0,-1 0-1 0 0,1 0 1 0 0,0 0-1 0 0,1 0 1 0 0,0-1-1 0 0,6 12 1 0 0,1-1 12 0 0,2 0 0 0 0,0-1 1 0 0,1 0-1 0 0,1-1 0 0 0,0 0 1 0 0,28 21-1 0 0,107 67 84 0 0,-116-82-92 0 0,16 9 29 0 0,-13-8 82 0 0,-1 0 1 0 0,-1 3-1 0 0,-2 0 1 0 0,33 34-1 0 0,-63-58-31 0 0,0 1-1 0 0,-1 0 1 0 0,1 0 0 0 0,0-1-1 0 0,-1 1 1 0 0,0 0 0 0 0,1 1-1 0 0,-1-1 1 0 0,0 0 0 0 0,0 0-1 0 0,0 0 1 0 0,0 1 0 0 0,-1-1-1 0 0,1 1 1 0 0,-1-1 0 0 0,1 0 0 0 0,-1 1-1 0 0,0 3 1 0 0,-1-4-17 0 0,1 0-1 0 0,-1 0 1 0 0,0 0 0 0 0,0 0-1 0 0,-1-1 1 0 0,1 1-1 0 0,0 0 1 0 0,0-1 0 0 0,-1 1-1 0 0,1-1 1 0 0,-1 1 0 0 0,1-1-1 0 0,-1 0 1 0 0,0 0 0 0 0,0 0-1 0 0,1 0 1 0 0,-1 0 0 0 0,0 0-1 0 0,0 0 1 0 0,0 0 0 0 0,0-1-1 0 0,-4 1 1 0 0,-14 5 258 0 0,0-2-1 0 0,-1 0 1 0 0,0-2-1 0 0,0 0 1 0 0,-22-1 0 0 0,-108-11 508 0 0,109 6-700 0 0,-243-34 131 0 0,235 28-3940 0 0</inkml:trace>
</inkml:ink>
</file>

<file path=ppt/ink/ink2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1:25.618"/>
    </inkml:context>
    <inkml:brush xml:id="br0">
      <inkml:brushProperty name="width" value="0.2" units="cm"/>
      <inkml:brushProperty name="height" value="0.2" units="cm"/>
      <inkml:brushProperty name="color" value="#E71224"/>
    </inkml:brush>
  </inkml:definitions>
  <inkml:trace contextRef="#ctx0" brushRef="#br0">0 357 1560 0 0,'5'2'1167'0'0,"1"0"-833"0"0,-1 0-1 0 0,1 0 1 0 0,-1 1 0 0 0,0 0-1 0 0,0 1 1 0 0,0-1 0 0 0,0 1-1 0 0,-1 0 1 0 0,1 0 0 0 0,-1 0-1 0 0,0 0 1 0 0,0 1 0 0 0,4 7-1 0 0,7 11 890 0 0,21 43-1 0 0,-22-38-559 0 0,193 399 3922 0 0,-171-339-3222 0 0,-36-88-1348 0 0,0 0 0 0 0,0 1 0 0 0,0-1 0 0 0,0 0 0 0 0,0 0-1 0 0,1 1 1 0 0,-1-1 0 0 0,0 0 0 0 0,0 0 0 0 0,0 1 0 0 0,0-1 0 0 0,0 0-1 0 0,0 1 1 0 0,0-1 0 0 0,0 0 0 0 0,0 0 0 0 0,0 1 0 0 0,0-1 0 0 0,0 0 0 0 0,0 1-1 0 0,0-1 1 0 0,0 0 0 0 0,0 1 0 0 0,0-1 0 0 0,-1 0 0 0 0,1 0 0 0 0,0 1-1 0 0,0-1 1 0 0,0 0 0 0 0,0 0 0 0 0,0 1 0 0 0,-1-1 0 0 0,1 0 0 0 0,0 0 0 0 0,0 0-1 0 0,-1 1 1 0 0,1-1 0 0 0,0 0 0 0 0,0 0 0 0 0,-1 0 0 0 0,1 0 0 0 0,0 1-1 0 0,0-1 1 0 0,-1 0 0 0 0,1 0 0 0 0,0 0 0 0 0,-1 0 0 0 0,1 0 0 0 0,0 0 0 0 0,0 0-1 0 0,-1 0 1 0 0,1 0 0 0 0,0 0 0 0 0,-1 0 0 0 0,1 0 0 0 0,0 0 0 0 0,0 0-1 0 0,-1 0 1 0 0,1 0 0 0 0,-1-1 0 0 0,-15-2 158 0 0,7-3-140 0 0,0 0-1 0 0,1 0 1 0 0,-1-1-1 0 0,1 0 1 0 0,1-1-1 0 0,-1 1 1 0 0,1-1-1 0 0,-10-15 1 0 0,-6-10-37 0 0,0-1-1 0 0,3-1 1 0 0,1 0-1 0 0,1-1 1 0 0,2-1-1 0 0,2-1 1 0 0,1 0-1 0 0,3-1 1 0 0,0-1-1 0 0,3 1 1 0 0,1-1-1 0 0,-1-67 1 0 0,8 83-16 0 0,1 0 1 0 0,2 0-1 0 0,0 1 0 0 0,1-1 1 0 0,1 1-1 0 0,1 0 0 0 0,2 1 1 0 0,0-1-1 0 0,1 2 1 0 0,14-22-1 0 0,-16 30 0 0 0,1 0-1 0 0,0 1 1 0 0,1 1-1 0 0,0-1 1 0 0,1 1-1 0 0,1 1 1 0 0,16-12 0 0 0,-19 16 8 0 0,1 0 0 0 0,0 0 0 0 0,1 1 0 0 0,0 1 1 0 0,-1 0-1 0 0,2 0 0 0 0,-1 1 0 0 0,0 0 0 0 0,0 1 0 0 0,18-1 1 0 0,-20 2 5 0 0,0 1-1 0 0,0 1 1 0 0,0-1 0 0 0,1 2 0 0 0,-1-1 0 0 0,0 1 0 0 0,0 1 0 0 0,-1-1 0 0 0,1 2 0 0 0,-1-1 0 0 0,1 1 0 0 0,-1 0 0 0 0,0 1 0 0 0,0 0 0 0 0,11 9 0 0 0,-15-10 3 0 0,0 0 1 0 0,0 0 0 0 0,0 0-1 0 0,-1 1 1 0 0,1-1 0 0 0,-1 1-1 0 0,0 0 1 0 0,-1 0 0 0 0,1 0-1 0 0,-1 0 1 0 0,0 0 0 0 0,0 0-1 0 0,-1 1 1 0 0,1-1 0 0 0,-1 1-1 0 0,0-1 1 0 0,-1 1 0 0 0,1-1-1 0 0,-1 1 1 0 0,0 0 0 0 0,-1-1-1 0 0,1 1 1 0 0,-1-1 0 0 0,0 1-1 0 0,-1-1 1 0 0,-2 9 0 0 0,-2 0 6 0 0,-1-1 0 0 0,0 0 0 0 0,0 0 0 0 0,-1-1 1 0 0,-1 0-1 0 0,0-1 0 0 0,-1 0 0 0 0,0 0 1 0 0,0-1-1 0 0,-19 14 0 0 0,-15 8-527 0 0,-70 39 0 0 0,92-58 68 0 0,-55 36-2748 0 0,36-22-3517 0 0</inkml:trace>
</inkml:ink>
</file>

<file path=ppt/ink/ink2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1:26.033"/>
    </inkml:context>
    <inkml:brush xml:id="br0">
      <inkml:brushProperty name="width" value="0.2" units="cm"/>
      <inkml:brushProperty name="height" value="0.2" units="cm"/>
      <inkml:brushProperty name="color" value="#E71224"/>
    </inkml:brush>
  </inkml:definitions>
  <inkml:trace contextRef="#ctx0" brushRef="#br0">208 28 1332 0 0,'1'-2'557'0'0,"0"-1"0"0"0,0 0 1 0 0,0 0-1 0 0,0 0 0 0 0,-1 0 0 0 0,1 0 0 0 0,-1-4 0 0 0,-18 7 1095 0 0,11 3-1377 0 0,-1 0 0 0 0,1 0 0 0 0,0 1 0 0 0,0 0 0 0 0,1 0 0 0 0,-1 1 0 0 0,1 0 0 0 0,-11 11-1 0 0,13-12-155 0 0,-9 7 73 0 0,1 1 1 0 0,1 1-1 0 0,0 0 1 0 0,1 0-1 0 0,0 1 1 0 0,1 0-1 0 0,0 1 0 0 0,2 0 1 0 0,-7 16-1 0 0,11-24-116 0 0,1 1-1 0 0,-1 0 0 0 0,1-1 1 0 0,1 1-1 0 0,0 0 0 0 0,0 0 0 0 0,0 0 1 0 0,1 0-1 0 0,1 0 0 0 0,-1 0 0 0 0,1 0 1 0 0,0 0-1 0 0,1 0 0 0 0,0 0 1 0 0,0 0-1 0 0,1-1 0 0 0,0 1 0 0 0,0-1 1 0 0,1 1-1 0 0,7 11 0 0 0,-5-12-31 0 0,-1 1 1 0 0,1-1-1 0 0,1 0 0 0 0,-1 0 0 0 0,1 0 0 0 0,1-1 0 0 0,-1 0 0 0 0,1-1 1 0 0,0 1-1 0 0,0-2 0 0 0,1 1 0 0 0,-1-1 0 0 0,1 0 0 0 0,0-1 1 0 0,0 0-1 0 0,0-1 0 0 0,19 4 0 0 0,-25-6-41 0 0,1 0-1 0 0,-1 0 1 0 0,1 0 0 0 0,-1 0 0 0 0,1-1-1 0 0,-1 1 1 0 0,1-1 0 0 0,-1 0-1 0 0,0 0 1 0 0,1 0 0 0 0,-1-1-1 0 0,0 1 1 0 0,0-1 0 0 0,0 1 0 0 0,0-1-1 0 0,0 0 1 0 0,0 0 0 0 0,-1-1-1 0 0,1 1 1 0 0,0 0 0 0 0,-1-1 0 0 0,0 0-1 0 0,0 1 1 0 0,0-1 0 0 0,2-4-1 0 0,4-6-64 0 0,-2-1 0 0 0,0 0 0 0 0,0 0-1 0 0,5-20 1 0 0,-5 14 26 0 0,19-56-302 0 0,-25 74 368 0 0,2 4 49 0 0,3 4-17 0 0,0 0 0 0 0,-1 1 0 0 0,0 0 0 0 0,0 0 0 0 0,-1 0 0 0 0,0 0 0 0 0,0 1 0 0 0,2 9 0 0 0,5 10 71 0 0,6 18-44 0 0,12 56 1 0 0,-14-44-2332 0 0,3 0-3755 0 0</inkml:trace>
</inkml:ink>
</file>

<file path=ppt/ink/ink2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1:26.385"/>
    </inkml:context>
    <inkml:brush xml:id="br0">
      <inkml:brushProperty name="width" value="0.2" units="cm"/>
      <inkml:brushProperty name="height" value="0.2" units="cm"/>
      <inkml:brushProperty name="color" value="#E71224"/>
    </inkml:brush>
  </inkml:definitions>
  <inkml:trace contextRef="#ctx0" brushRef="#br0">0 29 684 0 0,'4'-3'300'0'0,"-1"0"-1"0"0,0 1 1 0 0,1-1 0 0 0,0 1-1 0 0,0-1 1 0 0,0 1-1 0 0,0 0 1 0 0,0 1 0 0 0,0-1-1 0 0,0 1 1 0 0,0-1 0 0 0,1 1-1 0 0,-1 1 1 0 0,0-1 0 0 0,1 1-1 0 0,-1-1 1 0 0,1 1-1 0 0,-1 0 1 0 0,0 1 0 0 0,1-1-1 0 0,-1 1 1 0 0,1 0 0 0 0,6 2-1 0 0,-5 0-99 0 0,0 0 0 0 0,-1 0 0 0 0,1 0 0 0 0,0 0 0 0 0,-1 1-1 0 0,0 0 1 0 0,0 0 0 0 0,0 1 0 0 0,0-1 0 0 0,-1 1 0 0 0,0 0 0 0 0,0 1-1 0 0,0-1 1 0 0,0 0 0 0 0,4 11 0 0 0,-3-4-13 0 0,-1 2 1 0 0,0-1-1 0 0,-1 0 1 0 0,-1 1-1 0 0,0 0 0 0 0,0 0 1 0 0,-2-1-1 0 0,1 1 1 0 0,-4 20-1 0 0,2 9 2115 0 0,18-64-1832 0 0,7-7-283 0 0,37-34 1 0 0,9-11-1446 0 0,-67 71 844 0 0,0-1 1 0 0,0 0-1 0 0,1 1 1 0 0,-1 0-1 0 0,0-1 0 0 0,1 1 1 0 0,0 1-1 0 0,0-1 0 0 0,-1 1 1 0 0,1-1-1 0 0,0 1 0 0 0,5-1 1 0 0</inkml:trace>
</inkml:ink>
</file>

<file path=ppt/ink/ink2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1:26.716"/>
    </inkml:context>
    <inkml:brush xml:id="br0">
      <inkml:brushProperty name="width" value="0.2" units="cm"/>
      <inkml:brushProperty name="height" value="0.2" units="cm"/>
      <inkml:brushProperty name="color" value="#E71224"/>
    </inkml:brush>
  </inkml:definitions>
  <inkml:trace contextRef="#ctx0" brushRef="#br0">103 38 1028 0 0,'1'-2'289'0'0,"-1"0"-1"0"0,0 0 0 0 0,-1 0 1 0 0,1 0-1 0 0,0 0 1 0 0,-1 0-1 0 0,1 0 1 0 0,-1 1-1 0 0,1-1 1 0 0,-1 0-1 0 0,0 0 1 0 0,0 0-1 0 0,1 1 0 0 0,-3-3 1 0 0,2 3-207 0 0,1 0 0 0 0,-1 1 0 0 0,0-1 0 0 0,0 1 0 0 0,0-1-1 0 0,1 0 1 0 0,-1 1 0 0 0,0-1 0 0 0,0 1 0 0 0,0 0 0 0 0,0-1 0 0 0,0 1 0 0 0,0 0 0 0 0,0 0 0 0 0,0 0 0 0 0,0-1 0 0 0,0 1 0 0 0,0 0-1 0 0,0 0 1 0 0,-2 1 0 0 0,2-1-51 0 0,1 0-1 0 0,-1 1 1 0 0,0-1-1 0 0,0 1 1 0 0,1-1-1 0 0,-1 1 0 0 0,0-1 1 0 0,1 1-1 0 0,-1 0 1 0 0,0-1-1 0 0,1 1 1 0 0,-1 0-1 0 0,1 0 0 0 0,-1-1 1 0 0,1 1-1 0 0,-1 0 1 0 0,1 0-1 0 0,0 0 1 0 0,-1 0-1 0 0,1-1 1 0 0,0 3-1 0 0,-1-3 46 0 0,-1 7 46 0 0,-1-1 0 0 0,1 1-1 0 0,1 0 1 0 0,-1 0-1 0 0,1 0 1 0 0,0 0 0 0 0,0-1-1 0 0,1 1 1 0 0,0 0-1 0 0,1 0 1 0 0,-1 0 0 0 0,1 0-1 0 0,0 0 1 0 0,1 0-1 0 0,0 0 1 0 0,0-1 0 0 0,5 12-1 0 0,4 5 133 0 0,0 0 0 0 0,2-1 0 0 0,22 30 0 0 0,2-3 216 0 0,-24-35-317 0 0,-2 0 0 0 0,0 1 0 0 0,-1 0 0 0 0,0 1 0 0 0,-2 0 0 0 0,1 0 0 0 0,6 22 0 0 0,-14-36-100 0 0,-1 1-1 0 0,1-1 0 0 0,-1 0 0 0 0,0 0 0 0 0,0 1 0 0 0,0-1 0 0 0,0 0 0 0 0,0 1 0 0 0,0-1 0 0 0,0 0 0 0 0,-1 0 1 0 0,1 0-1 0 0,-1 1 0 0 0,0-1 0 0 0,0 0 0 0 0,1 0 0 0 0,-1 0 0 0 0,-2 2 0 0 0,1-1 20 0 0,-1 1 0 0 0,1-1 0 0 0,-1 0 1 0 0,0-1-1 0 0,0 1 0 0 0,0 0 0 0 0,-1-1 0 0 0,1 0 0 0 0,-6 3 0 0 0,-2 0 62 0 0,-1 0 0 0 0,0 0-1 0 0,-1-1 1 0 0,1-1 0 0 0,-18 3-1 0 0,16-4-335 0 0,-1 0-1 0 0,1-1 1 0 0,-1 0 0 0 0,1-2-1 0 0,-22-2 1 0 0,20-2-1953 0 0,14 3 1639 0 0</inkml:trace>
</inkml:ink>
</file>

<file path=ppt/ink/ink2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1:27.049"/>
    </inkml:context>
    <inkml:brush xml:id="br0">
      <inkml:brushProperty name="width" value="0.2" units="cm"/>
      <inkml:brushProperty name="height" value="0.2" units="cm"/>
      <inkml:brushProperty name="color" value="#E71224"/>
    </inkml:brush>
  </inkml:definitions>
  <inkml:trace contextRef="#ctx0" brushRef="#br0">32 254 580 0 0,'19'-10'1584'0'0,"-1"-2"-1"0"0,1 0 1 0 0,-2-1-1 0 0,25-23 1 0 0,-38 32-1406 0 0,1-1 0 0 0,-1 0 0 0 0,0 0 0 0 0,0 0 1 0 0,0 0-1 0 0,-1-1 0 0 0,0 0 0 0 0,0 1 0 0 0,0-1 0 0 0,-1 0 1 0 0,1 0-1 0 0,-2-1 0 0 0,1 1 0 0 0,-1 0 0 0 0,0-1 0 0 0,0 1 1 0 0,0-1-1 0 0,-1 1 0 0 0,-1-13 0 0 0,1 18-152 0 0,-1-1 0 0 0,1 0 0 0 0,0 0 0 0 0,-1 0-1 0 0,1 0 1 0 0,-1 0 0 0 0,1 0 0 0 0,-1 1 0 0 0,0-1 0 0 0,0 0 0 0 0,0 1-1 0 0,0-1 1 0 0,0 0 0 0 0,0 1 0 0 0,-1-1 0 0 0,1 1 0 0 0,0 0 0 0 0,-1-1 0 0 0,1 1-1 0 0,-1 0 1 0 0,0 0 0 0 0,1 0 0 0 0,-1 0 0 0 0,0 0 0 0 0,1 0 0 0 0,-1 1-1 0 0,0-1 1 0 0,0 0 0 0 0,0 1 0 0 0,-2-1 0 0 0,-1 1 44 0 0,0 0 0 0 0,0 0 0 0 0,1 1 1 0 0,-1-1-1 0 0,0 1 0 0 0,1 0 0 0 0,-1 0 0 0 0,0 1 0 0 0,1-1 0 0 0,-9 5 1 0 0,6-2 16 0 0,1 0-1 0 0,-1 0 1 0 0,1 1 0 0 0,0-1 0 0 0,0 1 0 0 0,0 1 0 0 0,1-1 0 0 0,0 1 0 0 0,0 0 0 0 0,0 0 0 0 0,1 1 0 0 0,-1-1 0 0 0,2 1 0 0 0,-1 0 0 0 0,-3 9 0 0 0,5-10-15 0 0,0-1 1 0 0,1 1 0 0 0,0 0 0 0 0,0 0 0 0 0,0 0 0 0 0,0 0 0 0 0,1 0 0 0 0,0-1 0 0 0,1 1 0 0 0,-1 0 0 0 0,1 0 0 0 0,0 0 0 0 0,0 0 0 0 0,1-1 0 0 0,0 1 0 0 0,0 0 0 0 0,0-1 0 0 0,1 0 0 0 0,-1 1 0 0 0,6 6 0 0 0,7 8 39 0 0,1 0 1 0 0,1-2-1 0 0,0 0 1 0 0,2 0-1 0 0,22 16 1 0 0,-23-21-1066 0 0,1-1 0 0 0,-1-1 0 0 0,30 13 0 0 0,-11-14-4761 0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8:57.872"/>
    </inkml:context>
    <inkml:brush xml:id="br0">
      <inkml:brushProperty name="width" value="0.08571" units="cm"/>
      <inkml:brushProperty name="height" value="0.08571" units="cm"/>
      <inkml:brushProperty name="color" value="#00A0D7"/>
    </inkml:brush>
  </inkml:definitions>
  <inkml:trace contextRef="#ctx0" brushRef="#br0">1 0 17697,'21'5'809,"0"-2"-449,-2-4 0,3 1-90,8 1 270,8 2-450,-5 0 179,12 1 1,-8 0-90,3 0-90,1-1 0,-7 0 0,1-2 0,1 2 0,4-1 0,0 0 0,3 0 90,31 1-90,-26-2-895,22 1 805,-35-3-108,-1 1 108,-4 0 90,9-1 0,-14 0-90,6 1 0,-14-1 875,5 1-1235,-2-1-952,3 0 1312,-4-1 0,-9 1 0,-2 0 0</inkml:trace>
</inkml:ink>
</file>

<file path=ppt/ink/ink2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1:31.655"/>
    </inkml:context>
    <inkml:brush xml:id="br0">
      <inkml:brushProperty name="width" value="0.2" units="cm"/>
      <inkml:brushProperty name="height" value="0.2" units="cm"/>
      <inkml:brushProperty name="color" value="#E71224"/>
    </inkml:brush>
  </inkml:definitions>
  <inkml:trace contextRef="#ctx0" brushRef="#br0">53 63 1552 0 0,'-5'-4'768'0'0,"0"0"1"0"0,0 0-1 0 0,0-1 0 0 0,1 1 0 0 0,0-1 1 0 0,0 0-1 0 0,0 0 0 0 0,1-1 0 0 0,-1 1 1 0 0,-3-10 1615 0 0,12 21-2025 0 0,0 0 1 0 0,0 0-1 0 0,-1 0 0 0 0,0 1 0 0 0,0 0 1 0 0,0 0-1 0 0,2 10 0 0 0,17 56 518 0 0,-14-39-452 0 0,44 193 1525 0 0,-27-99-1340 0 0,1 22 93 0 0,-27-150-716 0 0,0 0-1 0 0,0 1 1 0 0,0 0 0 0 0,1-1 0 0 0,-1 1 0 0 0,0-1 0 0 0,0 1 0 0 0,0-1-1 0 0,0 1 1 0 0,0-1 0 0 0,0 1 0 0 0,0-1 0 0 0,0 1 0 0 0,0-1 0 0 0,0 1-1 0 0,0-1 1 0 0,0 1 0 0 0,-1 0 0 0 0,1-1 0 0 0,0 1 0 0 0,0-1 0 0 0,0 1-1 0 0,-1-1 1 0 0,0 1 0 0 0,-8-7-446 0 0,-11-20-607 0 0,-1-15-8 0 0,2-1-1 0 0,-25-80 1 0 0,-11-93-227 0 0,53 209 1265 0 0,1 2 16 0 0,0 0 0 0 0,0 0 0 0 0,0-1 0 0 0,0 1 1 0 0,1-1-1 0 0,-1 1 0 0 0,1-1 0 0 0,1 1 0 0 0,-1-1 0 0 0,0 1 1 0 0,2-6-1 0 0,3 10 224 0 0,9 4 30 0 0,-1 0 0 0 0,0 1-1 0 0,0 0 1 0 0,0 1-1 0 0,18 12 1 0 0,6 2 92 0 0,22 7 172 0 0,2-2 0 0 0,119 31 0 0 0,-171-54-463 0 0,0 0 1 0 0,0 0-1 0 0,0-1 1 0 0,0 0-1 0 0,0-1 0 0 0,1 0 1 0 0,-1-1-1 0 0,0 0 1 0 0,13-3-1 0 0,-17 3-25 0 0,-1 0 1 0 0,1-1-1 0 0,0 0 1 0 0,0 0-1 0 0,-1 0 1 0 0,1-1-1 0 0,-1 0 1 0 0,0 0-1 0 0,0 0 1 0 0,0 0-1 0 0,0 0 1 0 0,-1-1-1 0 0,1 0 1 0 0,-1 0-1 0 0,0 0 1 0 0,0 0-1 0 0,0 0 1 0 0,3-8 0 0 0,3-11-13 0 0,-1-1 1 0 0,-1-1 0 0 0,-1 1 0 0 0,4-39 0 0 0,-9 54 1 0 0,-1 7 0 0 0,4-19-37 0 0,7-30 0 0 0,-10 49 66 0 0,-1 2-13 0 0,1 1 0 0 0,0-1 0 0 0,0 1 0 0 0,0 0-1 0 0,0-1 1 0 0,-1 1 0 0 0,1 0 0 0 0,0-1 0 0 0,-1 1 0 0 0,1 0 0 0 0,-1 0 0 0 0,1 0 0 0 0,-1-1 0 0 0,1 1 0 0 0,-1 0 0 0 0,1 0 0 0 0,-1 0 0 0 0,0 0 0 0 0,0 0-1 0 0,1 1 1 0 0,4 20 264 0 0,14 55 195 0 0,54 143 0 0 0,-46-147-350 0 0,-25-66-187 0 0,9 25-562 0 0,2 0 1 0 0,32 57 0 0 0,-41-81 82 0 0,0-1 1 0 0,1 0-1 0 0,0-1 1 0 0,0 1-1 0 0,1-1 1 0 0,0 0-1 0 0,0-1 1 0 0,0 1-1 0 0,1-1 1 0 0,0 0-1 0 0,0-1 1 0 0,0 1-1 0 0,0-2 1 0 0,1 1-1 0 0,0-1 1 0 0,-1 0-1 0 0,15 3 1 0 0,0-3-3419 0 0</inkml:trace>
</inkml:ink>
</file>

<file path=ppt/ink/ink2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1:32.187"/>
    </inkml:context>
    <inkml:brush xml:id="br0">
      <inkml:brushProperty name="width" value="0.2" units="cm"/>
      <inkml:brushProperty name="height" value="0.2" units="cm"/>
      <inkml:brushProperty name="color" value="#E71224"/>
    </inkml:brush>
  </inkml:definitions>
  <inkml:trace contextRef="#ctx0" brushRef="#br0">318 510 1220 0 0,'0'-3'297'0'0,"0"-1"-1"0"0,0 1 1 0 0,0-1-1 0 0,-1 1 1 0 0,1-1 0 0 0,-1 1-1 0 0,0-1 1 0 0,0 1-1 0 0,0-1 1 0 0,-1 1-1 0 0,-1-4 1 0 0,2 5-153 0 0,-1 1-1 0 0,1-1 1 0 0,-1 1 0 0 0,1 0-1 0 0,-1-1 1 0 0,1 1-1 0 0,-1 0 1 0 0,0 0 0 0 0,0 0-1 0 0,1 0 1 0 0,-1 0 0 0 0,0 1-1 0 0,0-1 1 0 0,0 0-1 0 0,0 1 1 0 0,0-1 0 0 0,0 1-1 0 0,0 0 1 0 0,0 0-1 0 0,0 0 1 0 0,-4 0 0 0 0,-6 1 186 0 0,0 0 1 0 0,-1 1-1 0 0,1 0 1 0 0,0 1-1 0 0,1 1 1 0 0,-1 0-1 0 0,0 0 1 0 0,1 1 0 0 0,-16 9-1 0 0,14-6-170 0 0,1 0 0 0 0,0 0 1 0 0,1 1-1 0 0,0 0 0 0 0,0 1 0 0 0,1 0 1 0 0,-17 22-1 0 0,24-28-131 0 0,0 0 1 0 0,1 0 0 0 0,-1 1-1 0 0,1-1 1 0 0,0 1 0 0 0,0 0-1 0 0,1-1 1 0 0,-1 1-1 0 0,1 0 1 0 0,0 0 0 0 0,0 0-1 0 0,1 0 1 0 0,-1 0-1 0 0,1 0 1 0 0,1 8 0 0 0,0-9-9 0 0,0-1 1 0 0,0 1-1 0 0,0 0 1 0 0,0-1 0 0 0,1 1-1 0 0,0-1 1 0 0,0 1 0 0 0,0-1-1 0 0,0 0 1 0 0,0 0-1 0 0,1 0 1 0 0,-1 0 0 0 0,1 0-1 0 0,0 0 1 0 0,0-1 0 0 0,0 0-1 0 0,0 1 1 0 0,0-1-1 0 0,0 0 1 0 0,1 0 0 0 0,3 1-1 0 0,-3-1-66 0 0,-1-1 1 0 0,1 1-1 0 0,0-1 0 0 0,0 1 0 0 0,0-1 1 0 0,0-1-1 0 0,1 1 0 0 0,-1 0 0 0 0,0-1 1 0 0,0 0-1 0 0,0 0 0 0 0,0 0 0 0 0,1-1 0 0 0,-1 1 1 0 0,0-1-1 0 0,0 0 0 0 0,0 0 0 0 0,0-1 1 0 0,0 1-1 0 0,0-1 0 0 0,6-3 0 0 0,-4 1-128 0 0,-1-1-1 0 0,1 1 0 0 0,-1-1 1 0 0,0 0-1 0 0,0 0 0 0 0,-1 0 1 0 0,0-1-1 0 0,0 0 0 0 0,0 1 1 0 0,0-1-1 0 0,-1-1 1 0 0,4-9-1 0 0,8-30 445 0 0,-16 46-208 0 0,1 1 0 0 0,-1-1 0 0 0,0 1 0 0 0,1-1 0 0 0,-1 1-1 0 0,1 0 1 0 0,-1-1 0 0 0,1 1 0 0 0,-1 0 0 0 0,1 0 0 0 0,-1-1 0 0 0,1 1-1 0 0,0 0 1 0 0,-1 0 0 0 0,1 0 0 0 0,0-1 0 0 0,-1 2 0 0 0,2 8 159 0 0,0 0 0 0 0,0 0 0 0 0,1 0 1 0 0,1 0-1 0 0,-1 0 0 0 0,1 0 0 0 0,1-1 0 0 0,0 0 1 0 0,0 0-1 0 0,1 0 0 0 0,0 0 0 0 0,1-1 1 0 0,0 1-1 0 0,0-1 0 0 0,0-1 0 0 0,1 1 0 0 0,1-1 1 0 0,-1-1-1 0 0,15 11 0 0 0,-12-10-123 0 0,1 0 1 0 0,0 0-1 0 0,0-2 0 0 0,1 1 0 0 0,-1-1 1 0 0,1-1-1 0 0,0 0 0 0 0,0-1 0 0 0,1 0 1 0 0,-1-1-1 0 0,1 0 0 0 0,-1-1 0 0 0,1 0 1 0 0,-1-1-1 0 0,24-3 0 0 0,-27 1-102 0 0,1 0 0 0 0,-1 0 0 0 0,0-1 0 0 0,1 0 0 0 0,-2 0 0 0 0,1-1 0 0 0,0 0 0 0 0,-1-1 0 0 0,1 0 0 0 0,-1 0 0 0 0,-1-1 0 0 0,1 0 0 0 0,-1 0-1 0 0,0-1 1 0 0,0 0 0 0 0,-1 0 0 0 0,0-1 0 0 0,0 1 0 0 0,-1-1 0 0 0,0-1 0 0 0,0 1 0 0 0,-1-1 0 0 0,0 0 0 0 0,0 0 0 0 0,-1 0 0 0 0,-1 0 0 0 0,1 0 0 0 0,1-15 0 0 0,0-12-238 0 0,-1 0 1 0 0,-2 1 0 0 0,-6-61 0 0 0,-25-107-125 0 0,12 96 733 0 0,-5-29 757 0 0,20 126-909 0 0,1 17 141 0 0,2 16 41 0 0,6 9-163 0 0,0 1 0 0 0,20 52 1 0 0,33 62 0 0 0,-35-88-137 0 0,57 150-804 0 0,-56-138-2732 0 0,-2 0-4242 0 0</inkml:trace>
</inkml:ink>
</file>

<file path=ppt/ink/ink2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1:32.598"/>
    </inkml:context>
    <inkml:brush xml:id="br0">
      <inkml:brushProperty name="width" value="0.2" units="cm"/>
      <inkml:brushProperty name="height" value="0.2" units="cm"/>
      <inkml:brushProperty name="color" value="#E71224"/>
    </inkml:brush>
  </inkml:definitions>
  <inkml:trace contextRef="#ctx0" brushRef="#br0">7 296 716 0 0,'-1'-5'274'0'0,"-1"1"-1"0"0,1 0 1 0 0,0 0-1 0 0,1 0 1 0 0,-1-1 0 0 0,1 1-1 0 0,0 0 1 0 0,0-1-1 0 0,0 1 1 0 0,0 0-1 0 0,1-1 1 0 0,-1 1 0 0 0,1 0-1 0 0,0 0 1 0 0,1 0-1 0 0,-1 0 1 0 0,1 0 0 0 0,0 0-1 0 0,0 0 1 0 0,0 0-1 0 0,0 0 1 0 0,1 1-1 0 0,-1-1 1 0 0,1 1 0 0 0,0 0-1 0 0,5-4 1 0 0,5-5 16 0 0,1 1 1 0 0,0 0-1 0 0,1 1 1 0 0,0 1-1 0 0,1 1 1 0 0,0 0-1 0 0,0 1 0 0 0,1 0 1 0 0,-1 2-1 0 0,1 0 1 0 0,1 0-1 0 0,-1 2 1 0 0,1 0-1 0 0,-1 1 1 0 0,35 1-1 0 0,-35 1-146 0 0,-1 2 0 0 0,1-1 0 0 0,-1 2 0 0 0,0 0 0 0 0,0 1 0 0 0,0 1-1 0 0,0 0 1 0 0,-1 1 0 0 0,0 1 0 0 0,0 0 0 0 0,0 1 0 0 0,-1 1 0 0 0,0 0 0 0 0,-1 1-1 0 0,0 0 1 0 0,-1 1 0 0 0,12 14 0 0 0,-19-20-92 0 0,-1 0 0 0 0,0 0-1 0 0,0 1 1 0 0,-1 0 0 0 0,0 0 0 0 0,0 0 0 0 0,0 0-1 0 0,0 0 1 0 0,-1 0 0 0 0,0 1 0 0 0,-1-1-1 0 0,1 1 1 0 0,-1-1 0 0 0,-1 1 0 0 0,1 0 0 0 0,-1 0-1 0 0,0-1 1 0 0,-1 1 0 0 0,1 0 0 0 0,-1-1 0 0 0,-1 1-1 0 0,1-1 1 0 0,-1 1 0 0 0,0-1 0 0 0,-1 0-1 0 0,1 1 1 0 0,-1-1 0 0 0,0-1 0 0 0,-8 12 0 0 0,10-16-41 0 0,1-1 1 0 0,-1 1-1 0 0,0 0 0 0 0,1 0 1 0 0,-1-1-1 0 0,0 1 1 0 0,1 0-1 0 0,-1-1 1 0 0,0 1-1 0 0,0-1 1 0 0,0 1-1 0 0,1-1 1 0 0,-1 1-1 0 0,0-1 1 0 0,0 0-1 0 0,0 1 1 0 0,0-1-1 0 0,0 0 1 0 0,0 0-1 0 0,0 0 1 0 0,0 0-1 0 0,0 0 1 0 0,0 0-1 0 0,0 0 1 0 0,0 0-1 0 0,0 0 1 0 0,-1 0-1 0 0,0-1-18 0 0,2 1 9 0 0,0 0 0 0 0,-1-1 0 0 0,1 1 0 0 0,-1-1 0 0 0,1 1 1 0 0,0-1-1 0 0,-1 1 0 0 0,1-1 0 0 0,0 0 0 0 0,0 1 0 0 0,0-1 0 0 0,-1 1 1 0 0,1-1-1 0 0,0 1 0 0 0,0-1 0 0 0,0 0 0 0 0,0 1 0 0 0,0-1 1 0 0,0 0-1 0 0,0 1 0 0 0,0-1 0 0 0,0 1 0 0 0,0-1 0 0 0,0 0 1 0 0,1 0-1 0 0,-1 1 0 0 0,3-12-32 0 0,1 1 1 0 0,0 0 0 0 0,1-1 0 0 0,0 1-1 0 0,1 1 1 0 0,12-20 0 0 0,2-2-71 0 0,3-7 64 0 0,2 0 0 0 0,2 1 0 0 0,1 2 0 0 0,48-48 1 0 0,-74 82 103 0 0,0-1 1 0 0,0 1 0 0 0,1 0-1 0 0,-1 0 1 0 0,1 0-1 0 0,0 0 1 0 0,-1 0 0 0 0,1 1-1 0 0,0-1 1 0 0,0 1 0 0 0,0-1-1 0 0,0 1 1 0 0,0 0 0 0 0,0 0-1 0 0,0 1 1 0 0,0-1 0 0 0,1 1-1 0 0,-1-1 1 0 0,0 1 0 0 0,0 0-1 0 0,0 0 1 0 0,1 1 0 0 0,-1-1-1 0 0,0 1 1 0 0,0-1 0 0 0,0 1-1 0 0,0 0 1 0 0,0 0 0 0 0,0 0-1 0 0,0 1 1 0 0,0-1 0 0 0,0 1-1 0 0,0-1 1 0 0,-1 1 0 0 0,1 0-1 0 0,0 0 1 0 0,-1 0-1 0 0,4 5 1 0 0,5 4 99 0 0,-1 1 1 0 0,0 0-1 0 0,-1 1 0 0 0,-1 0 0 0 0,0 1 1 0 0,-1-1-1 0 0,8 21 0 0 0,-6-10-1005 0 0,-1 0-1 0 0,-1 1 1 0 0,6 44 0 0 0,-14-25-6277 0 0</inkml:trace>
</inkml:ink>
</file>

<file path=ppt/ink/ink2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1:32.934"/>
    </inkml:context>
    <inkml:brush xml:id="br0">
      <inkml:brushProperty name="width" value="0.2" units="cm"/>
      <inkml:brushProperty name="height" value="0.2" units="cm"/>
      <inkml:brushProperty name="color" value="#E71224"/>
    </inkml:brush>
  </inkml:definitions>
  <inkml:trace contextRef="#ctx0" brushRef="#br0">110 189 1572 0 0,'-49'-88'7950'0'0,"37"68"-6684"0"0,-2 1 0 0 0,-19-21-1 0 0,31 38-976 0 0,6 1-998 0 0,0 0 423 0 0,0 0 0 0 0,0 1-1 0 0,-1-1 1 0 0,1 1 0 0 0,0 0 0 0 0,0 0-1 0 0,0 0 1 0 0,0 0 0 0 0,0 1 0 0 0,4 1-1 0 0,-3-2 113 0 0,47 1-3934 0 0,-19-1 1044 0 0</inkml:trace>
  <inkml:trace contextRef="#ctx0" brushRef="#br0" timeOffset="1">609 1 1420 0 0,'7'0'625'0'0,"-1"1"0"0"0,1 0-1 0 0,0 0 1 0 0,-1 1 0 0 0,1 0 0 0 0,-1 0-1 0 0,1 1 1 0 0,-1 0 0 0 0,10 6 0 0 0,-12-7-366 0 0,-1 1 0 0 0,0-1 0 0 0,0 1 0 0 0,-1 0 1 0 0,1 0-1 0 0,-1 0 0 0 0,1 0 0 0 0,-1 0 0 0 0,0 1 0 0 0,0-1 1 0 0,0 1-1 0 0,-1-1 0 0 0,1 1 0 0 0,-1 0 0 0 0,0-1 0 0 0,0 1 0 0 0,0 0 1 0 0,0 6-1 0 0,2 26 664 0 0,-1 1 1 0 0,-2 0-1 0 0,-8 54 1 0 0,5-64-1223 0 0,-3 0 1 0 0,0 0-1 0 0,-1-1 1 0 0,-2 0-1 0 0,-16 35 1 0 0,20-52-873 0 0,0 1 1 0 0,-1-1-1 0 0,-1-1 0 0 0,1 1 1 0 0,-12 10-1 0 0</inkml:trace>
</inkml:ink>
</file>

<file path=ppt/ink/ink2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4:51:33.285"/>
    </inkml:context>
    <inkml:brush xml:id="br0">
      <inkml:brushProperty name="width" value="0.2" units="cm"/>
      <inkml:brushProperty name="height" value="0.2" units="cm"/>
      <inkml:brushProperty name="color" value="#E71224"/>
    </inkml:brush>
  </inkml:definitions>
  <inkml:trace contextRef="#ctx0" brushRef="#br0">1 29 1264 0 0,'27'-28'9636'0'0,"-24"27"-9325"0"0,4 1 164 0 0,0 1 0 0 0,0 0 0 0 0,0 0 1 0 0,-1 0-1 0 0,10 3 0 0 0,-2 0 223 0 0,310 91 5229 0 0,-15 41-7924 0 0,-292-128 605 0 0</inkml:trace>
</inkml:ink>
</file>

<file path=ppt/ink/ink265.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290.03943" units="1/cm"/>
          <inkml:channelProperty channel="Y" name="resolution" value="2064.71338" units="1/cm"/>
          <inkml:channelProperty channel="F" name="resolution" value="0" units="1/dev"/>
          <inkml:channelProperty channel="T" name="resolution" value="1" units="1/dev"/>
        </inkml:channelProperties>
      </inkml:inkSource>
      <inkml:timestamp xml:id="ts0" timeString="2022-01-16T05:18:08.979"/>
    </inkml:context>
    <inkml:brush xml:id="br0">
      <inkml:brushProperty name="width" value="0.05292" units="cm"/>
      <inkml:brushProperty name="height" value="0.05292" units="cm"/>
      <inkml:brushProperty name="color" value="#FF0000"/>
    </inkml:brush>
  </inkml:definitions>
  <inkml:trace contextRef="#ctx0" brushRef="#br0">9076 9486 8 0,'-19'5'131'16,"3"0"-118"-16,4-4-65 0,1 1 17 0</inkml:trace>
  <inkml:trace contextRef="#ctx0" brushRef="#br0" timeOffset="383.44">8411 10103 149 0,'-1'16'217'0,"0"-2"-69"0,-1 3 18 16,1 1-62-16,-1 3 15 0,-1 1-55 0,-1 4-14 0,-3 6-28 15,-1 0-51-15,-1 7-74 0,-4 0-180 0,-1 1 260 16</inkml:trace>
</inkml:ink>
</file>

<file path=ppt/ink/ink2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10T08:46:07.570"/>
    </inkml:context>
    <inkml:brush xml:id="br0">
      <inkml:brushProperty name="width" value="0.08571" units="cm"/>
      <inkml:brushProperty name="height" value="0.08571" units="cm"/>
      <inkml:brushProperty name="color" value="#E71224"/>
    </inkml:brush>
  </inkml:definitions>
  <inkml:trace contextRef="#ctx0" brushRef="#br0">27 0 14998,'10'21'-3058,"-7"-1"3058,-7-8 0,-12 2 0,-3-2 0</inkml:trace>
</inkml:ink>
</file>

<file path=ppt/ink/ink2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10T08:47:02.841"/>
    </inkml:context>
    <inkml:brush xml:id="br0">
      <inkml:brushProperty name="width" value="0.05" units="cm"/>
      <inkml:brushProperty name="height" value="0.05" units="cm"/>
      <inkml:brushProperty name="color" value="#E71224"/>
    </inkml:brush>
  </inkml:definitions>
  <inkml:trace contextRef="#ctx0" brushRef="#br0">1 49 24575,'51'0'0,"12"0"0,34 0-517,-42 0 0,0 0 517,-4 0 0,2 0-1145,20 0 1,5 0 1144,4 0 0,2 0 0,5 0 0,0 0 0,0 0 0,-3 0-169,-17 0 0,-2 0 169,-3 0 0,1 0 0,0 0 0,1 0 0,0 0 0,-1 0 0,-4 0 0,-3 0-26,41 0 26,-22 0 0,-13 0 440,-10 0-440,-3 0 1944,-6 0-1944,-6 0 1272,-4 0-1272,-3 0 31,-6 0-31,-4 0 0,-4 0 0,-1-3 0,-2 0 0,-1-3 0,-2 0 0,3-1 0,-8 3 0,4-1 0,-6 3 0,1-1 0,0 0 0,-2 0 0,-1 1 0,-1 0 0</inkml:trace>
</inkml:ink>
</file>

<file path=ppt/ink/ink2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10T08:47:03.957"/>
    </inkml:context>
    <inkml:brush xml:id="br0">
      <inkml:brushProperty name="width" value="0.05" units="cm"/>
      <inkml:brushProperty name="height" value="0.05" units="cm"/>
      <inkml:brushProperty name="color" value="#E71224"/>
    </inkml:brush>
  </inkml:definitions>
  <inkml:trace contextRef="#ctx0" brushRef="#br0">1 354 18080,'18'0'0,"5"0"2939,20 0-2939,27 0 0,-19 0 0,5 0-560,17 0 1,4 0 559,13 0 0,2 0 0,-1 0 0,1 0-479,-26 0 1,2 0 0,1 0 478,5 0 0,1 0 0,0 0 0,3 0 0,1 0 0,1 0 0,5 0 0,0 0 0,-2 0 0,-10 0 0,-3 0 0,0 0 0,0 0 0,0 0 0,0 0 0,0 0 0,0 0 0,1 0-163,-2 0 1,1 0 0,-1 0 162,32 0 0,-2 0-640,-15 0 1,-2 0 639,-4 0 0,0 0 0,-3 0 0,3 0 0,16 0 0,5 0-120,-22 0 0,4 0 0,-6 0 120,4 0 0,-2 0 0,-10 0 0,3 0 0,-7 0 667,-8 0 1,-2 0-668,16 0 0,4 0 0,3 0 0,1 0 0,-2 0 0,-1 0 0,-2 0 0,0 0 0,-1 1 0,1-2 14,14-4 0,4-2-14,5-3 0,1-2 0,-1-2 0,-1-1 0,-1-1 0,-3-1 246,-18 4 0,-4 1-246,-7 0 0,0-1 773,-5 2 0,-1 0-773,39-10 0,-11 0 0,-9 1 908,-13 2-908,-11 1 2257,-10 3-2257,-9 0 1186,-6 2-1186,-7 2 484,-5 1-484,-7 2 0,-4 1 0,-2 0 0,0 1 0,0 2 0,0 1 0</inkml:trace>
</inkml:ink>
</file>

<file path=ppt/ink/ink2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10T08:48:05.844"/>
    </inkml:context>
    <inkml:brush xml:id="br0">
      <inkml:brushProperty name="width" value="0.05" units="cm"/>
      <inkml:brushProperty name="height" value="0.05" units="cm"/>
      <inkml:brushProperty name="color" value="#E71224"/>
    </inkml:brush>
  </inkml:definitions>
  <inkml:trace contextRef="#ctx0" brushRef="#br0">1443 163 24575,'-11'-4'0,"-6"2"0,-2 2 0,-16 0 0,11 0 0,-15 0 0,14 0 0,-3 0 0,4 0 0,-2 0 0,-1 0 0,-4 0 0,-2 0 0,0 0 0,1 0 0,2 0 0,-1 0 0,-1 0 0,-3 1 0,-1 1 0,0 0 0,2 0 0,3 0 0,0 0 0,3 0 0,2 1 0,2-1 0,1 0 0,-5 0 0,11-2 0,-7 0 0,11 0 0,-3 0 0,0 2 0,3-1 0,-1 1 0,1 0 0,0-1 0,1 1 0,-1 2 0,-1 1 0,-2 1 0,-1 1 0,-1 1 0,-1-1 0,0 0 0,-2 1 0,0 0 0,-2 2 0,-1 3 0,-2 2 0,1 0 0,1 2 0,2 0 0,2 2 0,4-1 0,3-1 0,3-1 0,4-2 0,3 2 0,1 1 0,0 6 0,-2 1 0,-4 6 0,-5 11 0,2-11 0,-3 16 0,3-8 0,2-7 0,1 3 0,5-18 0,-1 1 0,2-3 0,1-3 0,1-3 0,0-2 0,0 1 0,0 0 0,0 1 0,0 6 0,0 8 0,0 7 0,0 12 0,0 6 0,0 4 0,0 3 0,0 0 0,0-1 0,0 3 0,0-3 0,0-5 0,0-1 0,0-2 0,0 0 0,0 0 0,0-3 0,0-3 0,0-4 0,3 6 0,0-16 0,4 8 0,-1-16 0,1 3 0,0-4 0,-1-4 0,1-5 0,-1 0 0,1-1 0,-1 1 0,1-3 0,-1-1 0,1-1 0,4 0 0,3 0 0,3-2 0,4 1 0,2 1 0,2 0 0,3 1 0,1 0 0,3-1 0,1 1 0,3 0 0,2-1 0,3 0 0,3-2 0,8 0 0,7 0 0,17 0 0,-22-4 0,18-5 0,-25-8 0,10-5 0,5-2 0,-4 0 0,0 0 0,1-2 0,-6 1 0,3-3 0,0 0 0,-2 2 0,-4 2 0,-4 4 0,-8 3 0,-3 3 0,-4 2 0,-3 2 0,-2 2 0,-2 1 0,-2 1 0,-2 1 0,1-1 0,-1-1 0,1 0 0,-1-1 0,1 1 0,0-2 0,1-1 0,1-1 0,1-2 0,1 0 0,0-3 0,2 1 0,9-1 0,-13 1 0,8 0 0,-15 3 0,2-1 0,-4 4 0,-2 1 0,-5 2 0,-1-1 0,1 1 0,-1 1 0,-2 0 0,0 0 0,-1 1 0,-2 0 0,1 0 0,-1 0 0,-1-1 0,0 0 0,0-8 0,1-11 0,3-15 0,2-14 0,2-5 0,-1-3 0,-1-3 0,-3 1 0,-1-1 0,-1 5 0,-1 11 0,0 10 0,0 11 0,0 9 0,0 0 0,0-10 0,0 7 0,0-14 0,0 4 0,0-7 0,0-4 0,-2-1 0,0 2 0,-3 3 0,1 5 0,1 5 0,-1 7 0,1 4 0,0 6 0,0 4 0,0 3 0,0 2 0,0 1 0,0 0 0,0 1 0,0-2 0,0 0 0,0 1 0,-1 0 0,1 1 0,-2 0 0,1 0 0,-1-1 0,-1-1 0,0-1 0,0 0 0,0 0 0,-2-3 0,3 2 0,-4-2 0,2 3 0,-3-1 0,0-1 0,2 0 0,-2 0 0,1 2 0,-3-1 0,-2 1 0,0-1 0,-1 1 0,0-1 0,0 0 0,1 1 0,0-1 0,1 1 0,-2 0 0,0 1 0,-1 0 0,1 0 0,1 0 0,1-1 0,0 1 0,0 0 0,-1-1 0,0 1 0,0 0 0,0 0 0,1 2 0,-1 0 0,-3 0 0,5 0 0,-4-1 0,7-1 0,-3 0 0,1 0 0,0 2 0,0 0 0,0-1 0,-1-1 0,0 0 0,-1 1 0,-2 1 0,0-1 0,-2-1 0,1 0 0,2 1 0,1-1 0,-1 0 0,1 0 0,-5 1 0,5 0 0,-1 1 0,4 0 0,1 0 0,0 0 0,0 0 0,0-1 0,2-1 0,1 0 0,1 1 0,1 1 0,0 0 0,1 0 0,0 0 0,0 0 0,0 0 0,-1 0 0,0 0 0,0 0 0,0 0 0,-1 0 0,-3 0 0,0 0 0,-1 0 0,1 0 0,-1 0 0,0 0 0,0 0 0,0 0 0,1 0 0,0 0 0,1 0 0,0 0 0,1 0 0,0 0 0,-1 0 0,1 0 0,0 0 0,-1 0 0,1 0 0,0 0 0,0 0 0,-1 0 0,2 0 0,1 0 0,0 0 0,1 0 0,-1 0 0,0 0 0,-2 0 0,2 0 0,0 0 0,1 0 0,0 0 0,0 0 0,1 1 0,1 2 0,1 2 0,-1 5 0,-1 1 0,0 3 0,0 3 0,2-6 0,0 5 0,-1-6 0,-1 2 0,-2-2 0,0-2 0,0-2 0,1 0 0,1-2 0,0-3 0,0-3 0,1 0 0,1-1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8:58.502"/>
    </inkml:context>
    <inkml:brush xml:id="br0">
      <inkml:brushProperty name="width" value="0.08571" units="cm"/>
      <inkml:brushProperty name="height" value="0.08571" units="cm"/>
      <inkml:brushProperty name="color" value="#00A0D7"/>
    </inkml:brush>
  </inkml:definitions>
  <inkml:trace contextRef="#ctx0" brushRef="#br0">2 1 12210,'-2'19'5847,"23"-3"-5398,6-9-5209,37-1 5119,-21-4 88,21-1 1,3 0-178,3-1 137,-11 0 0,1 0-137,15-3-1876,-22 1 1696,11-1 0,-25 1 1260,-5 0-1350,-5 1 90,-2-1-90,-4 1 1043,-3 0-1672,-2-1-4859,1 0 2519,-20 0 1125,1 1 1844,-23 2 0,-4 0 0,-4 2 0</inkml:trace>
</inkml:ink>
</file>

<file path=ppt/ink/ink2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59:34.234"/>
    </inkml:context>
    <inkml:brush xml:id="br0">
      <inkml:brushProperty name="width" value="0.05" units="cm"/>
      <inkml:brushProperty name="height" value="0.05" units="cm"/>
      <inkml:brushProperty name="color" value="#E71224"/>
    </inkml:brush>
  </inkml:definitions>
  <inkml:trace contextRef="#ctx0" brushRef="#br0">1 40 24575,'5'2'0,"-1"0"0,6-2 0,-3 1 0,30 2 0,-15-2 0,41 3 0,10-6 0,10 1 0,-28-1 0,3 1 0,8-2 0,0 1-984,-9 0 0,-1 1 984,5-1 0,-4 0 0,20 1 0,-10-3 0,-3 0 0,-1-3 0,9 0 0,-20 3 0,0 0 0,-23 2 1968,-11 1-1968,-4 0 0,-4 1 0,-1 0 0,-7 0 0,-1 1 0,-5 0 0,2 1 0,-4 0 0,2-1 0,0 0 0,0 2 0,2 0 0,2 3 0,0-2 0,2-2 0</inkml:trace>
</inkml:ink>
</file>

<file path=ppt/ink/ink2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59:36.361"/>
    </inkml:context>
    <inkml:brush xml:id="br0">
      <inkml:brushProperty name="width" value="0.05" units="cm"/>
      <inkml:brushProperty name="height" value="0.05" units="cm"/>
      <inkml:brushProperty name="color" value="#E71224"/>
    </inkml:brush>
  </inkml:definitions>
  <inkml:trace contextRef="#ctx0" brushRef="#br0">834 77 24575,'0'-4'0,"-1"0"0,-6 0 0,-7-2 0,-2-1 0,-6 0 0,3 1 0,-5 1 0,-6-1 0,-1 1 0,-1 0 0,7 1 0,8 2 0,4 0 0,-2 1 0,-6 0 0,-3 2 0,-9-1 0,0 1 0,-9-1 0,-10 2 0,11 0 0,-17 3 0,29 0 0,-11 1 0,22-2 0,0 0 0,7-1 0,0 0 0,3-1 0,2 0 0,1-1 0,0 0 0,1-1 0,2 1 0,-2 2 0,0 1 0,0 0 0,-1 4 0,2-3 0,-4 4 0,-1 4 0,1-1 0,-3 4 0,3-3 0,0 3 0,1 1 0,2-3 0,-1 2 0,1 0 0,0 1 0,0 1 0,1-3 0,0 0 0,0 6 0,1-1 0,1 7 0,0-6 0,1 2 0,0-1 0,0-2 0,3 8 0,-1-6 0,3 8 0,-1 0 0,3-2 0,-1-1 0,3-1 0,-1-7 0,0 1 0,3 4 0,-3-6 0,4 2 0,-4-5 0,2-4 0,2 0 0,-1-3 0,0 0 0,-5-4 0,-1 1 0,-1-1 0,3 0 0,1 1 0,4 1 0,2 0 0,8 1 0,0 0 0,13 2 0,14 3 0,-4-1 0,13 5 0,-19-7 0,15 4 0,-14-6 0,6 0 0,-14-3 0,2-2 0,17 0 0,9-1 0,2 0 0,8 0 0,-15-1 0,-3-1 0,5-3 0,-23-1 0,5-6 0,-13 1 0,2-9 0,19-21 0,-14 10 0,12-15 0,-27 21 0,-4 1 0,-4 3 0,0-2 0,-2 2 0,1 0 0,1-1 0,-1 3 0,1-2 0,0-7 0,-4 5 0,1-6 0,-4 9 0,-2 1 0,0 3 0,-2 2 0,1-1 0,-1-2 0,0-1 0,-1-1 0,1 2 0,-2 4 0,1 0 0,-1 1 0,0 0 0,-2-4 0,2 2 0,-1 0 0,-4-4 0,-1 4 0,-1-3 0,1 6 0,0 0 0,-3-4 0,-1 2 0,-4-2 0,3 5 0,-4-4 0,0 0 0,1 1 0,-2 0 0,-6 3 0,-5-3 0,-12 0 0,1 1 0,0 2 0,-7-2 0,12 4 0,-2 0 0,13 4 0,2-1 0,-2 0 0,6 2 0,-3 0 0,8 1 0,0 1 0,2-1 0,-2 1 0,0 0 0,2 1 0,-1 0 0,5 1 0,0-1 0,4 0 0,2-1 0,0 1 0,0 0 0,-2 2 0,-2 1 0,-3 2 0,-2 2 0,-6 4 0,-4 2 0,-3 8 0,2 1 0,10-6 0,4-5 0</inkml:trace>
</inkml:ink>
</file>

<file path=ppt/ink/ink2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3:00:38.518"/>
    </inkml:context>
    <inkml:brush xml:id="br0">
      <inkml:brushProperty name="width" value="0.05" units="cm"/>
      <inkml:brushProperty name="height" value="0.05" units="cm"/>
      <inkml:brushProperty name="color" value="#E71224"/>
    </inkml:brush>
  </inkml:definitions>
  <inkml:trace contextRef="#ctx0" brushRef="#br0">397 127 8191,'-51'47'0,"0"1"0,0-1 0,-9 12 702,-13 16 1,11-3-703,49-41 2249,5-3-2249,0 5 2131,1 11-2131,0 22 0,2-7 4895,4 1-4895,6-16 4291,1-16-4291,5 7 0,-2-14 1413,6 1-1413,5 1 0,-1-9 0,9 5 0,-4-4 0,4-2 0,-1-3 0,16-4 0,21-1 0,-1-2 0,17-6 0,-25-5 0,-1-8 0,5-7 0,-18 4 0,15-6 0,-13 7 0,11-9 0,8-8 0,-9 0 0,-3 2 0,-16 9 0,-11 7 0,-7 2 0,-1-1 0,-3-1 0,1-2 0,2-4 0,-3 2 0,-2 0 0,2-9 0,-4 4 0,0-6 0,-3 7 0,0 0 0,-2-12 0,-1 0 0,-1-9 0,-2 8 0,-2 7 0,-1 4 0,-1 9 0,-2-2 0,-4-1 0,-3-3 0,-10-4 0,-1 2 0,-5 1 0,2 3 0,4 1 0,-5-2 0,8 7 0,-4-1 0,7 8 0,7 3 0,1 2 0,6 2 0,1 1 0,2 0 0,-1 1 0,1-1 0,0 1 0,-1 0 0,0 1 0,0 2 0,1-2 0,1 1 0</inkml:trace>
</inkml:ink>
</file>

<file path=ppt/ink/ink2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3:00:39.912"/>
    </inkml:context>
    <inkml:brush xml:id="br0">
      <inkml:brushProperty name="width" value="0.05" units="cm"/>
      <inkml:brushProperty name="height" value="0.05" units="cm"/>
      <inkml:brushProperty name="color" value="#E71224"/>
    </inkml:brush>
  </inkml:definitions>
  <inkml:trace contextRef="#ctx0" brushRef="#br0">1076 3 21226,'-10'0'0,"-5"-1"1600,-18 0-1600,-3 0 0,-18 2 0,6 1 0,2 2 0,-7 2 0,8 0 0,-3 1 0,1-4 0,9 0 566,0-1-566,-6 0 289,11-1-289,-4 1 0,12 0 894,3 3-894,-6 6 0,2 2 0,-5 5 0,7-3 0,-3 5 0,0 2 0,-10 11 0,-6 12 0,9-5 0,-4 11 0,15-12 0,2 6 0,2 7 0,10-13 0,1 1 0,5-18 0,0-3 0,1 8 0,1 1 0,1-1 0,2-6 0,1-11 0,1-2 0,2 1 0,5 2 0,2 0 0,7 1 0,-2-3 0,3-1 0,6-1 0,-5-2 0,11-1 0,-4-2 0,15-3 0,22-5 0,-2-2 0,18-6 0,-17 0 0,16-8-1546,-26 5 0,2-1 1546,-2 1 0,-1-1 0,9-3 0,-1 2 0,26-8 0,-26 10 0,-16 3 0,-11-4 0,-5-2 0,-4-3 0,0-1 0,-5 2 0,1-1 3092,1-3-3092,-1-1 0,-7 8 0,-1 0 0,-7 9 0,-2-4 0,-1 1 0,-2 0 0,0 0 0,0 2 0,0-3 0,0-1 0,-2 4 0,0-3 0,0-5 0,0 1 0,0-3 0,0 8 0,0 1 0,-1 0 0,0 2 0,-1 1 0,1 0 0,0-1 0,-1 0 0,0 2 0,0 2 0,-1 1 0,1 2 0,0 2 0,-1 2 0,3 0 0,-2 0 0</inkml:trace>
</inkml:ink>
</file>

<file path=ppt/ink/ink2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3:00:42.778"/>
    </inkml:context>
    <inkml:brush xml:id="br0">
      <inkml:brushProperty name="width" value="0.05" units="cm"/>
      <inkml:brushProperty name="height" value="0.05" units="cm"/>
      <inkml:brushProperty name="color" value="#E71224"/>
    </inkml:brush>
  </inkml:definitions>
  <inkml:trace contextRef="#ctx0" brushRef="#br0">660 2 8191,'-47'2'0,"4"2"5063,-5 2-5063,14 1 0,5 0 0,9 0 2818,1 2-2818,-5 3 1719,5-1-1719,-9 5 0,3-4 6784,-1 3-6784,-7 7 0,4-1 0,-10 8 0,8-6 0,-2 2 0,-5 5 0,9-5 0,1 3 0,13-9 0,5-2 0,4-2 0,3 0 0,0 2 0,2 0 0,1 1 0,3 1 0,0-3 0,3 1 0,1-2 0,1 0 0,3 3 0,2-2 0,1-1 0,6 3 0,7 4 0,0-2 0,5 3 0,-8-9 0,-1-4 0,-2-3 0,2-3 0,-2-2 0,6-2 0,7-2 0,22 1 0,7 0 0,23-2 0,-34-1 0,0-2 0,36-6 0,-36 3 0,0-3 0,19-8 0,3 1 0,7-3 0,-21 5 0,0 0 0,-28 4 0,-9 4 0,-3 1 0,-1-3 0,4-4 0,-5 2 0,3-7 0,-7-1 0,-4 1 0,-3-6 0,-6 7 0,1-4 0,1-10 0,0 0 0,0 2 0,-7-4 0,-3 14 0,-8-15 0,1 14 0,-3-4 0,6 10 0,-5 0 0,-10 0 0,-1 3 0,-12-1 0,6 6 0,-17 1 0,-16 0 0,8 3 0,-39 18-914,10 9 914,32-3 0,-2 2-632,2 0 1,4-1-1,-5 3 1,17-8-1</inkml:trace>
</inkml:ink>
</file>

<file path=ppt/ink/ink2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15.299"/>
    </inkml:context>
    <inkml:brush xml:id="br0">
      <inkml:brushProperty name="width" value="0.2" units="cm"/>
      <inkml:brushProperty name="height" value="0.2" units="cm"/>
      <inkml:brushProperty name="color" value="#E71224"/>
    </inkml:brush>
  </inkml:definitions>
  <inkml:trace contextRef="#ctx0" brushRef="#br0">0 1 1056 0 0,'0'0'6416'0'0,"13"6"-4528"0"0,236 69 223 0 0,202 23-1474 0 0,5-23-538 0 0,-435-71-96 0 0,29 2 44 0 0,-23-3 50 0 0,29 7 0 0 0,-42-11-249 0 0</inkml:trace>
</inkml:ink>
</file>

<file path=ppt/ink/ink2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15.882"/>
    </inkml:context>
    <inkml:brush xml:id="br0">
      <inkml:brushProperty name="width" value="0.2" units="cm"/>
      <inkml:brushProperty name="height" value="0.2" units="cm"/>
      <inkml:brushProperty name="color" value="#E71224"/>
    </inkml:brush>
  </inkml:definitions>
  <inkml:trace contextRef="#ctx0" brushRef="#br0">68 7 68 0 0,'-3'-1'1328'0'0,"-1"0"-902"0"0,-1-1-1 0 0,1 1 1 0 0,-1 1 0 0 0,1-1-1 0 0,-1 1 1 0 0,0-1 0 0 0,1 1-1 0 0,-1 1 1 0 0,0-1 0 0 0,1 1-1 0 0,-8 1 1 0 0,10-1-61 0 0,2 2 108 0 0,0-3-454 0 0,0 1-1 0 0,-1-1 0 0 0,1 1 0 0 0,0-1 1 0 0,0 1-1 0 0,0 0 0 0 0,0-1 0 0 0,0 1 0 0 0,0-1 1 0 0,0 1-1 0 0,0-1 0 0 0,1 1 0 0 0,-1 0 1 0 0,0-1-1 0 0,0 1 0 0 0,0-1 0 0 0,1 1 0 0 0,-1-1 1 0 0,0 1-1 0 0,0-1 0 0 0,1 1 0 0 0,86 60 971 0 0,46 37-698 0 0,-121-87-247 0 0,1 1 1 0 0,-2 0 0 0 0,0 0-1 0 0,0 2 1 0 0,-1-1-1 0 0,-1 1 1 0 0,13 25 0 0 0,-20-34 50 0 0,1 1 0 0 0,-1-1 1 0 0,-1 1-1 0 0,1-1 1 0 0,-1 1-1 0 0,0 0 1 0 0,0-1-1 0 0,-1 1 0 0 0,1 0 1 0 0,-1 0-1 0 0,-1 0 1 0 0,1-1-1 0 0,-1 1 1 0 0,-2 8-1 0 0,1-6 54 0 0,-1-1-1 0 0,0 0 1 0 0,-1 1-1 0 0,0-1 1 0 0,0-1-1 0 0,0 1 1 0 0,-1-1-1 0 0,0 1 1 0 0,-8 7-1 0 0,-5 2 85 0 0,0-1-1 0 0,0-1 1 0 0,-1-1-1 0 0,-1-1 1 0 0,0 0-1 0 0,-27 9 1 0 0,-24 13-3335 0 0</inkml:trace>
</inkml:ink>
</file>

<file path=ppt/ink/ink2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17.413"/>
    </inkml:context>
    <inkml:brush xml:id="br0">
      <inkml:brushProperty name="width" value="0.2" units="cm"/>
      <inkml:brushProperty name="height" value="0.2" units="cm"/>
      <inkml:brushProperty name="color" value="#E71224"/>
    </inkml:brush>
  </inkml:definitions>
  <inkml:trace contextRef="#ctx0" brushRef="#br0">95 84 408 0 0,'-3'-1'741'0'0,"-39"-5"1183"0"0,39 5-1673 0 0,0 1 6 0 0,1 0-179 0 0,-31-4 618 0 0,24 4-199 0 0,24 1 41 0 0,667 25 163 0 0,3-35-345 0 0,117-21-202 0 0,-97 3 186 0 0,-421 19-285 0 0,836-5 122 0 0,-625 2 1612 0 0,-478 10-1642 0 0</inkml:trace>
</inkml:ink>
</file>

<file path=ppt/ink/ink2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18.254"/>
    </inkml:context>
    <inkml:brush xml:id="br0">
      <inkml:brushProperty name="width" value="0.2" units="cm"/>
      <inkml:brushProperty name="height" value="0.2" units="cm"/>
      <inkml:brushProperty name="color" value="#E71224"/>
    </inkml:brush>
  </inkml:definitions>
  <inkml:trace contextRef="#ctx0" brushRef="#br0">46 89 480 0 0,'-45'-26'4326'0'0,"45"24"-4017"0"0,1 0-269 0 0,0 1 0 0 0,0-1 0 0 0,0 1 0 0 0,1-1 0 0 0,-1 1 0 0 0,0-1 0 0 0,1 1 0 0 0,-1 0 0 0 0,1-1 0 0 0,-1 1 0 0 0,1 0 0 0 0,0 0 0 0 0,-1 0 0 0 0,1 0 0 0 0,0 1 0 0 0,0-1 0 0 0,-1 0 0 0 0,1 1 0 0 0,0-1 0 0 0,3 1 0 0 0,48-8 208 0 0,-37 7-141 0 0,677-28-63 0 0,-628 34-3192 0 0,-60-5 2346 0 0</inkml:trace>
</inkml:ink>
</file>

<file path=ppt/ink/ink2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18.914"/>
    </inkml:context>
    <inkml:brush xml:id="br0">
      <inkml:brushProperty name="width" value="0.2" units="cm"/>
      <inkml:brushProperty name="height" value="0.2" units="cm"/>
      <inkml:brushProperty name="color" value="#E71224"/>
    </inkml:brush>
  </inkml:definitions>
  <inkml:trace contextRef="#ctx0" brushRef="#br0">61 13 852 0 0,'-3'-1'1052'0'0,"-45"-10"2907"0"0,44 13-3715 0 0,4-2-236 0 0,0 0 0 0 0,0 0 0 0 0,-1 0 0 0 0,1 0 0 0 0,0 0 1 0 0,0 0-1 0 0,-1 0 0 0 0,1 0 0 0 0,0 1 0 0 0,0-1 0 0 0,-1 0 0 0 0,1 0 0 0 0,0 0 0 0 0,0 0 0 0 0,-1 1 0 0 0,1-1 1 0 0,0 0-1 0 0,0 0 0 0 0,0 0 0 0 0,0 1 0 0 0,-1-1 0 0 0,1 0 0 0 0,0 0 0 0 0,0 0 0 0 0,0 1 0 0 0,0-1 1 0 0,0 0-1 0 0,0 0 0 0 0,-1 1 0 0 0,1-1 0 0 0,49 49 598 0 0,1-3 0 0 0,65 46 0 0 0,-72-59-455 0 0,-1-2-34 0 0,2-2 0 0 0,0-2 0 0 0,2-2 0 0 0,65 27-1 0 0,-68-31-4 0 0,-40-19-100 0 0,-1 0-4 0 0,-2-2-8 0 0,0 0 0 0 0,0 0-1 0 0,1 0 1 0 0,-1 0-1 0 0,0 0 1 0 0,0 1 0 0 0,0-1-1 0 0,0 0 1 0 0,1 0-1 0 0,-1 0 1 0 0,0 0 0 0 0,0 0-1 0 0,0 1 1 0 0,0-1-1 0 0,0 0 1 0 0,0 0-1 0 0,1 0 1 0 0,-1 0 0 0 0,0 1-1 0 0,0-1 1 0 0,0 0-1 0 0,0 0 1 0 0,0 0 0 0 0,0 1-1 0 0,0-1 1 0 0,0 0-1 0 0,0 0 1 0 0,0 0 0 0 0,0 1-1 0 0,0-1 1 0 0,0 0-1 0 0,0 0 1 0 0,0 0 0 0 0,0 1-1 0 0,0-1 1 0 0,0 0-1 0 0,0 0 1 0 0,-1 1-1 0 0,-18 8-6 0 0,0 0-1 0 0,-1-2 0 0 0,-34 9 1 0 0,-3 1-33 0 0,14-2 38 0 0,1 2 0 0 0,1 2 0 0 0,0 1 1 0 0,1 2-1 0 0,-47 35 0 0 0,82-53 95 0 0,0 0-1 0 0,1 1 1 0 0,-1-1 0 0 0,1 1-1 0 0,0 0 1 0 0,0 0-1 0 0,0 1 1 0 0,1-1 0 0 0,0 1-1 0 0,0 0 1 0 0,-3 7 0 0 0,6-11-71 0 0,0 1 0 0 0,0-1 0 0 0,0 0 0 0 0,0 0 0 0 0,0 1 0 0 0,0-1 0 0 0,0 0 0 0 0,1 0 0 0 0,-1 1 0 0 0,1-1 0 0 0,0 0 0 0 0,0 0 0 0 0,0 0 0 0 0,0 0 0 0 0,0 0 0 0 0,0 0 0 0 0,0 0 0 0 0,0 0 0 0 0,1-1 0 0 0,-1 1 0 0 0,1 0 0 0 0,0-1 0 0 0,2 3 0 0 0,4 2 40 0 0,1 0 1 0 0,0 0-1 0 0,15 7 1 0 0,-17-9-33 0 0,19 8 37 0 0,0-1-1 0 0,1-1 0 0 0,0-2 0 0 0,35 7 1 0 0,113 12 104 0 0,-107-18-64 0 0,-4-1 454 0 0,-61-8-468 0 0,8 3 33 0 0,0-1 29 0 0,-9-2-159 0 0,-2 0 5 0 0,0 0 0 0 0,1 0 0 0 0,-1 0 0 0 0,0 0 0 0 0,1 0 1 0 0,-1 0-1 0 0,0 0 0 0 0,0 0 0 0 0,1 0 0 0 0,-1 0 0 0 0,0 0 1 0 0,1 0-1 0 0,-1 1 0 0 0,0-1 0 0 0,1 0 0 0 0,-1 0 1 0 0,0 0-1 0 0,0 0 0 0 0,1 1 0 0 0,-1-1 0 0 0,0 0 0 0 0,0 0 1 0 0,1 1-1 0 0,-1-1 0 0 0,0 0 0 0 0,0 0 0 0 0,0 1 0 0 0,1-1 1 0 0,-1 0-1 0 0,0 0 0 0 0,0 1 0 0 0,0-1 0 0 0,0 0 0 0 0,0 1 1 0 0,0-1-1 0 0,0 0 0 0 0,0 1 0 0 0,0-1 0 0 0,0 0 1 0 0,0 1-1 0 0,0-1 0 0 0,0 0 0 0 0,0 1 0 0 0,0-1 0 0 0,0 0 1 0 0,0 0-1 0 0,0 1 0 0 0,0-1 0 0 0,0 0 0 0 0,-1 1 0 0 0,1 1-7 0 0,-5 9 18 0 0,3-8-3 0 0,1-1 2 0 0,1-1 0 0 0,-1 1-1 0 0,0 0 1 0 0,1 0 0 0 0,-1 0 0 0 0,1-1-1 0 0,0 1 1 0 0,0 0 0 0 0,-1 0-1 0 0,1 0 1 0 0,0 0 0 0 0,1 3-1 0 0,-1-4 41 0 0,3 2 26 0 0,-3-2-82 0 0,0-1 0 0 0,0 0 1 0 0,0 0-1 0 0,0 1 0 0 0,0-1 0 0 0,0 0 0 0 0,0 0 0 0 0,0 0 1 0 0,1 1-1 0 0,-1-1 0 0 0,0 0 0 0 0,0 0 0 0 0,0 1 0 0 0,0-1 1 0 0,0 0-1 0 0,1 0 0 0 0,-1 0 0 0 0,0 0 0 0 0,0 1 0 0 0,1-1 1 0 0,-1 0-1 0 0,0 0 0 0 0,0 0 0 0 0,0 0 0 0 0,1 0 0 0 0,-1 0 1 0 0,0 0-1 0 0,0 0 0 0 0,1 1 0 0 0,-1-1 0 0 0,0 0 0 0 0,1 0 1 0 0,-1 0-1 0 0,31 3-4399 0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8:59.954"/>
    </inkml:context>
    <inkml:brush xml:id="br0">
      <inkml:brushProperty name="width" value="0.08571" units="cm"/>
      <inkml:brushProperty name="height" value="0.08571" units="cm"/>
      <inkml:brushProperty name="color" value="#00A0D7"/>
    </inkml:brush>
  </inkml:definitions>
  <inkml:trace contextRef="#ctx0" brushRef="#br0">1 1 18057,'37'7'1079,"-7"-1"-809,-6-7 629,22 2 0,6 2 1,3 0-540,25 0-1282,-9 1 0,-3 1 1282,-14-1-90,17 1 864,-22-1-595,21 0-269,-18-1-119,15 1 29,-27-2-90,0 0 0,-6 0 0,-2-1 1305,-3 0-1305,8 0-90,-11-1-90,5 0-26,-13 0-1144,4 0-988,-2-1-5308,3 0 7556,-7-2 0,-7 1 0,-4 0 0</inkml:trace>
</inkml:ink>
</file>

<file path=ppt/ink/ink2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19.656"/>
    </inkml:context>
    <inkml:brush xml:id="br0">
      <inkml:brushProperty name="width" value="0.2" units="cm"/>
      <inkml:brushProperty name="height" value="0.2" units="cm"/>
      <inkml:brushProperty name="color" value="#E71224"/>
    </inkml:brush>
  </inkml:definitions>
  <inkml:trace contextRef="#ctx0" brushRef="#br0">20 33 1316 0 0,'-1'-4'1502'0'0,"-9"-19"208"0"0,4 18-636 0 0,4 17 255 0 0,2 7-1105 0 0,2 0 1 0 0,0 0 0 0 0,2 0 0 0 0,0-1 0 0 0,0 1-1 0 0,2-1 1 0 0,0 0 0 0 0,2 0 0 0 0,0-1 0 0 0,0 0-1 0 0,2 0 1 0 0,12 16 0 0 0,21 17-2959 0 0</inkml:trace>
</inkml:ink>
</file>

<file path=ppt/ink/ink2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19.978"/>
    </inkml:context>
    <inkml:brush xml:id="br0">
      <inkml:brushProperty name="width" value="0.2" units="cm"/>
      <inkml:brushProperty name="height" value="0.2" units="cm"/>
      <inkml:brushProperty name="color" value="#E71224"/>
    </inkml:brush>
  </inkml:definitions>
  <inkml:trace contextRef="#ctx0" brushRef="#br0">46 65 120 0 0,'-7'-8'1240'0'0,"3"-1"556"0"0,-7-5-584 0 0,2 2-448 0 0,3 3-163 0 0,-3-3-537 0 0</inkml:trace>
</inkml:ink>
</file>

<file path=ppt/ink/ink2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20.425"/>
    </inkml:context>
    <inkml:brush xml:id="br0">
      <inkml:brushProperty name="width" value="0.2" units="cm"/>
      <inkml:brushProperty name="height" value="0.2" units="cm"/>
      <inkml:brushProperty name="color" value="#E71224"/>
    </inkml:brush>
  </inkml:definitions>
  <inkml:trace contextRef="#ctx0" brushRef="#br0">19 27 388 0 0,'-15'-5'6051'0'0,"15"5"-6025"0"0,0 0 0 0 0,0-1 0 0 0,0 1 0 0 0,-1 0 0 0 0,1 0 0 0 0,0 0 0 0 0,0 0 0 0 0,0-1 0 0 0,-1 1 0 0 0,1 0 0 0 0,0 0 0 0 0,0 0 0 0 0,0-1 0 0 0,0 1 0 0 0,0 0 1 0 0,-1 0-1 0 0,1-1 0 0 0,0 1 0 0 0,0 0 0 0 0,0 0 0 0 0,0-1 0 0 0,0 1 0 0 0,0 0 0 0 0,0-1 0 0 0,0 1 0 0 0,0 0 0 0 0,0 0 0 0 0,0-1 0 0 0,0 1 0 0 0,0 0 0 0 0,0 0 1 0 0,0-1-1 0 0,0 1 0 0 0,1 0 0 0 0,-1 0 0 0 0,0-1 0 0 0,0 1 0 0 0,0 0 0 0 0,0 0 0 0 0,0-1 0 0 0,1 1 0 0 0,-1 0 0 0 0,0 0 0 0 0,0 0 0 0 0,0-1 0 0 0,1 1 0 0 0,-1 0 0 0 0,0 0 1 0 0,0 0-1 0 0,1 0 0 0 0,21-7 347 0 0,30 3-1650 0 0,-9 7-1854 0 0</inkml:trace>
</inkml:ink>
</file>

<file path=ppt/ink/ink2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20.766"/>
    </inkml:context>
    <inkml:brush xml:id="br0">
      <inkml:brushProperty name="width" value="0.2" units="cm"/>
      <inkml:brushProperty name="height" value="0.2" units="cm"/>
      <inkml:brushProperty name="color" value="#E71224"/>
    </inkml:brush>
  </inkml:definitions>
  <inkml:trace contextRef="#ctx0" brushRef="#br0">34 152 512 0 0,'-26'13'3246'0'0,"23"-10"-3000"0"0,3-3-231 0 0,0 0 1 0 0,-1 1-1 0 0,1-1 0 0 0,0 0 0 0 0,0 0 0 0 0,-1 0 0 0 0,1 0 0 0 0,0 1 0 0 0,0-1 1 0 0,-1 0-1 0 0,1 0 0 0 0,0 0 0 0 0,0 1 0 0 0,0-1 0 0 0,-1 0 0 0 0,1 0 0 0 0,0 1 1 0 0,0-1-1 0 0,0 0 0 0 0,0 0 0 0 0,0 1 0 0 0,0-1 0 0 0,0 0 0 0 0,-1 1 0 0 0,1-1 1 0 0,0 0-1 0 0,0 1 0 0 0,0-1 0 0 0,0 0 0 0 0,0 0 0 0 0,0 1 0 0 0,0-1 0 0 0,1 0 1 0 0,-1 1-1 0 0,0-1 0 0 0,0 0 0 0 0,0 1 0 0 0,0-1 0 0 0,0 0 0 0 0,0 0 0 0 0,0 1 1 0 0,1-1-1 0 0,-1 0 0 0 0,0 0 0 0 0,0 1 0 0 0,0-1 0 0 0,1 0 0 0 0,-1 0 0 0 0,0 0 1 0 0,0 1-1 0 0,1-1 0 0 0,-1 0 0 0 0,0 0 0 0 0,0 0 0 0 0,1 0 0 0 0,-1 0 1 0 0,0 0-1 0 0,1 1 0 0 0,-1-1 0 0 0,0 0 0 0 0,0 0 0 0 0,1 0 0 0 0,-1 0 0 0 0,0 0 1 0 0,1 0-1 0 0,-1 0 0 0 0,16 4-377 0 0,0 0-1 0 0,0 0 1 0 0,1-2 0 0 0,-1 0 0 0 0,32 0-1 0 0,-28-4-77 0 0</inkml:trace>
  <inkml:trace contextRef="#ctx0" brushRef="#br0" timeOffset="1">461 10 1368 0 0,'5'-10'2847'0'0,"-5"11"-2816"0"0,0-1 0 0 0,0 0 0 0 0,0 0 0 0 0,0 0 1 0 0,0 1-1 0 0,0-1 0 0 0,0 0 0 0 0,0 0 0 0 0,0 0 0 0 0,0 0 0 0 0,0 1 0 0 0,0-1 0 0 0,0 0 0 0 0,0 0 1 0 0,2 2 279 0 0,-2-2-280 0 0,0 0 0 0 0,0 0 0 0 0,0 0 0 0 0,0 0 0 0 0,0 0 0 0 0,1 0 0 0 0,-1 0 0 0 0,0 0 0 0 0,0 0 1 0 0,0 0-1 0 0,0 0 0 0 0,1 1 0 0 0,-1-1 0 0 0,0 0 0 0 0,0 0 0 0 0,0 0 0 0 0,1 0 0 0 0,-1 0 0 0 0,0-1 0 0 0,0 1 1 0 0,0 0-1 0 0,0 0 0 0 0,1 0 0 0 0,-1 0 0 0 0,0 0 0 0 0,1-1 280 0 0,0 1-280 0 0,0 27 217 0 0,0-11-29 0 0,12 83 98 0 0,-5-58-3604 0 0,-5-32 2051 0 0</inkml:trace>
</inkml:ink>
</file>

<file path=ppt/ink/ink2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21.867"/>
    </inkml:context>
    <inkml:brush xml:id="br0">
      <inkml:brushProperty name="width" value="0.2" units="cm"/>
      <inkml:brushProperty name="height" value="0.2" units="cm"/>
      <inkml:brushProperty name="color" value="#E71224"/>
    </inkml:brush>
  </inkml:definitions>
  <inkml:trace contextRef="#ctx0" brushRef="#br0">1 7 480 0 0,'0'0'1887'0'0,"0"-1"-1830"0"0,0 1 0 0 0,1 0 0 0 0,-1-1 0 0 0,0 1 0 0 0,0-1 0 0 0,1 1 0 0 0,-1 0 0 0 0,0-1 0 0 0,0 1-1 0 0,1 0 1 0 0,-1-1 0 0 0,1 1 0 0 0,-1 0 0 0 0,0 0 0 0 0,1-1 0 0 0,-1 1 0 0 0,0 0 0 0 0,1 0 0 0 0,-1 0 0 0 0,2-1 0 0 0,6 15 478 0 0,1-1 1 0 0,-1 1-1 0 0,-1 1 1 0 0,5 15 0 0 0,13 23 172 0 0,5 9 1929 0 0,-30-62-2617 0 0,4-12 111 0 0,0 0 0 0 0,-1 0 0 0 0,3-17-1 0 0,0-4-51 0 0,-5 28-72 0 0,-1 2-32 0 0,1 0 0 0 0,-1 0 0 0 0,1 0 0 0 0,0 1 0 0 0,0-1 0 0 0,0 0-1 0 0,0 0 1 0 0,0 1 0 0 0,0-1 0 0 0,1 1 0 0 0,-1-1 0 0 0,1 1 0 0 0,0-1-1 0 0,3-3 1 0 0,-3 5 3 0 0,21 21-96 0 0,11 36 46 0 0,-33-54 123 0 0,0 0 244 0 0,-1-2-237 0 0,0 0 1 0 0,0 1-1 0 0,3 4 993 0 0,-2-5-993 0 0,-1 0 1 0 0,0 0-1 0 0,0 0 1 0 0,1 0-1 0 0,0 1 0 0 0,2-4-9 0 0,0 0 1 0 0,0-1-1 0 0,0 1 0 0 0,-1-1 0 0 0,1 1 0 0 0,-1-1 0 0 0,0 0 0 0 0,0 0 0 0 0,0 0 0 0 0,2-6 1 0 0,-2 4-43 0 0,2-1 0 0 0,-1 0 0 0 0,9-11 0 0 0,-4 8-12 0 0,-6 6-5 0 0,1 1-1 0 0,0-1 0 0 0,1 0 1 0 0,-1 1-1 0 0,1 0 1 0 0,-1-1-1 0 0,1 1 0 0 0,0 1 1 0 0,0-1-1 0 0,0 1 1 0 0,1-1-1 0 0,6-1 0 0 0,-10 3-15 0 0,1 1 0 0 0,0 0 0 0 0,0-1 0 0 0,0 1 0 0 0,-1 0 0 0 0,1 0 0 0 0,0 1 0 0 0,0-1 0 0 0,-1 0 0 0 0,1 1 0 0 0,0-1 0 0 0,0 1-1 0 0,-1-1 1 0 0,1 1 0 0 0,0 0 0 0 0,-1-1 0 0 0,1 1 0 0 0,-1 0 0 0 0,1 0 0 0 0,-1 0 0 0 0,0 1 0 0 0,1-1 0 0 0,-1 0 0 0 0,0 0 0 0 0,0 1 0 0 0,0-1-1 0 0,0 1 1 0 0,0-1 0 0 0,0 1 0 0 0,0-1 0 0 0,0 1 0 0 0,0 0 0 0 0,-1-1 0 0 0,1 4 0 0 0,2 2-523 0 0,-1 1 0 0 0,0 0 0 0 0,0-1 0 0 0,-1 1 0 0 0,0 0 0 0 0,-1 9 0 0 0,0-2-1629 0 0,0-1-459 0 0</inkml:trace>
</inkml:ink>
</file>

<file path=ppt/ink/ink2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24.502"/>
    </inkml:context>
    <inkml:brush xml:id="br0">
      <inkml:brushProperty name="width" value="0.2" units="cm"/>
      <inkml:brushProperty name="height" value="0.2" units="cm"/>
      <inkml:brushProperty name="color" value="#E71224"/>
    </inkml:brush>
  </inkml:definitions>
  <inkml:trace contextRef="#ctx0" brushRef="#br0">193 187 860 0 0,'0'0'5291'0'0,"14"8"-3887"0"0,-3-7-1251 0 0,1-1 0 0 0,-1 0 0 0 0,0-1 1 0 0,0 0-1 0 0,0-1 0 0 0,0 0 0 0 0,0-1 0 0 0,0 0 0 0 0,0-1 0 0 0,17-8 0 0 0,-24 10-152 0 0,1 0 0 0 0,-1-1 0 0 0,0 0 0 0 0,0 0 1 0 0,0 0-1 0 0,0 0 0 0 0,0 0 0 0 0,0-1 0 0 0,-1 1 0 0 0,0-1 1 0 0,0 0-1 0 0,0 0 0 0 0,0-1 0 0 0,0 1 0 0 0,-1 0 0 0 0,0-1 1 0 0,0 0-1 0 0,0 1 0 0 0,-1-1 0 0 0,1 0 0 0 0,-1 0 0 0 0,0 0 1 0 0,-1 0-1 0 0,1 0 0 0 0,-1 0 0 0 0,0-7 0 0 0,0 10-12 0 0,-1-1 1 0 0,0 1-1 0 0,1-1 0 0 0,-1 1 1 0 0,0-1-1 0 0,0 1 0 0 0,0-1 1 0 0,-1 1-1 0 0,1 0 0 0 0,0 0 1 0 0,-1 0-1 0 0,1 0 0 0 0,-1 0 0 0 0,0 0 1 0 0,0 0-1 0 0,0 0 0 0 0,0 1 1 0 0,0-1-1 0 0,0 1 0 0 0,0-1 1 0 0,-1 1-1 0 0,1 0 0 0 0,0 0 1 0 0,-1 0-1 0 0,1 0 0 0 0,-1 0 0 0 0,1 1 1 0 0,-1-1-1 0 0,1 1 0 0 0,-1-1 1 0 0,-4 1-1 0 0,-2-1 6 0 0,-1 1 0 0 0,1 0 0 0 0,0 1-1 0 0,-1 0 1 0 0,1 0 0 0 0,0 1 0 0 0,-14 4 0 0 0,5 2 90 0 0,-1 0-1 0 0,1 1 1 0 0,1 2 0 0 0,0 0-1 0 0,0 0 1 0 0,1 2 0 0 0,0 0 0 0 0,1 0-1 0 0,1 2 1 0 0,0 0 0 0 0,1 0-1 0 0,1 1 1 0 0,-14 24 0 0 0,21-31 8 0 0,0 1 1 0 0,0-1-1 0 0,1 1 1 0 0,1 0-1 0 0,0 0 1 0 0,0 0-1 0 0,1 1 1 0 0,0-1-1 0 0,0 14 1 0 0,2-16-22 0 0,0 0 0 0 0,1 0-1 0 0,0-1 1 0 0,0 1 0 0 0,1 0 0 0 0,0 0 0 0 0,0-1 0 0 0,0 1-1 0 0,1-1 1 0 0,1 0 0 0 0,-1 1 0 0 0,9 12 0 0 0,-2-8 6 0 0,0 0 0 0 0,1-1 0 0 0,0 0 0 0 0,0-1 0 0 0,1 0 0 0 0,1-1 0 0 0,-1 0 0 0 0,2-1 0 0 0,-1-1 0 0 0,1 0 0 0 0,0 0 0 0 0,0-1 0 0 0,1-1 0 0 0,28 6 0 0 0,-13-5-332 0 0,1-1 0 0 0,39 1 0 0 0,57-8-4625 0 0,-97-3-188 0 0</inkml:trace>
</inkml:ink>
</file>

<file path=ppt/ink/ink2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25.786"/>
    </inkml:context>
    <inkml:brush xml:id="br0">
      <inkml:brushProperty name="width" value="0.2" units="cm"/>
      <inkml:brushProperty name="height" value="0.2" units="cm"/>
      <inkml:brushProperty name="color" value="#E71224"/>
    </inkml:brush>
  </inkml:definitions>
  <inkml:trace contextRef="#ctx0" brushRef="#br0">0 11 392 0 0,'6'-11'6267'0'0,"-4"25"-5780"0"0,9 36 869 0 0,-9-36-998 0 0,1 0 1 0 0,9 23 0 0 0,-3-15-156 0 0,1 0 1 0 0,1-1-1 0 0,17 25 1 0 0,-21-37-517 0 0,0 1 0 0 0,0-1 0 0 0,1 0 0 0 0,0-1 1 0 0,1 0-1 0 0,0 0 0 0 0,0-1 0 0 0,15 9 0 0 0,-22-14-169 0 0,0-2 298 0 0,-1 1-1 0 0,0 0 1 0 0,0-1 0 0 0,1 1 0 0 0,-1-1 0 0 0,0 1-1 0 0,1-1 1 0 0,-1 1 0 0 0,1-1 0 0 0,-1 0 0 0 0,0 0-1 0 0,1 0 1 0 0,-1 0 0 0 0,1 0 0 0 0,-1 0 0 0 0,3-1-1 0 0,11-2-1373 0 0</inkml:trace>
</inkml:ink>
</file>

<file path=ppt/ink/ink2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26.139"/>
    </inkml:context>
    <inkml:brush xml:id="br0">
      <inkml:brushProperty name="width" value="0.2" units="cm"/>
      <inkml:brushProperty name="height" value="0.2" units="cm"/>
      <inkml:brushProperty name="color" value="#E71224"/>
    </inkml:brush>
  </inkml:definitions>
  <inkml:trace contextRef="#ctx0" brushRef="#br0">19 92 608 0 0,'-2'-18'1104'0'0,"0"5"-308"0"0,-2 1 300 0 0,0-7-444 0 0,-1 3-596 0 0,3 3-1676 0 0</inkml:trace>
</inkml:ink>
</file>

<file path=ppt/ink/ink2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28.435"/>
    </inkml:context>
    <inkml:brush xml:id="br0">
      <inkml:brushProperty name="width" value="0.2" units="cm"/>
      <inkml:brushProperty name="height" value="0.2" units="cm"/>
      <inkml:brushProperty name="color" value="#E71224"/>
    </inkml:brush>
  </inkml:definitions>
  <inkml:trace contextRef="#ctx0" brushRef="#br0">4 19 1348 0 0,'-3'0'2570'0'0,"24"-2"977"0"0,86-6-3100 0 0,-63 6-551 0 0,139-5 824 0 0,-146 8-2352 0 0,0 1 0 0 0,67 13 0 0 0</inkml:trace>
</inkml:ink>
</file>

<file path=ppt/ink/ink2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29.400"/>
    </inkml:context>
    <inkml:brush xml:id="br0">
      <inkml:brushProperty name="width" value="0.2" units="cm"/>
      <inkml:brushProperty name="height" value="0.2" units="cm"/>
      <inkml:brushProperty name="color" value="#E71224"/>
    </inkml:brush>
  </inkml:definitions>
  <inkml:trace contextRef="#ctx0" brushRef="#br0">1 77 36 0 0,'3'-7'866'0'0,"1"-1"-1"0"0,1 1 1 0 0,0 0-1 0 0,0 1 1 0 0,10-11-1 0 0,-14 16-817 0 0,-1 0-1 0 0,1 0 1 0 0,0 0-1 0 0,1 1 0 0 0,-1-1 1 0 0,0 0-1 0 0,0 1 1 0 0,0-1-1 0 0,0 1 1 0 0,0-1-1 0 0,1 1 1 0 0,-1-1-1 0 0,0 1 1 0 0,0 0-1 0 0,1 0 0 0 0,-1 0 1 0 0,0 0-1 0 0,0 0 1 0 0,1 0-1 0 0,-1 0 1 0 0,0 0-1 0 0,1 0 1 0 0,-1 1-1 0 0,0-1 1 0 0,0 0-1 0 0,0 1 0 0 0,1-1 1 0 0,-1 1-1 0 0,0-1 1 0 0,0 1-1 0 0,0 0 1 0 0,0-1-1 0 0,0 1 1 0 0,2 2-1 0 0,2 1 70 0 0,0 0 0 0 0,-1 0 0 0 0,1 1 0 0 0,-1 0 0 0 0,4 6 0 0 0,17 29 578 0 0,-2 1 0 0 0,24 60 1 0 0,25 46-117 0 0,-59-119-444 0 0,-11-24 24 0 0,-1 0 1 0 0,1 1 0 0 0,0-1-1 0 0,0-1 1 0 0,0 1-1 0 0,1 0 1 0 0,0 0-1 0 0,5 5 357 0 0,-6-11-385 0 0,3-2-147 0 0,-1 0 1 0 0,0 0-1 0 0,0 0 0 0 0,-1-1 1 0 0,1 1-1 0 0,-1-1 0 0 0,0 0 1 0 0,0 0-1 0 0,-1 0 0 0 0,1 0 1 0 0,-1-1-1 0 0,2-6 0 0 0,0 0-134 0 0,1 1-1 0 0,13-21 0 0 0,-18 31 152 0 0,17-17-367 0 0,-17 18 353 0 0,1-1 1 0 0,0 1-1 0 0,0-1 1 0 0,0 1-1 0 0,0 0 1 0 0,0-1-1 0 0,0 1 1 0 0,0 0-1 0 0,0-1 0 0 0,0 1 1 0 0,0 0-1 0 0,0 0 1 0 0,0 0-1 0 0,0 0 1 0 0,0 0-1 0 0,0 0 0 0 0,0 0 1 0 0,0 1-1 0 0,0-1 1 0 0,0 0-1 0 0,0 0 1 0 0,0 1-1 0 0,0-1 0 0 0,0 1 1 0 0,-1-1-1 0 0,1 1 1 0 0,0-1-1 0 0,0 1 1 0 0,1 0-1 0 0,22 20-115 0 0,36 42 1 0 0,-36-37 223 0 0,40 35 0 0 0,-54-53 95 0 0,-9-6-76 0 0,1 0 0 0 0,0 0 0 0 0,0 0 0 0 0,0-1-1 0 0,0 1 1 0 0,0-1 0 0 0,0 1 0 0 0,0-1 0 0 0,1 0 0 0 0,-1 0 0 0 0,0 0 0 0 0,1 0 0 0 0,-1-1 0 0 0,1 1-1 0 0,-1 0 1 0 0,1-1 0 0 0,-1 0 0 0 0,1 0 0 0 0,0 0 0 0 0,2 0 0 0 0,-4 0-96 0 0,0-1 0 0 0,1 1 0 0 0,-1-1 0 0 0,0 0 0 0 0,0 0 1 0 0,1 1-1 0 0,-1-1 0 0 0,0 0 0 0 0,0 0 0 0 0,0 0 0 0 0,0 0 0 0 0,0 0 0 0 0,0-1 1 0 0,-1 1-1 0 0,1 0 0 0 0,0 0 0 0 0,-1 0 0 0 0,1-1 0 0 0,0 1 0 0 0,-1 0 0 0 0,0-1 0 0 0,1-1 1 0 0,6-31 144 0 0,-7 34-163 0 0,2-19 44 0 0,-2 0-1 0 0,0 0 1 0 0,-1 0 0 0 0,-1-1-1 0 0,-6-25 1 0 0,-31-93 89 0 0,38 135-148 0 0,-6-19-99 0 0,-1 1 0 0 0,-14-26 1 0 0,18 40-287 0 0,0 0 0 0 0,-1 1 1 0 0,0-1-1 0 0,0 1 1 0 0,0 0-1 0 0,-1 1 1 0 0,0-1-1 0 0,0 1 0 0 0,0 0 1 0 0,-12-7-1 0 0,-9 1-4804 0 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9:00.979"/>
    </inkml:context>
    <inkml:brush xml:id="br0">
      <inkml:brushProperty name="width" value="0.08571" units="cm"/>
      <inkml:brushProperty name="height" value="0.08571" units="cm"/>
      <inkml:brushProperty name="color" value="#00A0D7"/>
    </inkml:brush>
  </inkml:definitions>
  <inkml:trace contextRef="#ctx0" brushRef="#br0">1 0 13829,'17'16'2249,"3"-3"-1620,0-9-179,7 0 720,41 0-901,-19-2-89,31 0 270,13-3-360,-33-1-225,25-2 0,-1 1-405,-28 0-494,5 0 0,-6 0-1845,-29 2 2879,1 1 0,-13 0 0,-6 0 0</inkml:trace>
</inkml:ink>
</file>

<file path=ppt/ink/ink2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0.063"/>
    </inkml:context>
    <inkml:brush xml:id="br0">
      <inkml:brushProperty name="width" value="0.2" units="cm"/>
      <inkml:brushProperty name="height" value="0.2" units="cm"/>
      <inkml:brushProperty name="color" value="#E71224"/>
    </inkml:brush>
  </inkml:definitions>
  <inkml:trace contextRef="#ctx0" brushRef="#br0">0 1 592 0 0,'5'1'1071'0'0,"2"2"-803"0"0,-1 0 1 0 0,1 0-1 0 0,0 1 1 0 0,-1 0-1 0 0,0 0 1 0 0,0 1-1 0 0,0-1 1 0 0,-1 1-1 0 0,1 1 1 0 0,-1-1-1 0 0,0 1 1 0 0,-1 0-1 0 0,1 0 1 0 0,-1 0-1 0 0,-1 0 1 0 0,1 1-1 0 0,2 7 0 0 0,8 18 446 0 0,-2 1-1 0 0,11 48 0 0 0,-17-60-406 0 0,13 62 836 0 0,16 160 0 0 0,-31-207 890 0 0,-5-39-1919 0 0,0-2-94 0 0,1 0 0 0 0,-1 0 0 0 0,1 0 0 0 0,0 0 0 0 0,1 0 0 0 0,-1 0 0 0 0,1 0 0 0 0,0 0 0 0 0,0 0 0 0 0,0 0 0 0 0,1 0 1 0 0,-1 0-1 0 0,1 1 0 0 0,4-8 0 0 0,1 0-58 0 0,0 0 1 0 0,0 0 0 0 0,1 1 0 0 0,12-13-1 0 0,-18 20 16 0 0,1 1 0 0 0,0 0-1 0 0,0 0 1 0 0,1 1-1 0 0,-1-1 1 0 0,1 0 0 0 0,-1 1-1 0 0,1 0 1 0 0,0 0 0 0 0,0 0-1 0 0,0 0 1 0 0,0 1 0 0 0,6-2-1 0 0,-7 3 13 0 0,1 0 0 0 0,-1 0 0 0 0,1 0 1 0 0,0 0-1 0 0,-1 1 0 0 0,1-1 0 0 0,-1 1 0 0 0,0 0 0 0 0,1 0 0 0 0,-1 0 0 0 0,0 0 0 0 0,1 1 0 0 0,-1 0 0 0 0,0-1 0 0 0,0 1 0 0 0,5 5 0 0 0,9 7-19 0 0,-1 1 0 0 0,-1 0 0 0 0,21 28-1 0 0,-22-25 37 0 0,2 0-1 0 0,-1-1 1 0 0,20 15 0 0 0,-24-23 23 0 0,1-1 1 0 0,0 0-1 0 0,0 0 1 0 0,1-2-1 0 0,0 1 1 0 0,0-2-1 0 0,1 1 1 0 0,-1-2-1 0 0,1 0 1 0 0,26 4 0 0 0,-32-7-58 0 0,0-1 0 0 0,-1-1 0 0 0,1 1 0 0 0,-1-1 1 0 0,1 0-1 0 0,0-1 0 0 0,-1 0 0 0 0,0 0 1 0 0,1-1-1 0 0,-1 0 0 0 0,0 0 0 0 0,-1 0 0 0 0,1-1 1 0 0,12-8-1 0 0,-11 5-57 0 0,0 0 1 0 0,0 0-1 0 0,0-1 0 0 0,-1 0 1 0 0,0 0-1 0 0,-1-1 0 0 0,0 1 1 0 0,0-1-1 0 0,7-16 0 0 0,-12 24 73 0 0,-1 0-1 0 0,1 0 0 0 0,-1 0 1 0 0,1 0-1 0 0,-1 0 1 0 0,0 0-1 0 0,1 0 0 0 0,-1 0 1 0 0,0 0-1 0 0,0 0 0 0 0,0 0 1 0 0,0 0-1 0 0,0 0 0 0 0,0 0 1 0 0,0 0-1 0 0,0 0 0 0 0,0 0 1 0 0,-1-2-1 0 0,1 2 7 0 0,-1 1 1 0 0,1 0-1 0 0,0-1 1 0 0,-1 1-1 0 0,1 0 1 0 0,-1 0-1 0 0,1 0 1 0 0,-1-1-1 0 0,1 1 1 0 0,-1 0-1 0 0,1 0 1 0 0,-1 0-1 0 0,1 0 1 0 0,-1 0-1 0 0,1 0 0 0 0,-1 0 1 0 0,1 0-1 0 0,-1 0 1 0 0,1 0-1 0 0,-1 0 1 0 0,1 0-1 0 0,-1 0 1 0 0,1 0-1 0 0,-1 0 1 0 0,1 0-1 0 0,-1 1 1 0 0,-2 0-7 0 0,0 0 0 0 0,0 1 1 0 0,1-1-1 0 0,-1 1 0 0 0,1-1 1 0 0,-1 1-1 0 0,1 0 0 0 0,0 0 0 0 0,-1 0 1 0 0,1 0-1 0 0,0 0 0 0 0,-2 4 1 0 0,2-2 25 0 0,1 0 0 0 0,-1-1 0 0 0,1 1 1 0 0,0 0-1 0 0,0 0 0 0 0,0 0 0 0 0,1 0 0 0 0,-1 1 1 0 0,1-1-1 0 0,0 0 0 0 0,0 0 0 0 0,1 0 0 0 0,-1 0 1 0 0,1 0-1 0 0,0 0 0 0 0,0 0 0 0 0,0 0 0 0 0,1 0 1 0 0,-1 0-1 0 0,1-1 0 0 0,0 1 0 0 0,0-1 0 0 0,0 1 1 0 0,1-1-1 0 0,-1 0 0 0 0,5 5 0 0 0,0 0 43 0 0,1 0-1 0 0,0 0 1 0 0,0-1-1 0 0,1 0 1 0 0,0 0-1 0 0,0-1 1 0 0,0 0-1 0 0,17 7 1 0 0,-21-11-30 0 0,-1 0 0 0 0,0-1 0 0 0,1 1 1 0 0,0-1-1 0 0,-1 0 0 0 0,8 0 0 0 0,-10-1-22 0 0,-1 0 0 0 0,1 0 0 0 0,-1 0 0 0 0,1 0 0 0 0,-1-1 0 0 0,0 1 0 0 0,1 0 0 0 0,-1-1 0 0 0,1 0 0 0 0,-1 1 0 0 0,1-1 0 0 0,-1 0 0 0 0,0 1-1 0 0,0-1 1 0 0,1 0 0 0 0,-1 0 0 0 0,0 0 0 0 0,0 0 0 0 0,0 0 0 0 0,0 0 0 0 0,0-1 0 0 0,1-1 0 0 0,-1 0-7 0 0,0 0 0 0 0,-1 0 1 0 0,0-1-1 0 0,1 1 0 0 0,-1 0 0 0 0,0 0 1 0 0,-1 0-1 0 0,1 0 0 0 0,-1 0 0 0 0,1 0 0 0 0,-1 0 1 0 0,0 0-1 0 0,0 0 0 0 0,0 0 0 0 0,-3-4 1 0 0,3 5-6 0 0,-5-13-146 0 0,-2 2 1 0 0,0-1-1 0 0,-1 1 1 0 0,0 0-1 0 0,-1 1 1 0 0,-1 0-1 0 0,0 1 1 0 0,0 0-1 0 0,-1 0 1 0 0,0 1-1 0 0,-1 1 1 0 0,0 0-1 0 0,-1 1 0 0 0,-19-9 1 0 0,0 5-1514 0 0</inkml:trace>
</inkml:ink>
</file>

<file path=ppt/ink/ink2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0.398"/>
    </inkml:context>
    <inkml:brush xml:id="br0">
      <inkml:brushProperty name="width" value="0.2" units="cm"/>
      <inkml:brushProperty name="height" value="0.2" units="cm"/>
      <inkml:brushProperty name="color" value="#E71224"/>
    </inkml:brush>
  </inkml:definitions>
  <inkml:trace contextRef="#ctx0" brushRef="#br0">1 18 1464 0 0,'1'-2'223'0'0,"0"1"0"0"0,0 0 0 0 0,0-1-1 0 0,1 1 1 0 0,-1 0 0 0 0,0 0 0 0 0,1 0 0 0 0,-1 0-1 0 0,1 0 1 0 0,-1 0 0 0 0,1 0 0 0 0,-1 1 0 0 0,1-1-1 0 0,-1 0 1 0 0,1 1 0 0 0,0 0 0 0 0,-1-1 0 0 0,3 1-1 0 0,-2 0-101 0 0,-1 1 0 0 0,1-1 0 0 0,-1 1 0 0 0,0-1 0 0 0,1 1 0 0 0,-1 0 0 0 0,0 0-1 0 0,0 0 1 0 0,1-1 0 0 0,-1 1 0 0 0,0 1 0 0 0,0-1 0 0 0,0 0 0 0 0,0 0 0 0 0,0 0-1 0 0,0 0 1 0 0,-1 1 0 0 0,1-1 0 0 0,0 0 0 0 0,-1 1 0 0 0,2 1 0 0 0,8 23 837 0 0,-1 1-1 0 0,0 0 1 0 0,8 55 0 0 0,-1-6-122 0 0,7 26-316 0 0,19 196 1 0 0,-42-288-730 0 0,7 63-1981 0 0,0-25-2105 0 0</inkml:trace>
</inkml:ink>
</file>

<file path=ppt/ink/ink2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0.745"/>
    </inkml:context>
    <inkml:brush xml:id="br0">
      <inkml:brushProperty name="width" value="0.2" units="cm"/>
      <inkml:brushProperty name="height" value="0.2" units="cm"/>
      <inkml:brushProperty name="color" value="#E71224"/>
    </inkml:brush>
  </inkml:definitions>
  <inkml:trace contextRef="#ctx0" brushRef="#br0">236 178 1228 0 0,'12'-6'966'0'0,"11"-6"968"0"0,36-26 0 0 0,-54 35-1840 0 0,-1-1 0 0 0,0 1-1 0 0,1-1 1 0 0,-2 0 0 0 0,1 0-1 0 0,0 0 1 0 0,-1 0 0 0 0,0-1 0 0 0,0 1-1 0 0,0-1 1 0 0,0 0 0 0 0,-1 0 0 0 0,0 0-1 0 0,2-8 1 0 0,-4 12-83 0 0,1-1 1 0 0,-1 1-1 0 0,-1-1 1 0 0,1 1-1 0 0,0-1 1 0 0,0 1-1 0 0,0 0 0 0 0,-1-1 1 0 0,1 1-1 0 0,-1-1 1 0 0,1 1-1 0 0,-1 0 0 0 0,0-1 1 0 0,1 1-1 0 0,-1 0 1 0 0,0 0-1 0 0,0-1 1 0 0,0 1-1 0 0,0 0 0 0 0,0 0 1 0 0,0 0-1 0 0,0 0 1 0 0,0 0-1 0 0,0 1 1 0 0,-1-1-1 0 0,1 0 0 0 0,0 0 1 0 0,0 1-1 0 0,-3-2 1 0 0,-2 0 62 0 0,0-1 1 0 0,0 1-1 0 0,0 1 1 0 0,-1-1 0 0 0,-6 0-1 0 0,-4 1 74 0 0,0 1 0 0 0,0 0 0 0 0,1 2 0 0 0,-1 0 0 0 0,0 0 0 0 0,1 2 0 0 0,0 0 0 0 0,0 1 0 0 0,0 0 0 0 0,0 1 0 0 0,1 1 0 0 0,0 1 0 0 0,0 0 0 0 0,-22 18 0 0 0,32-23-76 0 0,0 1 0 0 0,1 0-1 0 0,-1 0 1 0 0,1 1 0 0 0,0-1-1 0 0,1 1 1 0 0,-1 0 0 0 0,1 0-1 0 0,0 0 1 0 0,-5 11 0 0 0,7-13-48 0 0,1 0-1 0 0,-1-1 1 0 0,1 1 0 0 0,-1 0 0 0 0,1 0 0 0 0,0 0-1 0 0,0 0 1 0 0,0 0 0 0 0,0-1 0 0 0,1 1 0 0 0,-1 0-1 0 0,1 0 1 0 0,0 0 0 0 0,0-1 0 0 0,0 1 0 0 0,0 0-1 0 0,0-1 1 0 0,0 1 0 0 0,1-1 0 0 0,-1 1 0 0 0,1-1-1 0 0,0 0 1 0 0,0 0 0 0 0,3 4 0 0 0,5 3-117 0 0,0 0 0 0 0,0-1 1 0 0,1 0-1 0 0,1 0 0 0 0,-1-1 0 0 0,1-1 1 0 0,0 0-1 0 0,24 8 0 0 0,-20-9-1348 0 0,1 0 0 0 0,0-2 0 0 0,28 3-1 0 0,-21-4-1416 0 0</inkml:trace>
</inkml:ink>
</file>

<file path=ppt/ink/ink2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1.166"/>
    </inkml:context>
    <inkml:brush xml:id="br0">
      <inkml:brushProperty name="width" value="0.2" units="cm"/>
      <inkml:brushProperty name="height" value="0.2" units="cm"/>
      <inkml:brushProperty name="color" value="#E71224"/>
    </inkml:brush>
  </inkml:definitions>
  <inkml:trace contextRef="#ctx0" brushRef="#br0">4 10 1500 0 0,'-3'-9'4979'0'0,"12"18"-3932"0"0,13 23-306 0 0,80 139 1972 0 0,-76-132-2081 0 0,3-1 0 0 0,40 43 0 0 0,-52-63-265 0 0,20 19 1891 0 0,-35-36-2174 0 0,0 1 0 0 0,0-1 0 0 0,0 0 0 0 0,0 0 0 0 0,0-1-1 0 0,0 1 1 0 0,0 0 0 0 0,0-1 0 0 0,0 1 0 0 0,0-1-1 0 0,1 1 1 0 0,-1-1 0 0 0,0 0 0 0 0,0 0 0 0 0,0 0 0 0 0,0 0-1 0 0,1-1 1 0 0,-1 1 0 0 0,0-1 0 0 0,0 1 0 0 0,0-1 0 0 0,0 0-1 0 0,0 1 1 0 0,0-1 0 0 0,0 0 0 0 0,0 0 0 0 0,0-1-1 0 0,0 1 1 0 0,-1 0 0 0 0,1-1 0 0 0,0 1 0 0 0,-1-1 0 0 0,1 1-1 0 0,1-4 1 0 0,4-4-22 0 0,0 0-1 0 0,-1 0 0 0 0,0 0 0 0 0,0-1 1 0 0,5-14-1 0 0,-3 1-272 0 0,-1-2-1 0 0,0 1 0 0 0,-2-1 1 0 0,-1 0-1 0 0,1-42 1 0 0,4-21-7156 0 0</inkml:trace>
</inkml:ink>
</file>

<file path=ppt/ink/ink2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1.519"/>
    </inkml:context>
    <inkml:brush xml:id="br0">
      <inkml:brushProperty name="width" value="0.2" units="cm"/>
      <inkml:brushProperty name="height" value="0.2" units="cm"/>
      <inkml:brushProperty name="color" value="#E71224"/>
    </inkml:brush>
  </inkml:definitions>
  <inkml:trace contextRef="#ctx0" brushRef="#br0">160 37 476 0 0,'0'-1'416'0'0,"7"-23"3197"0"0,-7 24-3570 0 0,0-1 0 0 0,0 1 1 0 0,0-1-1 0 0,0 1 0 0 0,0-1 0 0 0,-1 1 1 0 0,1-1-1 0 0,0 1 0 0 0,0-1 1 0 0,0 1-1 0 0,-1-1 0 0 0,1 1 1 0 0,0-1-1 0 0,-1 1 0 0 0,1 0 0 0 0,-1-1 1 0 0,1 1-1 0 0,0 0 0 0 0,-1-1 1 0 0,1 1-1 0 0,-1 0 0 0 0,1-1 1 0 0,-1 1-1 0 0,1 0 0 0 0,-1 0 0 0 0,1-1 1 0 0,-1 1-1 0 0,1 0 0 0 0,-1 0 1 0 0,1 0-1 0 0,-1 0 0 0 0,1 0 1 0 0,-1 0-1 0 0,1 0 0 0 0,-1 0 0 0 0,1 0 1 0 0,-1 0-1 0 0,0 0 0 0 0,1 0 1 0 0,-1 0-1 0 0,1 0 0 0 0,-1 1 1 0 0,-7 0 85 0 0,1 0 0 0 0,0 1 1 0 0,0 0-1 0 0,0 0 1 0 0,0 0-1 0 0,1 1 0 0 0,-1 0 1 0 0,1 1-1 0 0,-1-1 1 0 0,1 1-1 0 0,0 0 1 0 0,1 1-1 0 0,-1 0 0 0 0,1 0 1 0 0,-1 0-1 0 0,2 0 1 0 0,-1 1-1 0 0,0-1 0 0 0,-6 14 1 0 0,8-14-67 0 0,0 1 1 0 0,0 0-1 0 0,0 1 0 0 0,1-1 1 0 0,0 0-1 0 0,0 1 0 0 0,1-1 1 0 0,0 1-1 0 0,0-1 0 0 0,1 1 1 0 0,-1 0-1 0 0,1 0 0 0 0,1-1 1 0 0,-1 1-1 0 0,1-1 0 0 0,1 1 1 0 0,-1 0-1 0 0,1-1 0 0 0,0 0 1 0 0,0 1-1 0 0,1-1 0 0 0,4 7 1 0 0,-1-4-8 0 0,0 0 1 0 0,1-1-1 0 0,0 0 1 0 0,1 0-1 0 0,0-1 1 0 0,0 0-1 0 0,0 0 1 0 0,1-1-1 0 0,0 0 1 0 0,1-1-1 0 0,-1 1 1 0 0,1-2 0 0 0,0 0-1 0 0,0 0 1 0 0,0 0-1 0 0,1-2 1 0 0,-1 1-1 0 0,15 1 1 0 0,-22-4-51 0 0,1 1 0 0 0,-1-1 0 0 0,1 0 0 0 0,-1 0 1 0 0,1 0-1 0 0,0 0 0 0 0,-1-1 0 0 0,1 1 0 0 0,-1-1 1 0 0,1 0-1 0 0,-1 0 0 0 0,0 0 0 0 0,1 0 0 0 0,-1-1 0 0 0,0 0 1 0 0,0 1-1 0 0,0-1 0 0 0,0 0 0 0 0,0 0 0 0 0,0-1 1 0 0,-1 1-1 0 0,1-1 0 0 0,-1 1 0 0 0,0-1 0 0 0,1 0 0 0 0,-1 0 1 0 0,0 0-1 0 0,-1 0 0 0 0,1 0 0 0 0,0 0 0 0 0,-1 0 1 0 0,0-1-1 0 0,0 1 0 0 0,0-1 0 0 0,0 1 0 0 0,0-1 0 0 0,-1 1 1 0 0,1-5-1 0 0,-1-2-39 0 0,1 0 0 0 0,-1 0 1 0 0,-1 0-1 0 0,0 0 0 0 0,0 0 0 0 0,-1 0 1 0 0,0 1-1 0 0,-1-1 0 0 0,0 1 0 0 0,-1-1 1 0 0,0 1-1 0 0,-7-12 0 0 0,6 14-286 0 0,-1-1 0 0 0,0 1 0 0 0,-1 1 0 0 0,1 0 0 0 0,-1-1 0 0 0,-1 2 0 0 0,1-1 0 0 0,-1 1 0 0 0,0 1 0 0 0,0-1 0 0 0,0 1 0 0 0,-13-4 0 0 0,15 5-77 0 0,4 3 290 0 0,1-1 0 0 0,0 1 0 0 0,0-1 0 0 0,0 1 0 0 0,0-1 0 0 0,0 1 0 0 0,-1 0 0 0 0,1 0 0 0 0,0 0 0 0 0,0 0 0 0 0,-1 0 0 0 0,1 0 0 0 0,-2 0 1 0 0,0 0-250 0 0</inkml:trace>
</inkml:ink>
</file>

<file path=ppt/ink/ink2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1.844"/>
    </inkml:context>
    <inkml:brush xml:id="br0">
      <inkml:brushProperty name="width" value="0.2" units="cm"/>
      <inkml:brushProperty name="height" value="0.2" units="cm"/>
      <inkml:brushProperty name="color" value="#E71224"/>
    </inkml:brush>
  </inkml:definitions>
  <inkml:trace contextRef="#ctx0" brushRef="#br0">145 30 80 0 0,'0'0'196'0'0,"12"-16"2215"0"0,-11 15-2362 0 0,-1 1 0 0 0,0 0 0 0 0,0-1 0 0 0,0 1 0 0 0,1 0 0 0 0,-1 0 0 0 0,0-1 0 0 0,0 1 0 0 0,0 0 0 0 0,0-1 1 0 0,0 1-1 0 0,0 0 0 0 0,0-1 0 0 0,0 1 0 0 0,0-1 0 0 0,0 1 0 0 0,0 0 0 0 0,0-1 0 0 0,0 1 0 0 0,0 0 0 0 0,0-1 1 0 0,0 1-1 0 0,0 0 0 0 0,0-1 0 0 0,0 1 0 0 0,0 0 0 0 0,0-1 0 0 0,-1 1 0 0 0,1 0 0 0 0,0-1 0 0 0,0 1 0 0 0,0 0 0 0 0,-1 0 1 0 0,1-1-1 0 0,0 1 0 0 0,0 0 0 0 0,-1 0 0 0 0,1 0 0 0 0,0-1 0 0 0,-1 1 0 0 0,1 0 0 0 0,0 0 0 0 0,0 0 0 0 0,-1 0 1 0 0,1-1-1 0 0,0 1 0 0 0,-1 0 0 0 0,1 0 0 0 0,-1 0 0 0 0,1 0 0 0 0,0 0 0 0 0,-1 0 0 0 0,1 0 0 0 0,0 0 0 0 0,-1 0 0 0 0,1 0 1 0 0,0 0-1 0 0,-1 0 0 0 0,1 1 0 0 0,-6-1 105 0 0,0 1 0 0 0,0 0 0 0 0,0 1 1 0 0,0-1-1 0 0,1 1 0 0 0,-1 0 0 0 0,1 1 0 0 0,-1-1 0 0 0,1 1 0 0 0,0 0 1 0 0,0 0-1 0 0,0 1 0 0 0,0 0 0 0 0,1 0 0 0 0,-1 0 0 0 0,1 0 1 0 0,0 0-1 0 0,1 1 0 0 0,-5 5 0 0 0,3-2-27 0 0,0-1 0 0 0,0 1-1 0 0,1 0 1 0 0,-1 1 0 0 0,2-1 0 0 0,-1 1-1 0 0,1 0 1 0 0,1 0 0 0 0,0 0 0 0 0,0 0 0 0 0,-1 18-1 0 0,3-17-63 0 0,1-1 0 0 0,1 1-1 0 0,0-1 1 0 0,0 1 0 0 0,1-1 0 0 0,0 1-1 0 0,0-1 1 0 0,1 0 0 0 0,0-1-1 0 0,1 1 1 0 0,0-1 0 0 0,0 0 0 0 0,1 0-1 0 0,0 0 1 0 0,0-1 0 0 0,1 0-1 0 0,0 0 1 0 0,0 0 0 0 0,1-1 0 0 0,10 7-1 0 0,-9-7-283 0 0,1 0 0 0 0,-1-1 0 0 0,1 0 0 0 0,0-1 0 0 0,0 0 0 0 0,0 0 0 0 0,1-1 0 0 0,-1 0 0 0 0,1-1-1 0 0,0 0 1 0 0,0-1 0 0 0,0 0 0 0 0,-1-1 0 0 0,1 0 0 0 0,0-1 0 0 0,0 0 0 0 0,0 0 0 0 0,10-4 0 0 0,8-9-2750 0 0,-16 7 993 0 0</inkml:trace>
</inkml:ink>
</file>

<file path=ppt/ink/ink2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2.614"/>
    </inkml:context>
    <inkml:brush xml:id="br0">
      <inkml:brushProperty name="width" value="0.2" units="cm"/>
      <inkml:brushProperty name="height" value="0.2" units="cm"/>
      <inkml:brushProperty name="color" value="#E71224"/>
    </inkml:brush>
  </inkml:definitions>
  <inkml:trace contextRef="#ctx0" brushRef="#br0">265 68 912 0 0,'-3'0'1131'0'0,"-6"-1"-793"0"0,1 0 1 0 0,-1 1-1 0 0,1 0 1 0 0,-1 1-1 0 0,1 0 0 0 0,0 0 1 0 0,-1 1-1 0 0,1 0 1 0 0,0 0-1 0 0,0 1 1 0 0,0 0-1 0 0,1 0 1 0 0,-12 8-1 0 0,6-4-84 0 0,0 1 0 0 0,1 1 0 0 0,0 0 0 0 0,0 1 0 0 0,1 0 0 0 0,-19 22 0 0 0,26-26-157 0 0,0-1 1 0 0,1 0-1 0 0,0 1 1 0 0,0-1-1 0 0,0 1 1 0 0,1 0-1 0 0,-1 0 1 0 0,2 0-1 0 0,-1 0 1 0 0,1 0-1 0 0,0 0 0 0 0,0 1 1 0 0,0-1-1 0 0,1 0 1 0 0,0 8-1 0 0,1-10-68 0 0,-1 0 0 0 0,1 0 0 0 0,0 0 0 0 0,0-1 0 0 0,0 1 0 0 0,1 0 0 0 0,-1 0 0 0 0,1-1 0 0 0,0 1 0 0 0,0-1 0 0 0,0 0-1 0 0,0 0 1 0 0,1 0 0 0 0,-1 0 0 0 0,1 0 0 0 0,0 0 0 0 0,0 0 0 0 0,0-1 0 0 0,0 0 0 0 0,0 1 0 0 0,1-1 0 0 0,-1 0 0 0 0,1-1-1 0 0,-1 1 1 0 0,6 1 0 0 0,-6-2-130 0 0,1 0 0 0 0,0 0 0 0 0,-1 0-1 0 0,1-1 1 0 0,0 1 0 0 0,0-1-1 0 0,0 0 1 0 0,0 0 0 0 0,-1-1 0 0 0,1 1-1 0 0,0-1 1 0 0,0 0 0 0 0,-1 0 0 0 0,1 0-1 0 0,0 0 1 0 0,-1-1 0 0 0,1 1 0 0 0,-1-1-1 0 0,1 0 1 0 0,-1 0 0 0 0,0 0 0 0 0,3-3-1 0 0,5-5-252 0 0,0-1 0 0 0,-1 0 1 0 0,0 0-1 0 0,10-16 0 0 0,-17 23 385 0 0,13-13 257 0 0,-14 19 2 0 0,17 27 958 0 0,-16-23-1108 0 0,-1-1 0 0 0,1-1 0 0 0,0 1 0 0 0,0 0 0 0 0,1-1 0 0 0,5 6 0 0 0,2 0 45 0 0,0-1-1 0 0,1 0 1 0 0,0-1 0 0 0,1 0-1 0 0,0-1 1 0 0,21 8 0 0 0,-28-12-159 0 0,0-1 0 0 0,0 0 1 0 0,0-1-1 0 0,0 0 0 0 0,0 0 1 0 0,0 0-1 0 0,0 0 0 0 0,0-1 1 0 0,1 0-1 0 0,-1-1 0 0 0,0 1 1 0 0,0-1-1 0 0,0 0 1 0 0,0-1-1 0 0,0 1 0 0 0,0-1 1 0 0,0 0-1 0 0,8-5 0 0 0,-8 3-109 0 0,-1 0 0 0 0,1-1 0 0 0,0 0 0 0 0,-1 0 0 0 0,0 0 0 0 0,-1-1 0 0 0,1 1 0 0 0,-1-1 0 0 0,0 0 0 0 0,0-1 0 0 0,-1 1 0 0 0,1-1 0 0 0,1-7 0 0 0,5-13-440 0 0,11-56-1 0 0,-17 67 482 0 0,6-39-184 0 0,-4 24 404 0 0,16-54 1 0 0,-21 83 9 0 0,-1 5 41 0 0,-13 168 1958 0 0,2-68-1167 0 0,-5 51 332 0 0,13-111 933 0 0,3-41-2033 0 0,2-3-53 0 0,16-7-26 0 0,-1-1 1 0 0,25-17-1 0 0,-23 14-162 0 0,0 0-1 0 0,24-9 1 0 0,-29 15-30 0 0,0 1 0 0 0,0 1 1 0 0,1 0-1 0 0,0 1 1 0 0,0 1-1 0 0,23-2 1 0 0,-34 4 12 0 0,1 0 1 0 0,0 0-1 0 0,-1 0 1 0 0,1 1 0 0 0,-1 0-1 0 0,1-1 1 0 0,0 1-1 0 0,-1 1 1 0 0,0-1-1 0 0,1 1 1 0 0,-1 0-1 0 0,0 0 1 0 0,0 0 0 0 0,0 0-1 0 0,0 1 1 0 0,0 0-1 0 0,0 0 1 0 0,-1 0-1 0 0,1 0 1 0 0,-1 0-1 0 0,0 1 1 0 0,0-1 0 0 0,0 1-1 0 0,-1 0 1 0 0,4 6-1 0 0,-5-8 8 0 0,0 0 0 0 0,0 1 0 0 0,0-1-1 0 0,-1 1 1 0 0,1-1 0 0 0,-1 1 0 0 0,1-1-1 0 0,-1 1 1 0 0,0 0 0 0 0,0-1 0 0 0,0 1-1 0 0,0-1 1 0 0,-1 1 0 0 0,1 0 0 0 0,0-1-1 0 0,-1 1 1 0 0,0-1 0 0 0,-1 3 0 0 0,0-1 1 0 0,0 0 1 0 0,-1 0-1 0 0,1 0 1 0 0,-1 0 0 0 0,0-1-1 0 0,0 1 1 0 0,0-1-1 0 0,-1 0 1 0 0,-5 5 0 0 0,-3 0 6 0 0,-1 0-1 0 0,-1 0 1 0 0,0-1 0 0 0,0-1 0 0 0,-16 6 0 0 0,-11 0-302 0 0,0-1-1 0 0,0-2 1 0 0,-50 4 0 0 0,46-9-1939 0 0,-55-3 0 0 0,58-7-2745 0 0</inkml:trace>
</inkml:ink>
</file>

<file path=ppt/ink/ink2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3.052"/>
    </inkml:context>
    <inkml:brush xml:id="br0">
      <inkml:brushProperty name="width" value="0.2" units="cm"/>
      <inkml:brushProperty name="height" value="0.2" units="cm"/>
      <inkml:brushProperty name="color" value="#E71224"/>
    </inkml:brush>
  </inkml:definitions>
  <inkml:trace contextRef="#ctx0" brushRef="#br0">1 1 180 0 0,'0'0'-68'0'0</inkml:trace>
</inkml:ink>
</file>

<file path=ppt/ink/ink2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3.378"/>
    </inkml:context>
    <inkml:brush xml:id="br0">
      <inkml:brushProperty name="width" value="0.2" units="cm"/>
      <inkml:brushProperty name="height" value="0.2" units="cm"/>
      <inkml:brushProperty name="color" value="#E71224"/>
    </inkml:brush>
  </inkml:definitions>
  <inkml:trace contextRef="#ctx0" brushRef="#br0">0 3 1012 0 0,'0'0'1572'0'0,"24"-2"-620"0"0,9 2-612 0 0,-12 0-72 0 0,3 0-48 0 0,-3 0-204 0 0,5 0-284 0 0,0 0-340 0 0,4 0-488 0 0,-4 0 1092 0 0</inkml:trace>
</inkml:ink>
</file>

<file path=ppt/ink/ink2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4.532"/>
    </inkml:context>
    <inkml:brush xml:id="br0">
      <inkml:brushProperty name="width" value="0.2" units="cm"/>
      <inkml:brushProperty name="height" value="0.2" units="cm"/>
      <inkml:brushProperty name="color" value="#E71224"/>
    </inkml:brush>
  </inkml:definitions>
  <inkml:trace contextRef="#ctx0" brushRef="#br0">171 84 400 0 0,'3'-9'671'0'0,"-1"4"-238"0"0,-1 0 1 0 0,1 0-1 0 0,-1 0 0 0 0,0-1 0 0 0,0 1 1 0 0,-1 0-1 0 0,1-1 0 0 0,-1 1 1 0 0,-1 0-1 0 0,0-11 0 0 0,0 16-411 0 0,1 0-1 0 0,0-1 0 0 0,-1 1 0 0 0,1-1 1 0 0,0 1-1 0 0,-1-1 0 0 0,1 1 1 0 0,0 0-1 0 0,-1-1 0 0 0,1 1 1 0 0,-1 0-1 0 0,1-1 0 0 0,-1 1 1 0 0,1 0-1 0 0,-1 0 0 0 0,1 0 1 0 0,-1-1-1 0 0,1 1 0 0 0,-1 0 1 0 0,1 0-1 0 0,-1 0 0 0 0,1 0 1 0 0,-1 0-1 0 0,1 0 0 0 0,-1 0 0 0 0,1 0 1 0 0,-1 0-1 0 0,1 0 0 0 0,-1 0 1 0 0,1 0-1 0 0,-1 1 0 0 0,-14 2 189 0 0,15-3-205 0 0,-7 3 113 0 0,0 1 0 0 0,1-1 1 0 0,-1 1-1 0 0,1 0 0 0 0,0 0 1 0 0,1 1-1 0 0,-1 0 0 0 0,1 0 0 0 0,-8 9 1 0 0,2 0 116 0 0,0 0 0 0 0,-14 27-1 0 0,19-31-151 0 0,1 0-1 0 0,1 0 0 0 0,0 0 1 0 0,0 1-1 0 0,1 0 0 0 0,0-1 0 0 0,1 1 1 0 0,0 0-1 0 0,1 0 0 0 0,0 0 1 0 0,1 16-1 0 0,1-20-51 0 0,0 0 0 0 0,0 0 1 0 0,1 0-1 0 0,-1 0 0 0 0,2-1 0 0 0,-1 1 1 0 0,1-1-1 0 0,0 1 0 0 0,0-1 0 0 0,1 0 0 0 0,0 0 1 0 0,0-1-1 0 0,0 1 0 0 0,1-1 0 0 0,-1 0 1 0 0,1 0-1 0 0,1 0 0 0 0,-1-1 0 0 0,7 5 1 0 0,-5-4-7 0 0,1-1 0 0 0,-1 0 0 0 0,1 0-1 0 0,0-1 1 0 0,0 0 0 0 0,1 0 0 0 0,-1-1 0 0 0,0 0 0 0 0,1-1 0 0 0,-1 0 0 0 0,1 0 0 0 0,14-1 0 0 0,-18 0-31 0 0,1-1-1 0 0,-1 1 1 0 0,0-1-1 0 0,0 0 1 0 0,0-1-1 0 0,0 1 1 0 0,0-1-1 0 0,-1 0 1 0 0,1 0-1 0 0,0-1 1 0 0,-1 1-1 0 0,0-1 1 0 0,1 0-1 0 0,-1 0 1 0 0,0-1-1 0 0,0 1 1 0 0,-1-1-1 0 0,1 0 1 0 0,-1 0-1 0 0,0 0 1 0 0,0 0-1 0 0,3-7 1 0 0,-2 4-16 0 0,-2 4-2 0 0,0 0-1 0 0,0 0 0 0 0,0-1 1 0 0,-1 1-1 0 0,1-1 0 0 0,-1 1 1 0 0,0-1-1 0 0,0 1 0 0 0,0-1 1 0 0,0 0-1 0 0,-1 0 0 0 0,0 1 1 0 0,0-1-1 0 0,0 0 1 0 0,0 0-1 0 0,0 1 0 0 0,-2-7 1 0 0,2 9 17 0 0,-1 1 0 0 0,1-1 0 0 0,-1 0 0 0 0,0 1 0 0 0,1-1 0 0 0,-1 1 0 0 0,1 0 0 0 0,-1-1 0 0 0,0 1 0 0 0,0-1 0 0 0,1 1 0 0 0,-1 0 0 0 0,0 0 0 0 0,0-1 0 0 0,1 1 0 0 0,-1 0 0 0 0,0 0 0 0 0,0 0 0 0 0,0 0 0 0 0,1 0 0 0 0,-1 0 1 0 0,0 0-1 0 0,0 0 0 0 0,0 0 0 0 0,1 0 0 0 0,-1 1 0 0 0,0-1 0 0 0,0 0 0 0 0,1 0 0 0 0,-2 1 0 0 0,0 0 6 0 0,1-1 0 0 0,-1 0 0 0 0,0 1-1 0 0,1 0 1 0 0,-1-1 0 0 0,1 1 0 0 0,-1 0 0 0 0,1 0 0 0 0,0 0 0 0 0,-1 0 0 0 0,1 0 0 0 0,0 0 0 0 0,0 0-1 0 0,-1 0 1 0 0,0 2 0 0 0,1-1 27 0 0,1-1 0 0 0,-1 1 0 0 0,1 0 0 0 0,-1 0 0 0 0,1 0 0 0 0,0 0 0 0 0,0 0 0 0 0,-1 0 0 0 0,1 0 0 0 0,1-1 0 0 0,-1 1-1 0 0,0 0 1 0 0,0 0 0 0 0,1 0 0 0 0,-1 0 0 0 0,1 0 0 0 0,-1 0 0 0 0,1-1 0 0 0,0 1 0 0 0,1 2 0 0 0,1 0 2 0 0,-1-1 1 0 0,1 1-1 0 0,0-1 0 0 0,0 0 1 0 0,1 0-1 0 0,-1 0 0 0 0,1 0 1 0 0,6 4-1 0 0,2 0 17 0 0,1-1 1 0 0,-1 0 0 0 0,2-1-1 0 0,25 7 1 0 0,-26-9-13 0 0,0 0 0 0 0,1-1 1 0 0,-1 0-1 0 0,1-1 0 0 0,-1 0 1 0 0,1-2-1 0 0,-1 1 0 0 0,18-4 1 0 0,-28 4-34 0 0,-1-1 1 0 0,0 1-1 0 0,0-1 1 0 0,0 0 0 0 0,1 0-1 0 0,-1 1 1 0 0,0-1-1 0 0,0-1 1 0 0,0 1-1 0 0,0 0 1 0 0,-1 0 0 0 0,1-1-1 0 0,0 1 1 0 0,0-1-1 0 0,-1 1 1 0 0,1-1 0 0 0,-1 0-1 0 0,0 0 1 0 0,1 0-1 0 0,-1 0 1 0 0,0 0-1 0 0,0 0 1 0 0,0 0 0 0 0,0 0-1 0 0,0 0 1 0 0,-1 0-1 0 0,1 0 1 0 0,-1-1 0 0 0,1 1-1 0 0,-1 0 1 0 0,0 0-1 0 0,0-1 1 0 0,0 1-1 0 0,0 0 1 0 0,0-1 0 0 0,-1 1-1 0 0,0-3 1 0 0,0-1-5 0 0,-1 0 1 0 0,0 0-1 0 0,0 0 1 0 0,-1 0 0 0 0,1 1-1 0 0,-1-1 1 0 0,-1 1-1 0 0,1 0 1 0 0,-1 0-1 0 0,0 0 1 0 0,0 0-1 0 0,-7-6 1 0 0,-3 0-171 0 0,0 1 0 0 0,0 0 0 0 0,-1 1 0 0 0,-20-9 0 0 0,-35-11-3525 0 0,66 27 3442 0 0,2 2-62 0 0,1 0 189 0 0,0 0 0 0 0,0-1-1 0 0,0 1 1 0 0,0 0 0 0 0,0 0-1 0 0,1-1 1 0 0,-1 1 0 0 0,0 0-1 0 0,0-1 1 0 0,0 1 0 0 0,0-1 0 0 0,1 1-1 0 0,-1-1 1 0 0,0 1 0 0 0,0-1-1 0 0,0-1 1 0 0,-6-6-1121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8T04:48:32.561"/>
    </inkml:context>
    <inkml:brush xml:id="br0">
      <inkml:brushProperty name="width" value="0.08571" units="cm"/>
      <inkml:brushProperty name="height" value="0.08571" units="cm"/>
      <inkml:brushProperty name="color" value="#E71224"/>
    </inkml:brush>
  </inkml:definitions>
  <inkml:trace contextRef="#ctx0" brushRef="#br0">1 1 6004,'34'1'0,"-3"1"90,-9-1-90,0 1 89,0-1-89,0 0 90,1 0-180,0 0 180,-1 0-180,2 0 180,-1 0 0,12 0-180,-8-1 180,8 1-90,-11-1 90,0 1-180,0-1 180,0 0-180,1 1 180,-1-1-180,10 1 0,-8 0 90,8 0-179,-11-1 179,-1 1 0,-9 0 0,-3-1 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9:10.076"/>
    </inkml:context>
    <inkml:brush xml:id="br0">
      <inkml:brushProperty name="width" value="0.08571" units="cm"/>
      <inkml:brushProperty name="height" value="0.08571" units="cm"/>
      <inkml:brushProperty name="color" value="#00A0D7"/>
    </inkml:brush>
  </inkml:definitions>
  <inkml:trace contextRef="#ctx0" brushRef="#br0">35 5 11760,'-24'3'7106,"14"1"-7016,31-3 0,5 1 90,23-3-90,-8-1-639,9 0 549,5 0 0,1 0 0,7 0-405,6 1 1,1 0 134,0 0 0,0 0-657,-4 2 0,-5-1 28,4 2-181,0 0-269,-2 0-1259,-2 0-1440,-4 0 3940,-4 0 0,-1 0 0,-1-1 0</inkml:trace>
</inkml:ink>
</file>

<file path=ppt/ink/ink3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5.047"/>
    </inkml:context>
    <inkml:brush xml:id="br0">
      <inkml:brushProperty name="width" value="0.2" units="cm"/>
      <inkml:brushProperty name="height" value="0.2" units="cm"/>
      <inkml:brushProperty name="color" value="#E71224"/>
    </inkml:brush>
  </inkml:definitions>
  <inkml:trace contextRef="#ctx0" brushRef="#br0">0 0 300 0 0,'5'3'347'0'0,"0"1"1"0"0,0-1-1 0 0,-1 1 1 0 0,0 0-1 0 0,1 0 0 0 0,-1 0 1 0 0,-1 0-1 0 0,1 1 0 0 0,-1 0 1 0 0,0 0-1 0 0,0 0 1 0 0,0 0-1 0 0,0 0 0 0 0,3 11 1 0 0,1 7 406 0 0,0 1 1 0 0,3 29-1 0 0,-4-22-119 0 0,-1-6-53 0 0,-2 0 0 0 0,0 29 696 0 0,-4-58-1206 0 0,0 0-68 0 0,0 0 0 0 0,0 0 0 0 0,1-1 0 0 0,0 1 0 0 0,-1-1 0 0 0,1 1 0 0 0,1 0 0 0 0,-1-1 0 0 0,1 1 0 0 0,0 0 0 0 0,0-1 0 0 0,0 1 0 0 0,0 0 0 0 0,1 0 0 0 0,0 0 0 0 0,-1 0 0 0 0,2 0 0 0 0,-1 0 0 0 0,0 0 0 0 0,1 1 0 0 0,-1-1-1 0 0,1 1 1 0 0,0 0 0 0 0,1 0 0 0 0,-1 0 0 0 0,0 0 0 0 0,5-3 0 0 0,-5 5-15 0 0,-1 0 0 0 0,1 0 0 0 0,0 1 0 0 0,0-1 0 0 0,0 1 1 0 0,-1-1-1 0 0,1 1 0 0 0,0 0 0 0 0,0 0 0 0 0,0 0 0 0 0,3 1 0 0 0,-4-1 12 0 0,1 0-6 0 0,0 0 0 0 0,0 1 0 0 0,0 0 1 0 0,0 0-1 0 0,0 0 0 0 0,0 0 0 0 0,0 0 0 0 0,-1 1 1 0 0,1-1-1 0 0,0 1 0 0 0,-1-1 0 0 0,1 1 0 0 0,-1 0 1 0 0,4 4-1 0 0,26 31-95 0 0,-32-37 100 0 0,27 36 36 0 0,-17-25 631 0 0,-3-11-115 0 0,-1-18 120 0 0,1-6-659 0 0,-3 16-19 0 0,0 0 0 0 0,0 0 0 0 0,0 0 0 0 0,1 1 0 0 0,1-1 0 0 0,-1 1 0 0 0,1 0 0 0 0,0 1-1 0 0,1 0 1 0 0,-1 0 0 0 0,1 0 0 0 0,0 1 0 0 0,1 0 0 0 0,-1 0 0 0 0,1 1 0 0 0,0-1 0 0 0,16-4-1 0 0,-21 8 2 0 0,0 1 0 0 0,0 0-1 0 0,1 0 1 0 0,-1-1 0 0 0,0 2 0 0 0,0-1-1 0 0,0 0 1 0 0,0 1 0 0 0,1 0-1 0 0,-1-1 1 0 0,0 1 0 0 0,0 0-1 0 0,0 1 1 0 0,-1-1 0 0 0,1 0-1 0 0,0 1 1 0 0,0 0 0 0 0,-1-1-1 0 0,1 1 1 0 0,-1 0 0 0 0,4 4-1 0 0,1 1 4 0 0,-1 0-1 0 0,0 0 1 0 0,-1 0-1 0 0,0 1 0 0 0,8 15 1 0 0,-6-8 4 0 0,-1 1 0 0 0,0 1 1 0 0,-1-1-1 0 0,5 34 0 0 0,-4 10-1520 0 0,-5-4-3318 0 0</inkml:trace>
</inkml:ink>
</file>

<file path=ppt/ink/ink3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5.418"/>
    </inkml:context>
    <inkml:brush xml:id="br0">
      <inkml:brushProperty name="width" value="0.2" units="cm"/>
      <inkml:brushProperty name="height" value="0.2" units="cm"/>
      <inkml:brushProperty name="color" value="#E71224"/>
    </inkml:brush>
  </inkml:definitions>
  <inkml:trace contextRef="#ctx0" brushRef="#br0">47 276 1384 0 0,'11'22'1613'0'0,"0"1"0"0"0,8 28-1 0 0,20 98 1395 0 0,-33-121-2612 0 0,-5-23-276 0 0,0 1-1 0 0,0 0 1 0 0,0 0 0 0 0,-1 0-1 0 0,1 0 1 0 0,-1 0-1 0 0,-1 0 1 0 0,0 6 0 0 0,0-11-107 0 0,1-1 1 0 0,0 1-1 0 0,-1 0 1 0 0,1-1 0 0 0,-1 1-1 0 0,1-1 1 0 0,-1 1 0 0 0,1-1-1 0 0,-1 1 1 0 0,1-1-1 0 0,-1 1 1 0 0,1-1 0 0 0,-1 1-1 0 0,0-1 1 0 0,1 0-1 0 0,-1 1 1 0 0,0-1 0 0 0,1 0-1 0 0,-1 0 1 0 0,0 0-1 0 0,1 1 1 0 0,-1-1 0 0 0,0 0-1 0 0,0 0 1 0 0,1 0-1 0 0,-1 0 1 0 0,0 0 0 0 0,0 0-1 0 0,1 0 1 0 0,-1-1-1 0 0,0 1 1 0 0,1 0 0 0 0,-1 0-1 0 0,0 0 1 0 0,1-1 0 0 0,-1 1-1 0 0,0 0 1 0 0,1-1-1 0 0,-1 1 1 0 0,0-1 0 0 0,1 1-1 0 0,-1-1 1 0 0,0 0-1 0 0,-5-3 7 0 0,0 0 0 0 0,0-1 0 0 0,0 0 0 0 0,0 0 0 0 0,1-1 0 0 0,0 1 0 0 0,0-1 0 0 0,0-1 0 0 0,-7-12 0 0 0,6 6-42 0 0,0 0 1 0 0,0 0-1 0 0,1-1 0 0 0,-5-25 0 0 0,4 6-63 0 0,2 0 0 0 0,2 0 0 0 0,2-65 0 0 0,1 81 64 0 0,1 0 1 0 0,1 1 0 0 0,0-1 0 0 0,1 1-1 0 0,1 0 1 0 0,12-30 0 0 0,-12 36-10 0 0,0 1 0 0 0,1-1 0 0 0,0 1 0 0 0,0 0 0 0 0,1 1 0 0 0,0 0 1 0 0,1 0-1 0 0,0 0 0 0 0,0 1 0 0 0,0 0 0 0 0,15-8 0 0 0,-21 14 18 0 0,0 1 1 0 0,0-1-1 0 0,0 0 0 0 0,1 1 0 0 0,-1 0 0 0 0,0 0 0 0 0,0-1 0 0 0,1 1 0 0 0,-1 1 0 0 0,0-1 0 0 0,0 0 1 0 0,3 1-1 0 0,-2-1 5 0 0,-2 0 8 0 0,-1 1 0 0 0,1-1-1 0 0,0 0 1 0 0,-1 0 0 0 0,1 0 0 0 0,-1 1 0 0 0,1-1 0 0 0,-1 0-1 0 0,1 1 1 0 0,-1-1 0 0 0,1 0 0 0 0,-1 1 0 0 0,1-1-1 0 0,-1 1 1 0 0,1-1 0 0 0,-1 0 0 0 0,0 1 0 0 0,1-1 0 0 0,-1 1-1 0 0,0-1 1 0 0,1 1 0 0 0,-1 0 0 0 0,0-1 0 0 0,0 1-1 0 0,1-1 1 0 0,-1 1 0 0 0,0 0 0 0 0,0-1 0 0 0,0 1 0 0 0,0-1-1 0 0,0 1 1 0 0,0 0 0 0 0,0-1 0 0 0,0 1 0 0 0,0-1-1 0 0,0 1 1 0 0,0 0 0 0 0,0-1 0 0 0,0 1 0 0 0,-1-1 0 0 0,1 2-1 0 0,-11 22 40 0 0,1-12-364 0 0,0 0 0 0 0,-1-1 0 0 0,0-1 0 0 0,-1 0 0 0 0,0 0 0 0 0,-1-1 0 0 0,-18 9 0 0 0,2 1-2791 0 0,17-9 922 0 0</inkml:trace>
</inkml:ink>
</file>

<file path=ppt/ink/ink3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5.762"/>
    </inkml:context>
    <inkml:brush xml:id="br0">
      <inkml:brushProperty name="width" value="0.2" units="cm"/>
      <inkml:brushProperty name="height" value="0.2" units="cm"/>
      <inkml:brushProperty name="color" value="#E71224"/>
    </inkml:brush>
  </inkml:definitions>
  <inkml:trace contextRef="#ctx0" brushRef="#br0">0 0 1464 0 0,'11'6'2916'0'0,"6"2"-1011"0"0,-4-4-257 0 0,2 4-972 0 0,-8-3-1288 0 0</inkml:trace>
</inkml:ink>
</file>

<file path=ppt/ink/ink3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6.301"/>
    </inkml:context>
    <inkml:brush xml:id="br0">
      <inkml:brushProperty name="width" value="0.2" units="cm"/>
      <inkml:brushProperty name="height" value="0.2" units="cm"/>
      <inkml:brushProperty name="color" value="#E71224"/>
    </inkml:brush>
  </inkml:definitions>
  <inkml:trace contextRef="#ctx0" brushRef="#br0">1 223 448 0 0,'2'0'2218'0'0,"11"1"-1598"0"0,0 0-1 0 0,0-1 1 0 0,0-1 0 0 0,0 0-1 0 0,0-1 1 0 0,0 0 0 0 0,13-5-1 0 0,6-3-264 0 0,47-22 0 0 0,-67 27-300 0 0,0-2-1 0 0,-1 1 0 0 0,0-2 0 0 0,0 1 0 0 0,11-11 1 0 0,-19 15-48 0 0,1 0 0 0 0,-1 0 0 0 0,0 0 0 0 0,0-1 0 0 0,0 1 1 0 0,-1-1-1 0 0,1 0 0 0 0,-1 0 0 0 0,0 0 0 0 0,0 0 0 0 0,0 0 1 0 0,0 0-1 0 0,-1 0 0 0 0,0-1 0 0 0,0 1 0 0 0,0 0 0 0 0,0-1 1 0 0,0-7-1 0 0,-1 11 2 0 0,-1-1 0 0 0,1 0 0 0 0,0 1 0 0 0,-1-1 0 0 0,1 0 0 0 0,-1 1 0 0 0,1-1 0 0 0,-1 1 0 0 0,0-1 0 0 0,0 1 0 0 0,1 0 0 0 0,-1-1 0 0 0,0 1 0 0 0,0 0 0 0 0,0-1 0 0 0,-1 1 0 0 0,1 0 0 0 0,0 0 0 0 0,0 0 0 0 0,-1 0 0 0 0,1 0 0 0 0,-1 0 0 0 0,1 0 0 0 0,0 1 0 0 0,-1-1 0 0 0,0 0 0 0 0,1 1 0 0 0,-1 0 0 0 0,1-1 0 0 0,-3 1 0 0 0,-2-1 74 0 0,0 0 1 0 0,0 1-1 0 0,0 0 0 0 0,-1 0 0 0 0,1 1 0 0 0,-7 1 0 0 0,-1 1-8 0 0,0 2-1 0 0,0 0 0 0 0,0 0 0 0 0,1 1 1 0 0,0 1-1 0 0,0 0 0 0 0,1 0 1 0 0,-1 2-1 0 0,2-1 0 0 0,-1 2 1 0 0,1-1-1 0 0,1 2 0 0 0,0-1 1 0 0,-16 23-1 0 0,20-24-36 0 0,0 0 0 0 0,0 0-1 0 0,1 1 1 0 0,1 0 0 0 0,0-1 0 0 0,0 2 0 0 0,1-1-1 0 0,0 0 1 0 0,1 1 0 0 0,0-1 0 0 0,1 1 0 0 0,0 0-1 0 0,0-1 1 0 0,1 1 0 0 0,2 12 0 0 0,-1-15-235 0 0,1 0 1 0 0,-1 0 0 0 0,2 0-1 0 0,-1 0 1 0 0,1 0-1 0 0,0 0 1 0 0,1-1 0 0 0,-1 0-1 0 0,2 1 1 0 0,-1-1 0 0 0,1-1-1 0 0,0 1 1 0 0,0-1 0 0 0,1 0-1 0 0,0 0 1 0 0,0 0-1 0 0,0-1 1 0 0,1 0 0 0 0,0 0-1 0 0,8 4 1 0 0,7 1-2004 0 0,2-4-448 0 0</inkml:trace>
</inkml:ink>
</file>

<file path=ppt/ink/ink3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6.669"/>
    </inkml:context>
    <inkml:brush xml:id="br0">
      <inkml:brushProperty name="width" value="0.2" units="cm"/>
      <inkml:brushProperty name="height" value="0.2" units="cm"/>
      <inkml:brushProperty name="color" value="#E71224"/>
    </inkml:brush>
  </inkml:definitions>
  <inkml:trace contextRef="#ctx0" brushRef="#br0">320 8 1304 0 0,'13'-8'3294'0'0,"-18"17"-1834"0"0,-4 2-809 0 0,-1 0 1 0 0,-12 10-1 0 0,-10 11-38 0 0,8-5-367 0 0,-48 42 0 0 0,62-61-962 0 0,-1 0-1 0 0,0 0 0 0 0,0-1 1 0 0,-1 0-1 0 0,0-1 1 0 0,0-1-1 0 0,-24 8 0 0 0</inkml:trace>
  <inkml:trace contextRef="#ctx0" brushRef="#br0" timeOffset="1">0 87 652 0 0,'3'-2'395'0'0,"1"-1"0"0"0,-1 0 0 0 0,0 0 0 0 0,1 1 0 0 0,-1 0 0 0 0,1 0 0 0 0,0 0-1 0 0,0 0 1 0 0,0 1 0 0 0,0-1 0 0 0,0 1 0 0 0,5-1 0 0 0,-3 2-160 0 0,-1 0 0 0 0,1 0 0 0 0,-1 0 0 0 0,1 1 0 0 0,-1 0 0 0 0,0 0 0 0 0,0 0 0 0 0,1 1 0 0 0,-1 0 0 0 0,5 3 0 0 0,7 2 123 0 0,-1 2 1 0 0,-1 0-1 0 0,0 1 0 0 0,0 1 1 0 0,26 24-1 0 0,-21-15-182 0 0,-1 1 0 0 0,-1 1 1 0 0,19 28-1 0 0,-29-37-202 0 0,0 0 0 0 0,-1 1 1 0 0,-1 1-1 0 0,0-1 0 0 0,6 24 0 0 0,-9-25-1476 0 0,-1 0-1 0 0,0 0 0 0 0,0 23 0 0 0</inkml:trace>
</inkml:ink>
</file>

<file path=ppt/ink/ink3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7.181"/>
    </inkml:context>
    <inkml:brush xml:id="br0">
      <inkml:brushProperty name="width" value="0.2" units="cm"/>
      <inkml:brushProperty name="height" value="0.2" units="cm"/>
      <inkml:brushProperty name="color" value="#E71224"/>
    </inkml:brush>
  </inkml:definitions>
  <inkml:trace contextRef="#ctx0" brushRef="#br0">48 165 848 0 0,'0'0'1043'0'0,"1"1"-906"0"0,0-1 1 0 0,0 0-1 0 0,-1 1 1 0 0,1-1-1 0 0,0 1 0 0 0,0-1 1 0 0,-1 1-1 0 0,1 0 1 0 0,0-1-1 0 0,-1 1 1 0 0,1-1-1 0 0,-1 1 0 0 0,1 0 1 0 0,-1 0-1 0 0,1-1 1 0 0,0 2-1 0 0,49 290 5568 0 0,-43-208-3726 0 0,-12-86-1815 0 0,4 3-158 0 0,1-1 0 0 0,-1 0-1 0 0,0 0 1 0 0,1 0 0 0 0,-1 0 0 0 0,0 0 0 0 0,1 0-1 0 0,-1 0 1 0 0,0 0 0 0 0,1-1 0 0 0,-1 1 0 0 0,0 0 0 0 0,1 0-1 0 0,-1 0 1 0 0,0-1 0 0 0,1 1 0 0 0,-1 0 0 0 0,0-1-1 0 0,1 1 1 0 0,-2-1 0 0 0,-4-8-5 0 0,0 0-1 0 0,1-1 0 0 0,-1 1 1 0 0,2-1-1 0 0,-1 0 1 0 0,2 0-1 0 0,-1-1 1 0 0,1 1-1 0 0,1-1 1 0 0,0 0-1 0 0,0 0 1 0 0,1-17-1 0 0,0 4-122 0 0,1 1-1 0 0,2-1 1 0 0,0 0 0 0 0,11-44 0 0 0,-8 50 70 0 0,0 1 0 0 0,2-1 0 0 0,0 1 0 0 0,1 0 0 0 0,1 1 0 0 0,0 0 1 0 0,13-16-1 0 0,-17 25 25 0 0,0 0-1 0 0,1 1 1 0 0,0-1 0 0 0,0 1 0 0 0,0 1 0 0 0,1-1 0 0 0,0 1 0 0 0,0 0 0 0 0,0 1-1 0 0,1 0 1 0 0,0 0 0 0 0,0 0 0 0 0,0 1 0 0 0,0 0 0 0 0,0 1 0 0 0,17-4 0 0 0,-21 6 9 0 0,-1 0 0 0 0,1 0 0 0 0,-1 0 0 0 0,1 1 0 0 0,-1-1 0 0 0,1 1 0 0 0,-1 0 0 0 0,1 0 0 0 0,-1 0 0 0 0,0 0 0 0 0,1 1 0 0 0,-1-1 0 0 0,0 1 0 0 0,0 0 0 0 0,0 0 0 0 0,0 0 0 0 0,0 0 0 0 0,-1 1 0 0 0,5 4 0 0 0,-5-5 17 0 0,0 0 0 0 0,-1 0 0 0 0,1 0-1 0 0,-1 1 1 0 0,0-1 0 0 0,1 1 0 0 0,-1-1-1 0 0,0 1 1 0 0,-1-1 0 0 0,1 1-1 0 0,0 0 1 0 0,-1-1 0 0 0,1 1 0 0 0,-1 0-1 0 0,0-1 1 0 0,0 1 0 0 0,0 0 0 0 0,0 0-1 0 0,0-1 1 0 0,-1 1 0 0 0,1 0 0 0 0,-1-1-1 0 0,0 1 1 0 0,0-1 0 0 0,-1 4 0 0 0,-4 4 41 0 0,-1 1 0 0 0,1-1 1 0 0,-2-1-1 0 0,1 1 1 0 0,-2-1-1 0 0,1-1 1 0 0,-1 0-1 0 0,0 0 0 0 0,-1 0 1 0 0,-11 6-1 0 0,-18 10-432 0 0,-56 24 1 0 0,53-28-815 0 0,-18 7-3022 0 0,47-21 2081 0 0</inkml:trace>
</inkml:ink>
</file>

<file path=ppt/ink/ink3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7.513"/>
    </inkml:context>
    <inkml:brush xml:id="br0">
      <inkml:brushProperty name="width" value="0.2" units="cm"/>
      <inkml:brushProperty name="height" value="0.2" units="cm"/>
      <inkml:brushProperty name="color" value="#E71224"/>
    </inkml:brush>
  </inkml:definitions>
  <inkml:trace contextRef="#ctx0" brushRef="#br0">0 0 1116 0 0,'2'2'5168'0'0,"9"1"-4878"0"0,0 1 1 0 0,0-2-1 0 0,0 1 1 0 0,0-2-1 0 0,0 1 1 0 0,18-2-1 0 0,19 5-258 0 0,-32-3-480 0 0,28 4-3419 0 0,-22-4 2237 0 0</inkml:trace>
</inkml:ink>
</file>

<file path=ppt/ink/ink3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8.549"/>
    </inkml:context>
    <inkml:brush xml:id="br0">
      <inkml:brushProperty name="width" value="0.2" units="cm"/>
      <inkml:brushProperty name="height" value="0.2" units="cm"/>
      <inkml:brushProperty name="color" value="#E71224"/>
    </inkml:brush>
  </inkml:definitions>
  <inkml:trace contextRef="#ctx0" brushRef="#br0">82 177 452 0 0,'13'-7'1031'0'0,"0"1"1"0"0,1 0-1 0 0,0 1 0 0 0,16-3 1 0 0,-16 4-865 0 0,0 0 1 0 0,0-1-1 0 0,-1 0 0 0 0,21-12 1 0 0,-28 14-133 0 0,0-1 0 0 0,0 0 0 0 0,0 0 0 0 0,0-1 0 0 0,-1 0 0 0 0,1 0 0 0 0,-1 0 0 0 0,0 0 1 0 0,5-9-1 0 0,-8 3-32 0 0,-2 9 0 0 0,0 1 0 0 0,0-1 0 0 0,0 0 0 0 0,0 1 0 0 0,-1-1 0 0 0,1 1 0 0 0,0-1 0 0 0,-1 0 0 0 0,0 1 0 0 0,1-1 0 0 0,-1 1 0 0 0,0-1 0 0 0,0 1 0 0 0,1 0 0 0 0,-1-1-1 0 0,0 1 1 0 0,-1 0 0 0 0,1-1 0 0 0,0 1 0 0 0,0 0 0 0 0,-3-2 0 0 0,1 2 35 0 0,0-1 1 0 0,-1 0-1 0 0,1 1 0 0 0,-1 0 0 0 0,1 0 0 0 0,-1 0 1 0 0,1 0-1 0 0,-1 1 0 0 0,-6-1 0 0 0,-2 1 136 0 0,0 1-1 0 0,0 0 1 0 0,0 0-1 0 0,1 1 1 0 0,-17 5-1 0 0,17-3-34 0 0,0 0 0 0 0,0 1 0 0 0,1 0 0 0 0,-1 1 0 0 0,2 0 0 0 0,-1 0-1 0 0,1 1 1 0 0,-1 1 0 0 0,2-1 0 0 0,-1 2 0 0 0,1-1 0 0 0,1 1 0 0 0,-1 0 0 0 0,-7 13 0 0 0,11-16-93 0 0,1 1-1 0 0,0-1 1 0 0,0 0 0 0 0,0 1-1 0 0,1 0 1 0 0,0 0 0 0 0,0-1 0 0 0,1 1-1 0 0,0 0 1 0 0,0 0 0 0 0,0 1 0 0 0,1-1-1 0 0,0 0 1 0 0,1 0 0 0 0,-1 0-1 0 0,1 0 1 0 0,1 0 0 0 0,-1 0 0 0 0,1 0-1 0 0,1-1 1 0 0,-1 1 0 0 0,1 0 0 0 0,0-1-1 0 0,6 8 1 0 0,-5-7-22 0 0,1 0-1 0 0,1 0 1 0 0,-1-1-1 0 0,1 0 1 0 0,0 0 0 0 0,0 0-1 0 0,1-1 1 0 0,0 0-1 0 0,0 0 1 0 0,0-1 0 0 0,0 0-1 0 0,1 0 1 0 0,0-1-1 0 0,0 0 1 0 0,0 0-1 0 0,0-1 1 0 0,16 3 0 0 0,-14-4-32 0 0,-1 0 0 0 0,1-1 0 0 0,0 0 0 0 0,0-1 0 0 0,-1 0 0 0 0,1 0 0 0 0,0-1 0 0 0,-1 0 0 0 0,1-1 1 0 0,-1 0-1 0 0,0-1 0 0 0,0 1 0 0 0,0-2 0 0 0,-1 1 0 0 0,10-8 0 0 0,3-5-88 0 0,-1-1 0 0 0,-1-1 0 0 0,0-1 0 0 0,-2-1 0 0 0,18-26 0 0 0,-31 42 33 0 0,-3 3-9 0 0,-4 9-204 0 0,-3 5 276 0 0,4-4 17 0 0,1 0 0 0 0,1 0 0 0 0,-1 0 0 0 0,1 0 0 0 0,0 0 0 0 0,1 0 0 0 0,0 0 0 0 0,1 0 0 0 0,-1 0 0 0 0,1 0 0 0 0,4 9 0 0 0,-4-13-1 0 0,0 1-1 0 0,0 0 0 0 0,0-1 0 0 0,1 1 0 0 0,0-1 0 0 0,0 0 0 0 0,0 0 1 0 0,0 0-1 0 0,0 0 0 0 0,1 0 0 0 0,0-1 0 0 0,0 1 0 0 0,0-1 1 0 0,0 0-1 0 0,0-1 0 0 0,1 1 0 0 0,-1-1 0 0 0,10 4 0 0 0,-9-4-33 0 0,0-1-1 0 0,0 0 0 0 0,-1-1 1 0 0,1 1-1 0 0,0-1 1 0 0,0 0-1 0 0,0 0 0 0 0,0-1 1 0 0,-1 1-1 0 0,1-1 0 0 0,0 0 1 0 0,0 0-1 0 0,-1-1 0 0 0,1 1 1 0 0,-1-1-1 0 0,1 0 1 0 0,-1 0-1 0 0,0-1 0 0 0,0 1 1 0 0,0-1-1 0 0,0 0 0 0 0,0 0 1 0 0,0 0-1 0 0,-1 0 0 0 0,6-8 1 0 0,5-7-164 0 0,-1 0 0 0 0,-1-1-1 0 0,-1 0 1 0 0,11-28 0 0 0,-8 18 192 0 0,-6 8-125 0 0,-7 18 443 0 0,2 19-132 0 0,-1-12-167 0 0,-1 0 1 0 0,1-1-1 0 0,0 1 0 0 0,0-1 1 0 0,0 1-1 0 0,1-1 1 0 0,-1 0-1 0 0,1 0 1 0 0,0 0-1 0 0,0 0 1 0 0,4 3-1 0 0,-5-4-4 0 0,0-1-19 0 0,-1 0 1 0 0,1 0-1 0 0,-1 1 0 0 0,1-1 0 0 0,0 0 0 0 0,0-1 0 0 0,-1 1 0 0 0,1 0 0 0 0,0 0 0 0 0,0-1 1 0 0,0 1-1 0 0,0-1 0 0 0,0 0 0 0 0,0 0 0 0 0,0 1 0 0 0,-1-1 0 0 0,1 0 0 0 0,0-1 0 0 0,0 1 1 0 0,0 0-1 0 0,0 0 0 0 0,0-1 0 0 0,0 1 0 0 0,0-1 0 0 0,0 0 0 0 0,-1 0 0 0 0,1 1 0 0 0,2-3 1 0 0,3-1-95 0 0,0-1 0 0 0,0 0 1 0 0,-1 0-1 0 0,11-11 0 0 0,-9 8 37 0 0,-3 4 21 0 0,-2 1-21 0 0,0 0-1 0 0,1 0 0 0 0,-1 0 0 0 0,1 0 1 0 0,0 1-1 0 0,6-4 0 0 0,-10 6 53 0 0,1 0 1 0 0,0 0-1 0 0,0 0 0 0 0,0 0 0 0 0,0 0 0 0 0,0 0 0 0 0,-1 0 0 0 0,1 0 0 0 0,0 0 0 0 0,0 0 0 0 0,0 1 0 0 0,0-1 0 0 0,-1 0 0 0 0,1 0 1 0 0,0 1-1 0 0,0-1 0 0 0,0 1 0 0 0,-1-1 0 0 0,1 0 0 0 0,0 1 0 0 0,-1 0 0 0 0,1-1 0 0 0,0 1 0 0 0,-1-1 0 0 0,1 1 0 0 0,-1 0 0 0 0,1-1 1 0 0,-1 1-1 0 0,1 0 0 0 0,-1 0 0 0 0,0-1 0 0 0,1 1 0 0 0,-1 0 0 0 0,0 0 0 0 0,1 0 0 0 0,-1 0 0 0 0,4 8 35 0 0,-1-1-1 0 0,0 1 0 0 0,0 0 1 0 0,-1 0-1 0 0,0 0 0 0 0,0 0 1 0 0,-1 1-1 0 0,-1-1 0 0 0,1 0 1 0 0,-1 1-1 0 0,-1-1 1 0 0,0 0-1 0 0,0 0 0 0 0,-1 0 1 0 0,0 0-1 0 0,-1 0 0 0 0,1 0 1 0 0,-2 0-1 0 0,1 0 0 0 0,-2-1 1 0 0,1 0-1 0 0,-1 0 0 0 0,0 0 1 0 0,0-1-1 0 0,-1 1 1 0 0,0-1-1 0 0,0 0 0 0 0,-1-1 1 0 0,0 0-1 0 0,0 0 0 0 0,-1 0 1 0 0,-8 4-1 0 0,6-3-161 0 0,6-4-342 0 0,0 0 0 0 0,0-1 0 0 0,0 1-1 0 0,0-1 1 0 0,0 0 0 0 0,-1 0 0 0 0,1 0 0 0 0,-9 2-1 0 0</inkml:trace>
</inkml:ink>
</file>

<file path=ppt/ink/ink3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8.916"/>
    </inkml:context>
    <inkml:brush xml:id="br0">
      <inkml:brushProperty name="width" value="0.2" units="cm"/>
      <inkml:brushProperty name="height" value="0.2" units="cm"/>
      <inkml:brushProperty name="color" value="#E71224"/>
    </inkml:brush>
  </inkml:definitions>
  <inkml:trace contextRef="#ctx0" brushRef="#br0">0 9 712 0 0,'2'-2'149'0'0,"0"1"0"0"0,1 0 0 0 0,-1 0 0 0 0,0 1 0 0 0,0-1 0 0 0,0 0 0 0 0,1 1 0 0 0,-1-1 0 0 0,0 1 0 0 0,1 0-1 0 0,-1 0 1 0 0,0 0 0 0 0,1 0 0 0 0,-1 0 0 0 0,0 0 0 0 0,1 1 0 0 0,-1-1 0 0 0,0 1 0 0 0,0 0 0 0 0,0-1 0 0 0,1 1 0 0 0,-1 0 0 0 0,0 0 0 0 0,0 1 0 0 0,0-1 0 0 0,0 0 0 0 0,0 1-1 0 0,-1-1 1 0 0,1 1 0 0 0,0-1 0 0 0,-1 1 0 0 0,1 0 0 0 0,-1 0 0 0 0,1 0 0 0 0,-1 0 0 0 0,0 0 0 0 0,0 0 0 0 0,0 0 0 0 0,0 0 0 0 0,0 0 0 0 0,-1 0 0 0 0,2 5 0 0 0,0 1-138 0 0,-1 0 0 0 0,1 0 0 0 0,-1 0 0 0 0,-1 1 0 0 0,0-1 0 0 0,0 0 0 0 0,0 0 0 0 0,-1 0 0 0 0,-1 1 1 0 0,-1 7-1 0 0,1-11-500 0 0,1-1 0 0 0,-1 1 0 0 0,0-1-1 0 0,0 0 1 0 0,0 0 0 0 0,-1 0 0 0 0,-4 5 0 0 0</inkml:trace>
</inkml:ink>
</file>

<file path=ppt/ink/ink3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9.244"/>
    </inkml:context>
    <inkml:brush xml:id="br0">
      <inkml:brushProperty name="width" value="0.2" units="cm"/>
      <inkml:brushProperty name="height" value="0.2" units="cm"/>
      <inkml:brushProperty name="color" value="#E71224"/>
    </inkml:brush>
  </inkml:definitions>
  <inkml:trace contextRef="#ctx0" brushRef="#br0">1 102 616 0 0,'0'-13'780'0'0,"0"0"0"0"0,1 0 1 0 0,1 0-1 0 0,0 0 0 0 0,7-22 0 0 0,-8 34-595 0 0,11 14 14 0 0,9 21 64 0 0,0-1 0 0 0,3-1 0 0 0,0-1-1 0 0,43 41 1 0 0,-64-69-154 0 0,0 0 1 0 0,0 0-1 0 0,0 0 0 0 0,0-1 0 0 0,0 1 0 0 0,0-1 0 0 0,1 1 0 0 0,-1-1 1 0 0,1 0-1 0 0,0-1 0 0 0,0 1 0 0 0,-1-1 0 0 0,1 1 0 0 0,0-1 1 0 0,0 0-1 0 0,6 0 0 0 0,-8-1-86 0 0,-1 0 0 0 0,1-1-1 0 0,0 1 1 0 0,0 0 0 0 0,-1-1 0 0 0,1 0 0 0 0,0 1 0 0 0,-1-1-1 0 0,1 0 1 0 0,0 0 0 0 0,-1 0 0 0 0,1 0 0 0 0,-1 0 0 0 0,0 0 0 0 0,1 0-1 0 0,0-2 1 0 0,21-21 73 0 0,-21 21-89 0 0,24-33 137 0 0,-18 24-447 0 0,0 1-1 0 0,19-21 1 0 0,-23 30 240 0 0,0-1-1 0 0,0 1 1 0 0,0-1-1 0 0,0 1 1 0 0,1 1 0 0 0,-1-1-1 0 0,1 1 1 0 0,-1-1-1 0 0,1 1 1 0 0,0 1-1 0 0,0-1 1 0 0,-1 1 0 0 0,1-1-1 0 0,0 1 1 0 0,5 1-1 0 0,0-1 48 0 0,-1 0-1 0 0,0-1 1 0 0,13-2-1 0 0,-15 1 26 0 0,9-1 14 0 0,0-1 0 0 0,-1 0-1 0 0,1-2 1 0 0,-1 0 0 0 0,-1 0-1 0 0,1-1 1 0 0,-1-1-1 0 0,16-11 1 0 0,-11 2 398 0 0,-22 17-408 0 0,0 1-1 0 0,0-1 1 0 0,0 1 0 0 0,0 0 0 0 0,0 0-1 0 0,0 0 1 0 0,0 0 0 0 0,1 1 0 0 0,-1-1-1 0 0,0 1 1 0 0,1-1 0 0 0,-1 1 0 0 0,1 0-1 0 0,-1 0 1 0 0,1 0 0 0 0,0 1 0 0 0,0-1-1 0 0,0 0 1 0 0,0 1 0 0 0,0-1 0 0 0,-2 7-1 0 0,2-6 7 0 0,0 1 0 0 0,0-1 0 0 0,1 1 0 0 0,-1 0 0 0 0,1 0 0 0 0,0 0-1 0 0,0 0 1 0 0,1 0 0 0 0,-1 0 0 0 0,1 8 0 0 0,0-10-9 0 0,0 1 1 0 0,1 0-1 0 0,0-1 0 0 0,-1 1 1 0 0,1-1-1 0 0,0 1 1 0 0,0-1-1 0 0,0 1 1 0 0,1-1-1 0 0,-1 0 0 0 0,1 1 1 0 0,-1-1-1 0 0,1 0 1 0 0,0 0-1 0 0,-1 0 1 0 0,1 0-1 0 0,0 0 0 0 0,1-1 1 0 0,2 3-1 0 0,3 1-127 0 0,0 0 0 0 0,0-1 0 0 0,0 0 0 0 0,11 4 0 0 0,-2-2-924 0 0,0-1 1 0 0,0-1-1 0 0,19 3 0 0 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9:10.646"/>
    </inkml:context>
    <inkml:brush xml:id="br0">
      <inkml:brushProperty name="width" value="0.08571" units="cm"/>
      <inkml:brushProperty name="height" value="0.08571" units="cm"/>
      <inkml:brushProperty name="color" value="#00A0D7"/>
    </inkml:brush>
  </inkml:definitions>
  <inkml:trace contextRef="#ctx0" brushRef="#br0">0 0 9691,'31'13'2699,"15"1"-2609,-10-6-752,16 1 212,-8-4-179,2-1-1170,3-1-360,5 0 2036,-1-2 0,6-1 1,-2 0-1</inkml:trace>
</inkml:ink>
</file>

<file path=ppt/ink/ink3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02:39.719"/>
    </inkml:context>
    <inkml:brush xml:id="br0">
      <inkml:brushProperty name="width" value="0.2" units="cm"/>
      <inkml:brushProperty name="height" value="0.2" units="cm"/>
      <inkml:brushProperty name="color" value="#E71224"/>
    </inkml:brush>
  </inkml:definitions>
  <inkml:trace contextRef="#ctx0" brushRef="#br0">68 197 820 0 0,'0'0'3003'0'0,"3"-1"-2430"0"0,6-2-327 0 0,0 0 0 0 0,1-1-1 0 0,-2 0 1 0 0,1-1 0 0 0,0 0 0 0 0,-1 0 0 0 0,0 0 0 0 0,13-12 0 0 0,-19 14-231 0 0,1 1 1 0 0,-1-1-1 0 0,0 0 1 0 0,1 0-1 0 0,-1 0 1 0 0,0 0-1 0 0,-1 0 1 0 0,1 0 0 0 0,0 0-1 0 0,-1-1 1 0 0,0 1-1 0 0,0 0 1 0 0,0-1-1 0 0,0 1 1 0 0,0-1-1 0 0,-1 0 1 0 0,1 1-1 0 0,-1-1 1 0 0,0 1-1 0 0,0-1 1 0 0,-1 0 0 0 0,1 1-1 0 0,-1-1 1 0 0,0 1-1 0 0,0-1 1 0 0,0 1-1 0 0,0-1 1 0 0,-2-3-1 0 0,1 4 36 0 0,1 0 0 0 0,-1 0-1 0 0,0 0 1 0 0,-1 1 0 0 0,1-1 0 0 0,0 0-1 0 0,-1 1 1 0 0,0-1 0 0 0,1 1-1 0 0,-1 0 1 0 0,0 0 0 0 0,0 0-1 0 0,0 0 1 0 0,0 1 0 0 0,0-1 0 0 0,-1 1-1 0 0,1 0 1 0 0,0 0 0 0 0,-1 0-1 0 0,1 0 1 0 0,-1 1 0 0 0,1-1 0 0 0,-1 1-1 0 0,1 0 1 0 0,-1 0 0 0 0,0 0-1 0 0,1 0 1 0 0,-1 1 0 0 0,1 0-1 0 0,0-1 1 0 0,-1 1 0 0 0,-5 3 0 0 0,5-3-5 0 0,0 0 1 0 0,0 1 0 0 0,0-1 0 0 0,0 1 0 0 0,0 0 0 0 0,0 1 0 0 0,0-1-1 0 0,1 1 1 0 0,-1-1 0 0 0,1 1 0 0 0,0 0 0 0 0,0 0 0 0 0,0 1 0 0 0,0-1-1 0 0,0 0 1 0 0,1 1 0 0 0,0 0 0 0 0,-1 0 0 0 0,1 0 0 0 0,1 0-1 0 0,-1 0 1 0 0,0 0 0 0 0,1 0 0 0 0,0 0 0 0 0,0 0 0 0 0,0 6 0 0 0,2-2-18 0 0,0-1 1 0 0,0 1-1 0 0,1 0 1 0 0,0-1 0 0 0,0 1-1 0 0,1-1 1 0 0,0 1-1 0 0,0-1 1 0 0,1 0 0 0 0,0 0-1 0 0,0-1 1 0 0,1 1-1 0 0,-1-1 1 0 0,1 0 0 0 0,7 6-1 0 0,11 11-381 0 0,1-2 0 0 0,34 23 0 0 0,-57-44 348 0 0,95 64-4288 0 0,-67-48 1577 0 0</inkml:trace>
</inkml:ink>
</file>

<file path=ppt/ink/ink3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21T06:56:50.109"/>
    </inkml:context>
    <inkml:brush xml:id="br0">
      <inkml:brushProperty name="width" value="0.05" units="cm"/>
      <inkml:brushProperty name="height" value="0.05" units="cm"/>
      <inkml:brushProperty name="color" value="#E71224"/>
    </inkml:brush>
  </inkml:definitions>
  <inkml:trace contextRef="#ctx0" brushRef="#br0">17 51 24575,'-3'0'0,"-1"0"0,3 0 0,-2-2 0,3-1 0,0-1 0,0-1 0,0 4 0,-2-3 0,1 3 0,-1-4 0,2 4 0,0-4 0,0 4 0,0-4 0,0 5 0,0-5 0,0 4 0,0-3 0,0 3 0,0-2 0,0 3 0</inkml:trace>
</inkml:ink>
</file>

<file path=ppt/ink/ink3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21T06:56:53.791"/>
    </inkml:context>
    <inkml:brush xml:id="br0">
      <inkml:brushProperty name="width" value="0.05" units="cm"/>
      <inkml:brushProperty name="height" value="0.05" units="cm"/>
      <inkml:brushProperty name="color" value="#E71224"/>
    </inkml:brush>
  </inkml:definitions>
  <inkml:trace contextRef="#ctx0" brushRef="#br0">0 0 24575,'0'0'0</inkml:trace>
</inkml:ink>
</file>

<file path=ppt/ink/ink3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10T08:46:44.909"/>
    </inkml:context>
    <inkml:brush xml:id="br0">
      <inkml:brushProperty name="width" value="0.05" units="cm"/>
      <inkml:brushProperty name="height" value="0.05" units="cm"/>
      <inkml:brushProperty name="color" value="#E71224"/>
    </inkml:brush>
  </inkml:definitions>
  <inkml:trace contextRef="#ctx0" brushRef="#br0">285 1058 24575,'31'0'0,"13"0"0,43 0-2519,-24 0 0,11 0 0,3 0 2519,12 0 0,4 0 0,1 0 0,-19 0 0,1 0 0,1 0 0,-2 0-346,21 0 0,0 0 0,-5 0 346,-15 0 0,-2 0 0,-1 0 0,1 0 0,0 0 0,-1 0 70,-5 0 0,0 0 0,0 0-70,29 0 0,-2 0 0,-2 0 0,-1 0 0,0 0 0,0 0 0,3 0 0,0 0 0,-5 0 0,-2 0 0,-6 0 0,0 0-500,-4 0 1,-1 0 499,-5 0 0,-1 0 1002,-4 0 0,0 0-1002,-1 0 0,1 0 0,0 0 0,1 0 0,1 0 0,1 0 0,-2 0 0,0 0 0,-2 0 0,1 0 0,-1 0 0,0 0 0,-1 0 0,0 0 0,3 0 0,0 0 0,-1 1 0,1-2 0,17-1 0,-2-1 0,-27 2 0,-1 0 0,21-3 0,-2 0 0,14 1 978,-33 0 0,1 0-978,-4 1 0,-1-1 1723,46-3-1723,-8 1 0,0 2 0,6 0 0,0 3 0,-9 0 0,-10 0 0,-9 0 0,1 0 0,2 0 1511,3 0-1511,2 0 0,-2-1 0,1-1 1212,-2-1-1212,-6-1 769,0 1-769,-3-1 209,-4-1-209,1 0 0,-1-1 0,-4-2 0,-3-1 0,-7 1 0,-5-1 0,-2-2 0,-4 1 0,-1-2 0,2-3 0,-14 5 0,8-4 0,-14 4 0,3-2 0,-3 1 0,-3 1 0,-2-1 0,-3-1 0,-4-5 0,-1-3 0,-2-3 0,0-2 0,0 0 0,0-2 0,0-2 0,-2-1 0,-3 0 0,-3 0 0,-5 0 0,-1-3 0,-2 2 0,0 0 0,0 1 0,0 1 0,0 1 0,2 2 0,2 5 0,3 2 0,1 5 0,2 3 0,-1 2 0,2 1 0,1 2 0,-3-2 0,4 4 0,-4-1 0,0 1 0,-1 1 0,-4-1 0,-2-1 0,-4 0 0,-5-3 0,-10-2 0,-8-2 0,-1 0 0,-5-2 0,3 2 0,-6 1 0,-5 0 0,-7-1 0,-7 1 0,-4-1 0,-2 3 0,2 3 0,-4 0 0,-5 3 0,-4 0 0,1 2 0,1 1 0,8 0 0,6 0 0,-5 0 0,1 0 0,0 0 0,-2 0 0,3 0 0,-17 0 0,21 0 0,-24 0 0,30 0 0,-18-2 0,12-1 0,5 0 0,-9-2 0,-6 1 0,-15-1 0,-4-1 0,5 3 0,-3 1-528,-2 2 528,46 0 0,0 0 0,-2 0 0,0 0 0,-1 0 0,-2 0 0,1 0 0,-1 0 0,1 0 0,0 0 0,-1 0 0,-3 0 0,-25 3 0,-2 0 0,20 0 0,0 1-616,-21 2 1,1 1 615,26-1 0,3 0 0,-1 0 0,1 0-371,1 0 1,0 0 370,-2 0 0,0 0 0,0 0 0,0 0 0,1 0 0,0 0 0,0 0 0,0 0 0,2 0 0,-1 0 0,-16 2 0,3-1 0,-24 0 0,28-1 0,1-1 0,-14 1 0,29-3 0,-2 0 0,-1 1 0,1 0 0,-2 0 0,1 0 0,2 1 0,-1-1-135,1 1 0,2 1 135,-36 5 0,11-1 0,4 0 0,5-3 469,-2-2-469,5-3 1195,5-2-1195,7 0 799,5 0-799,3 0 307,3 0-307,0 0 0,2 0 0,1 0 0,1-1 0,2-1 0,1-1 0,-1-3 0,2 1 0,0 0 0,3 0 0,2 1 0,1 0 0,2 1 0,0 0 0,0 1 0,0-2 0,0 0 0,-4 2 0,8 1 0,-7 0 0,9 1 0,-6 0 0,-1 0 0,-1 0 0,-2 0 0,-2 0 0,-3 0 0,0 0 0,3 1 0,2 1 0,5 3 0,3 1 0,2 2 0,5 0 0,2 1 0,4-1 0,2-1 0,1-1 0,3 1 0,0-1 0,0 0 0,0 0 0,0 0 0,0 1 0,0-1 0,1 0 0,2 0 0,1 0 0,1 1 0,1 0 0,-3-2 0,3 2 0,-1 0 0,1 2 0,-1 5 0,1 6 0,-1 3 0,-1 7 0,2 2 0,-1 6 0,1 3 0,0 0 0,1 0 0,-2-5 0,1-2 0,0-5 0,0-3 0,-1-5 0,0-4 0,-2-4 0,0-2 0,1-2 0,-1-2 0,-1-1 0,-1 0 0,1 0 0,-1 0 0,1-2 0,1-1 0,-1-1 0,-1 1 0,1-1 0,-2 3 0,2 0 0,-1-1 0,2 1 0,-2-1 0,1 4 0,-1-3 0,2 3 0,-1-1 0,1 3 0,1 0 0,-1 0 0,0 0 0,0-1 0,-1-2 0,0-2 0,0-1 0,-1-2 0,-1-1 0</inkml:trace>
</inkml:ink>
</file>

<file path=ppt/ink/ink3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34.810"/>
    </inkml:context>
    <inkml:brush xml:id="br0">
      <inkml:brushProperty name="width" value="0.1" units="cm"/>
      <inkml:brushProperty name="height" value="0.1" units="cm"/>
      <inkml:brushProperty name="color" value="#008C3A"/>
    </inkml:brush>
  </inkml:definitions>
  <inkml:trace contextRef="#ctx0" brushRef="#br0">0 509 276 0 0,'0'0'7095'0'0,"1"0"-7087"0"0,-1 0-1 0 0,0-1 1 0 0,1 1-1 0 0,-1 0 1 0 0,1-1-1 0 0,-1 1 1 0 0,0 0-1 0 0,1 0 1 0 0,-1-1-1 0 0,1 1 1 0 0,-1 0-1 0 0,0 0 1 0 0,1 0-1 0 0,-1 0 1 0 0,1 0-1 0 0,-1 0 1 0 0,1-1-1 0 0,-1 1 1 0 0,1 0-1 0 0,-1 0 1 0 0,1 0-1 0 0,-1 1 1 0 0,1-1-1 0 0,-2 98 866 0 0,-2-34-346 0 0,4 0 0 0 0,13 105-1 0 0,-13-163-505 0 0,0-1-1 0 0,0 1 1 0 0,0-1-1 0 0,1 0 1 0 0,0 1-1 0 0,0-1 1 0 0,0 0-1 0 0,0 0 1 0 0,1 0-1 0 0,0-1 1 0 0,0 1-1 0 0,0-1 1 0 0,1 1-1 0 0,-1-1 1 0 0,1 0-1 0 0,0-1 1 0 0,0 1-1 0 0,0 0 1 0 0,1-1-1 0 0,0 0 1 0 0,-1 0-1 0 0,1-1 1 0 0,0 1-1 0 0,0-1 1 0 0,0 0-1 0 0,0 0 1 0 0,7 1-1 0 0,23 5 46 0 0,0-1 0 0 0,0-1 0 0 0,50 1 0 0 0,110-8 12 0 0,-118-1-39 0 0,943-50 34 0 0,-667 29-107 0 0,555-9 43 0 0,-824 31-6 0 0,1460 5 65 0 0,-1340-1-41 0 0,-46 0 17 0 0,572-5 390 0 0,-714 1-250 0 0,1 0-1 0 0,-1-1 1 0 0,0 0 0 0 0,0-1-1 0 0,-1-1 1 0 0,1-1 0 0 0,20-9 0 0 0,-30 10-153 0 0,-3 1-1 0 0,1-1 0 0 0,-1 0 0 0 0,0 0 1 0 0,0 0-1 0 0,-1 0 0 0 0,1 0 0 0 0,-1 0 0 0 0,0-1 1 0 0,0 1-1 0 0,0-1 0 0 0,-1 0 0 0 0,1 0 0 0 0,-1 1 0 0 0,0-1 1 0 0,-1 0-1 0 0,1 0 0 0 0,-1 0 0 0 0,0 0 0 0 0,-1-6 1 0 0,1 1-8 0 0,-3-36 291 0 0,-1 0 0 0 0,-22-88 1 0 0,-3-22 655 0 0,4-55 306 0 0,1 51-987 0 0,24 157-365 0 0,0 1-212 0 0,-1-1-1 0 0,1 0 1 0 0,0 0-1 0 0,-1 1 1 0 0,0-1-1 0 0,0 0 1 0 0,0 1 0 0 0,0-1-1 0 0,0 0 1 0 0,0 1-1 0 0,-1 0 1 0 0,1-1-1 0 0,-1 1 1 0 0,-2-2 0 0 0,3 3 39 0 0,1 1 1 0 0,-1 0-1 0 0,0 0 1 0 0,0 0-1 0 0,0 0 1 0 0,0 0-1 0 0,0 0 1 0 0,0 0-1 0 0,1 0 1 0 0,-1 0-1 0 0,0 0 1 0 0,0 1-1 0 0,0-1 1 0 0,0 0-1 0 0,1 1 1 0 0,-1-1-1 0 0,-1 1 1 0 0,-16 5-5662 0 0</inkml:trace>
</inkml:ink>
</file>

<file path=ppt/ink/ink3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35.630"/>
    </inkml:context>
    <inkml:brush xml:id="br0">
      <inkml:brushProperty name="width" value="0.1" units="cm"/>
      <inkml:brushProperty name="height" value="0.1" units="cm"/>
      <inkml:brushProperty name="color" value="#008C3A"/>
    </inkml:brush>
  </inkml:definitions>
  <inkml:trace contextRef="#ctx0" brushRef="#br0">0 57 1084 0 0,'15'-54'5646'0'0,"-14"51"-4695"0"0,2 4-447 0 0,0 1-397 0 0,-1 0 0 0 0,1-1 0 0 0,0 1 0 0 0,-1 0 1 0 0,1 0-1 0 0,-1 1 0 0 0,1-1 0 0 0,-1 0 0 0 0,0 1 0 0 0,0 0 1 0 0,0-1-1 0 0,-1 1 0 0 0,1 0 0 0 0,0 0 0 0 0,-1 0 0 0 0,0 0 1 0 0,1 3-1 0 0,6 15 453 0 0,6 29 0 0 0,-11-35-376 0 0,20 80 122 0 0,-5 0-1 0 0,-4 2 1 0 0,3 185 0 0 0,-17-255-846 0 0,0 35-933 0 0,-1-56 753 0 0,1 0 0 0 0,-1 0 0 0 0,-1 0 1 0 0,1 0-1 0 0,-1-1 0 0 0,1 1 0 0 0,-5 8 0 0 0</inkml:trace>
</inkml:ink>
</file>

<file path=ppt/ink/ink3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35.959"/>
    </inkml:context>
    <inkml:brush xml:id="br0">
      <inkml:brushProperty name="width" value="0.1" units="cm"/>
      <inkml:brushProperty name="height" value="0.1" units="cm"/>
      <inkml:brushProperty name="color" value="#008C3A"/>
    </inkml:brush>
  </inkml:definitions>
  <inkml:trace contextRef="#ctx0" brushRef="#br0">74 45 1396 0 0,'-7'4'244'0'0,"1"1"-1"0"0,1 0 1 0 0,-1 1 0 0 0,1-1-1 0 0,0 1 1 0 0,0 0-1 0 0,1 0 1 0 0,0 1-1 0 0,0 0 1 0 0,0-1 0 0 0,1 1-1 0 0,0 0 1 0 0,0 1-1 0 0,1-1 1 0 0,0 0 0 0 0,0 1-1 0 0,1-1 1 0 0,-1 1-1 0 0,2 0 1 0 0,-1-1 0 0 0,1 1-1 0 0,0 0 1 0 0,1-1-1 0 0,0 1 1 0 0,0-1 0 0 0,1 1-1 0 0,0-1 1 0 0,0 1-1 0 0,1-1 1 0 0,-1 0 0 0 0,2 0-1 0 0,-1 0 1 0 0,1 0-1 0 0,0-1 1 0 0,9 11 0 0 0,-2-4-125 0 0,1 0 1 0 0,0-1 0 0 0,1-1-1 0 0,0 0 1 0 0,1-1-1 0 0,0 0 1 0 0,1-1 0 0 0,0-1-1 0 0,1 0 1 0 0,-1-1 0 0 0,1 0-1 0 0,1-2 1 0 0,-1 0 0 0 0,1-1-1 0 0,0 0 1 0 0,0-1-1 0 0,32 0 1 0 0,-32-2-74 0 0,0-1-1 0 0,0-1 1 0 0,0-1 0 0 0,0 0-1 0 0,0-1 1 0 0,-1-1 0 0 0,1-1-1 0 0,-1 0 1 0 0,0-1-1 0 0,0-1 1 0 0,-1 0 0 0 0,0-1-1 0 0,0-1 1 0 0,-1-1 0 0 0,0 0-1 0 0,0 0 1 0 0,22-24 0 0 0,-19 14 111 0 0,-2-1 1 0 0,0 0-1 0 0,-1-1 1 0 0,22-46-1 0 0,27-102 592 0 0,-81 239-9067 0 0,10-39 4363 0 0</inkml:trace>
</inkml:ink>
</file>

<file path=ppt/ink/ink3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37.169"/>
    </inkml:context>
    <inkml:brush xml:id="br0">
      <inkml:brushProperty name="width" value="0.1" units="cm"/>
      <inkml:brushProperty name="height" value="0.1" units="cm"/>
      <inkml:brushProperty name="color" value="#008C3A"/>
    </inkml:brush>
  </inkml:definitions>
  <inkml:trace contextRef="#ctx0" brushRef="#br0">502 1 96 0 0,'-16'0'528'0'0,"-1"0"0"0"0,1 1 0 0 0,0 1 0 0 0,0 0 0 0 0,0 1 0 0 0,0 1 0 0 0,0 0 0 0 0,1 2 0 0 0,0-1 0 0 0,0 2 0 0 0,-16 9 0 0 0,4-1-173 0 0,2 1 0 0 0,0 1 0 0 0,1 2 0 0 0,1 0 0 0 0,-22 25 0 0 0,30-29-143 0 0,1 1 0 0 0,1 1 0 0 0,1 0 1 0 0,0 1-1 0 0,1 0 0 0 0,1 1 0 0 0,-13 34 0 0 0,19-42-143 0 0,1 1 0 0 0,0-1 0 0 0,0 1 1 0 0,2 0-1 0 0,-1-1 0 0 0,1 1 0 0 0,1 0 0 0 0,0 0 0 0 0,1 0 0 0 0,0 0 0 0 0,0-1 1 0 0,2 1-1 0 0,-1 0 0 0 0,1-1 0 0 0,7 15 0 0 0,-2-9-21 0 0,1-1-1 0 0,1-1 1 0 0,1 1 0 0 0,0-2-1 0 0,1 1 1 0 0,0-2-1 0 0,1 0 1 0 0,1 0 0 0 0,0-1-1 0 0,0-1 1 0 0,1 0 0 0 0,1-1-1 0 0,24 12 1 0 0,-15-10-133 0 0,1-1 1 0 0,0-1-1 0 0,1-1 0 0 0,0-1 0 0 0,0-1 1 0 0,1-2-1 0 0,0-1 0 0 0,34 1 1 0 0,-42-5-315 0 0,-1 0 1 0 0,1-2 0 0 0,-1-1-1 0 0,0 0 1 0 0,0-1-1 0 0,0-1 1 0 0,0-1 0 0 0,-1 0-1 0 0,0-2 1 0 0,0 0-1 0 0,-1-1 1 0 0,0 0 0 0 0,-1-2-1 0 0,0 0 1 0 0,0-1-1 0 0,14-14 1 0 0,13-16-1695 0 0</inkml:trace>
</inkml:ink>
</file>

<file path=ppt/ink/ink3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37.566"/>
    </inkml:context>
    <inkml:brush xml:id="br0">
      <inkml:brushProperty name="width" value="0.1" units="cm"/>
      <inkml:brushProperty name="height" value="0.1" units="cm"/>
      <inkml:brushProperty name="color" value="#008C3A"/>
    </inkml:brush>
  </inkml:definitions>
  <inkml:trace contextRef="#ctx0" brushRef="#br0">20 129 548 0 0,'1'-29'1357'0'0,"0"14"-502"0"0,-1-1 0 0 0,-1 0 0 0 0,0 1 0 0 0,-4-20 1 0 0,4 32-181 0 0,-8 27 572 0 0,6 14-631 0 0,1 1 0 0 0,3-1 0 0 0,1 0 0 0 0,8 40 0 0 0,0 17-158 0 0,9 344-1076 0 0,-19-427-779 0 0,2 1 1 0 0,4 24-1 0 0,7-27-3032 0 0</inkml:trace>
</inkml:ink>
</file>

<file path=ppt/ink/ink3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37.965"/>
    </inkml:context>
    <inkml:brush xml:id="br0">
      <inkml:brushProperty name="width" value="0.1" units="cm"/>
      <inkml:brushProperty name="height" value="0.1" units="cm"/>
      <inkml:brushProperty name="color" value="#008C3A"/>
    </inkml:brush>
  </inkml:definitions>
  <inkml:trace contextRef="#ctx0" brushRef="#br0">217 18 1452 0 0,'4'-2'4298'0'0,"-4"2"-4246"0"0,-1 12 1634 0 0,-8 29-656 0 0,2-6-148 0 0,5-21-644 0 0,1-1 1 0 0,0 1 0 0 0,1 0-1 0 0,1 0 1 0 0,0 0 0 0 0,1 0-1 0 0,1-1 1 0 0,0 1 0 0 0,0-1-1 0 0,7 15 1 0 0,-7-19-164 0 0,1 0 1 0 0,1-1-1 0 0,-1 1 0 0 0,1-1 0 0 0,0 0 0 0 0,1-1 1 0 0,0 1-1 0 0,0-1 0 0 0,1 0 0 0 0,0-1 0 0 0,0 1 1 0 0,1-1-1 0 0,-1-1 0 0 0,1 0 0 0 0,14 8 1 0 0,-16-11-33 0 0,0-1 1 0 0,1 1-1 0 0,-1-1 1 0 0,1 0-1 0 0,-1-1 1 0 0,12 1-1 0 0,-17-1-38 0 0,0 0-1 0 0,0-1 1 0 0,0 1-1 0 0,0 0 0 0 0,0 0 1 0 0,1 0-1 0 0,-1-1 1 0 0,0 1-1 0 0,0 0 1 0 0,0-1-1 0 0,0 1 0 0 0,0-1 1 0 0,0 0-1 0 0,0 1 1 0 0,0-1-1 0 0,-1 0 0 0 0,1 1 1 0 0,0-1-1 0 0,0 0 1 0 0,1-1-1 0 0,0-1 8 0 0,0 1-7 0 0,0 0 1 0 0,0-1-1 0 0,0 1 0 0 0,-1-1 1 0 0,1 0-1 0 0,0 0 1 0 0,-1 0-1 0 0,0 0 0 0 0,0 1 1 0 0,0-1-1 0 0,0-1 1 0 0,0 1-1 0 0,-1 0 0 0 0,1 0 1 0 0,-1 0-1 0 0,0 0 1 0 0,0-6-1 0 0,-1-1-6 0 0,0-1 0 0 0,0 1 0 0 0,-1 0 0 0 0,-3-11 0 0 0,1 7 11 0 0,-2 0 0 0 0,0 1 1 0 0,0-1-1 0 0,-1 1 0 0 0,-1 1 0 0 0,0-1 0 0 0,-1 1 0 0 0,0 1 1 0 0,-1 0-1 0 0,0 0 0 0 0,-1 1 0 0 0,-14-12 0 0 0,8 9-207 0 0,-1 1 0 0 0,0 1 0 0 0,-1 1 0 0 0,0 0 0 0 0,-1 1-1 0 0,0 1 1 0 0,-40-10 0 0 0,48 16-450 0 0,-1 1 0 0 0,0 0-1 0 0,-16 1 1 0 0,19 0 11 0 0,9 0 392 0 0,-1-1 0 0 0,1 2-1 0 0,-1-1 1 0 0,1 0 0 0 0,-1 0-1 0 0,1 0 1 0 0,-1 1 0 0 0,1-1 0 0 0,0 0-1 0 0,-1 1 1 0 0,1 0 0 0 0,0-1 0 0 0,-1 1-1 0 0,1 0 1 0 0,0-1 0 0 0,0 1-1 0 0,-2 2 1 0 0,-6 3-2015 0 0</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9:12.308"/>
    </inkml:context>
    <inkml:brush xml:id="br0">
      <inkml:brushProperty name="width" value="0.08571" units="cm"/>
      <inkml:brushProperty name="height" value="0.08571" units="cm"/>
      <inkml:brushProperty name="color" value="#00A0D7"/>
    </inkml:brush>
  </inkml:definitions>
  <inkml:trace contextRef="#ctx0" brushRef="#br0">1 8 16258,'18'2'2248,"-8"0"-8088,52-4 5390,-19 2-359,11-1-96,4 1-355,8-1 663,2 1-2462,-17-1 1,1 0 3058,27 0 0,-27-1 0,0 1 0,19-1 0</inkml:trace>
</inkml:ink>
</file>

<file path=ppt/ink/ink3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38.309"/>
    </inkml:context>
    <inkml:brush xml:id="br0">
      <inkml:brushProperty name="width" value="0.1" units="cm"/>
      <inkml:brushProperty name="height" value="0.1" units="cm"/>
      <inkml:brushProperty name="color" value="#008C3A"/>
    </inkml:brush>
  </inkml:definitions>
  <inkml:trace contextRef="#ctx0" brushRef="#br0">134 72 608 0 0,'0'-3'283'0'0,"0"-1"0"0"0,-1 1 0 0 0,1-1 0 0 0,0 1 0 0 0,-1-1 0 0 0,0 1 0 0 0,0-1 0 0 0,0 1 0 0 0,0 0 0 0 0,-1 0 0 0 0,1 0 0 0 0,-1-1 0 0 0,0 1 0 0 0,0 1 0 0 0,0-1 0 0 0,0 0 0 0 0,-1 0 1 0 0,1 1-1 0 0,-4-4 0 0 0,4 5-243 0 0,1 1 0 0 0,0-1 0 0 0,-1 0 0 0 0,1 1 0 0 0,-1-1 0 0 0,1 1 1 0 0,0-1-1 0 0,-1 1 0 0 0,1 0 0 0 0,-1 0 0 0 0,1-1 0 0 0,-1 1 0 0 0,1 0 0 0 0,-1 0 1 0 0,1 1-1 0 0,-1-1 0 0 0,1 0 0 0 0,-1 0 0 0 0,1 1 0 0 0,-1-1 0 0 0,1 1 1 0 0,-1-1-1 0 0,1 1 0 0 0,0 0 0 0 0,-1 0 0 0 0,1-1 0 0 0,0 1 0 0 0,0 0 1 0 0,0 0-1 0 0,0 0 0 0 0,-1 0 0 0 0,1 0 0 0 0,0 0 0 0 0,1 1 0 0 0,-1-1 1 0 0,0 0-1 0 0,0 0 0 0 0,0 1 0 0 0,0 2 0 0 0,-1 3 72 0 0,0 0-1 0 0,1 0 1 0 0,0 0 0 0 0,0 0-1 0 0,0 0 1 0 0,1 0 0 0 0,1 0-1 0 0,-1 1 1 0 0,1-1 0 0 0,0 0-1 0 0,0 0 1 0 0,3 7-1 0 0,5 15 319 0 0,17 39 0 0 0,-24-62-377 0 0,20 43 282 0 0,-9-22-77 0 0,-2 1 1 0 0,0 1-1 0 0,12 57 1 0 0,-22-82-204 0 0,-1 1 0 0 0,1 0 0 0 0,-1 0 0 0 0,-1 0 0 0 0,1 0 0 0 0,-1-1 0 0 0,1 1 0 0 0,-2 0 0 0 0,1-1 0 0 0,0 1 0 0 0,-1 0 0 0 0,0-1 0 0 0,0 0 0 0 0,0 1 0 0 0,0-1 1 0 0,-1 0-1 0 0,0 0 0 0 0,0 0 0 0 0,0 0 0 0 0,0-1 0 0 0,-1 1 0 0 0,1-1 0 0 0,-1 0 0 0 0,0 0 0 0 0,0 0 0 0 0,0-1 0 0 0,0 1 0 0 0,0-1 0 0 0,-1 0 0 0 0,1 0 0 0 0,-1-1 0 0 0,1 1 0 0 0,-1-1 0 0 0,0 0 0 0 0,1 0 0 0 0,-1 0 0 0 0,0-1 0 0 0,0 0 0 0 0,0 0 0 0 0,0 0 0 0 0,1 0 0 0 0,-8-2 0 0 0,11 2-46 0 0,-1-1 0 0 0,0 1 0 0 0,0-1 0 0 0,1 1 0 0 0,-1-1 0 0 0,0 1 0 0 0,1-1 0 0 0,-1 0 0 0 0,1 0 0 0 0,-1 0 0 0 0,1 0-1 0 0,-1 0 1 0 0,1 0 0 0 0,0 0 0 0 0,-1-1 0 0 0,1 1 0 0 0,0 0 0 0 0,0-1 0 0 0,-2-2 0 0 0,-2-17-66 0 0,9 13 14 0 0,-3 6 20 0 0,2-3-22 0 0,0 1 1 0 0,0-1 0 0 0,1 1 0 0 0,-1 0 0 0 0,1 0 0 0 0,0 0 0 0 0,0 1 0 0 0,0-1-1 0 0,9-5 1 0 0,45-23-209 0 0,-47 27 202 0 0,267-104-392 0 0,-199 83 382 0 0,-2-4 0 0 0,97-51 1 0 0,-89 27 38 0 0,-78 49 16 0 0,0-1 0 0 0,0 1 0 0 0,-1-1-1 0 0,0-1 1 0 0,0 1 0 0 0,0-1 0 0 0,-1 0 0 0 0,0 0 0 0 0,5-10-1 0 0,-10 16 20 0 0,1 0 0 0 0,0-1-1 0 0,-1 1 1 0 0,1 0-1 0 0,-1 0 1 0 0,0-1-1 0 0,1 1 1 0 0,-1 0-1 0 0,0-1 1 0 0,0 1-1 0 0,0-1 1 0 0,0 1-1 0 0,0 0 1 0 0,0-1-1 0 0,0 1 1 0 0,0-1-1 0 0,0 1 1 0 0,-1 0-1 0 0,1-1 1 0 0,0 1-1 0 0,-1 0 1 0 0,0 0-1 0 0,1-1 1 0 0,-1 1-1 0 0,0 0 1 0 0,1 0-1 0 0,-1 0 1 0 0,0 0-1 0 0,0-1 1 0 0,0 1-1 0 0,0 1 1 0 0,0-1 0 0 0,0 0-1 0 0,0 0 1 0 0,0 0-1 0 0,-1 0 1 0 0,1 1-1 0 0,0-1 1 0 0,0 1-1 0 0,-1-1 1 0 0,1 1-1 0 0,0-1 1 0 0,-3 1-1 0 0,-2-2 68 0 0,-1 1 1 0 0,1 0-1 0 0,-1 0 0 0 0,1 0 0 0 0,-1 1 1 0 0,0 0-1 0 0,-11 2 0 0 0,3 1 41 0 0,2 0 0 0 0,-1 1-1 0 0,0 1 1 0 0,1 0 0 0 0,0 1 0 0 0,0 0-1 0 0,0 1 1 0 0,1 1 0 0 0,0 0 0 0 0,0 0-1 0 0,1 1 1 0 0,0 1 0 0 0,-18 20-1 0 0,23-23-41 0 0,1 1 0 0 0,-1-1-1 0 0,1 1 1 0 0,0-1 0 0 0,1 1-1 0 0,0 1 1 0 0,0-1 0 0 0,1 1-1 0 0,0-1 1 0 0,1 1-1 0 0,0 0 1 0 0,0 0 0 0 0,1 0-1 0 0,0 0 1 0 0,0 0 0 0 0,1 1-1 0 0,0-1 1 0 0,1 0 0 0 0,0 0-1 0 0,0 0 1 0 0,1 0 0 0 0,5 15-1 0 0,-2-13-118 0 0,0 1-1 0 0,1-1 1 0 0,0 0-1 0 0,1 0 1 0 0,0-1-1 0 0,1 1 0 0 0,0-2 1 0 0,17 17-1 0 0,-9-12-1284 0 0,0-1 0 0 0,25 15 1 0 0,-37-26 653 0 0,10 6-569 0 0,0-6-3439 0 0,6 0 746 0 0</inkml:trace>
</inkml:ink>
</file>

<file path=ppt/ink/ink3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38.728"/>
    </inkml:context>
    <inkml:brush xml:id="br0">
      <inkml:brushProperty name="width" value="0.1" units="cm"/>
      <inkml:brushProperty name="height" value="0.1" units="cm"/>
      <inkml:brushProperty name="color" value="#008C3A"/>
    </inkml:brush>
  </inkml:definitions>
  <inkml:trace contextRef="#ctx0" brushRef="#br0">0 12 776 0 0,'2'-2'1649'0'0,"-1"1"-1402"0"0,1 0 1 0 0,-1 0-1 0 0,0 0 0 0 0,0 1 1 0 0,1-1-1 0 0,-1 0 1 0 0,0 1-1 0 0,1-1 0 0 0,-1 0 1 0 0,1 1-1 0 0,-1 0 1 0 0,1-1-1 0 0,-1 1 0 0 0,0 0 1 0 0,1 0-1 0 0,0 0 1 0 0,-1 0-1 0 0,1 0 0 0 0,1 0 1 0 0,-2 1-94 0 0,1 0 1 0 0,-1-1 0 0 0,1 1-1 0 0,-1 0 1 0 0,1 0-1 0 0,-1 1 1 0 0,1-1-1 0 0,-1 0 1 0 0,0 0-1 0 0,0 1 1 0 0,1-1 0 0 0,-1 1-1 0 0,0-1 1 0 0,0 1-1 0 0,-1-1 1 0 0,1 1-1 0 0,1 2 1 0 0,4 14 554 0 0,0 1-1 0 0,-1-1 1 0 0,-1 1 0 0 0,-1 0 0 0 0,-1 0-1 0 0,0 20 1 0 0,2 5-12 0 0,7 58 70 0 0,9 93 380 0 0,-15-65-3507 0 0,-5-128 2011 0 0,1-1 0 0 0,-1 1 0 0 0,0 0 0 0 0,0-1 0 0 0,0 1 0 0 0,0 0 0 0 0,0-1 0 0 0,-1 1 0 0 0,1 0 1 0 0,0-1-1 0 0,-1 1 0 0 0,1-1 0 0 0,-1 1 0 0 0,0 0 0 0 0,1-1 0 0 0,-1 1 0 0 0,0-1 0 0 0,0 0 0 0 0,0 1 0 0 0,0-1 0 0 0,0 0 0 0 0,0 0 1 0 0,-1 1-1 0 0,1-1 0 0 0,0 0 0 0 0,-2 1 0 0 0</inkml:trace>
</inkml:ink>
</file>

<file path=ppt/ink/ink3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39.310"/>
    </inkml:context>
    <inkml:brush xml:id="br0">
      <inkml:brushProperty name="width" value="0.1" units="cm"/>
      <inkml:brushProperty name="height" value="0.1" units="cm"/>
      <inkml:brushProperty name="color" value="#008C3A"/>
    </inkml:brush>
  </inkml:definitions>
  <inkml:trace contextRef="#ctx0" brushRef="#br0">33 111 1704 0 0,'-32'20'8162'0'0,"36"-20"-7457"0"0,40 5 192 0 0,0-3 0 0 0,63-4-1 0 0,-21 0-512 0 0,349-9 494 0 0,-405 8-789 0 0,-1-1 1 0 0,1-1-1 0 0,-1-1 1 0 0,37-14-1 0 0,-17-3-28 0 0,-46 22-35 0 0,-3 1-35 0 0,0-1 1 0 0,1 0 1 0 0,0 1-1 0 0,0 0 1 0 0,0-1-1 0 0,0 1 1 0 0,0-1-1 0 0,0 1 1 0 0,0 0-1 0 0,0 0 0 0 0,0-1 1 0 0,0 1-1 0 0,0 0 1 0 0,0 0-1 0 0,0 0 1 0 0,1 0-1 0 0,-1 2 4 0 0,0-1 0 0 0,0 0 0 0 0,-1 0 0 0 0,1 0-1 0 0,-1 0 1 0 0,1 0 0 0 0,-1 1 0 0 0,0-1 0 0 0,1 0-1 0 0,-1 0 1 0 0,0 1 0 0 0,0-1 0 0 0,0 0 0 0 0,0 1-1 0 0,0 1 1 0 0,-3 31-36 0 0,1 8 161 0 0,3-32 10 0 0,1-1 1 0 0,0 1 0 0 0,1 0 0 0 0,0-1 0 0 0,1 0-1 0 0,-1 1 1 0 0,10 13 0 0 0,-11-19-70 0 0,1 0 1 0 0,0 0 0 0 0,0 0 0 0 0,1 0-1 0 0,-1-1 1 0 0,1 1 0 0 0,-1-1-1 0 0,1 0 1 0 0,0 0 0 0 0,0-1 0 0 0,1 1-1 0 0,-1-1 1 0 0,1 0 0 0 0,-1 0-1 0 0,1 0 1 0 0,-1-1 0 0 0,1 1 0 0 0,7 0-1 0 0,-8-1-37 0 0,1-1-1 0 0,-1 0 1 0 0,0 0 0 0 0,0 0-1 0 0,0 0 1 0 0,0-1-1 0 0,1 0 1 0 0,-1 1 0 0 0,0-2-1 0 0,0 1 1 0 0,0 0-1 0 0,-1-1 1 0 0,1 0-1 0 0,6-3 1 0 0,-8 3-17 0 0,1 0-1 0 0,-1 0 1 0 0,1 0-1 0 0,-1-1 1 0 0,0 1-1 0 0,0 0 1 0 0,0-1 0 0 0,0 0-1 0 0,-1 1 1 0 0,1-1-1 0 0,-1 0 1 0 0,1 0-1 0 0,-1 0 1 0 0,0 0 0 0 0,0 0-1 0 0,0 0 1 0 0,-1-1-1 0 0,1 1 1 0 0,-1 0-1 0 0,0 0 1 0 0,0-4 0 0 0,0-1-19 0 0,-1 0 1 0 0,0 0-1 0 0,-1 0 1 0 0,0 0 0 0 0,0 0-1 0 0,-1 0 1 0 0,0 1-1 0 0,0-1 1 0 0,-1 1-1 0 0,0 0 1 0 0,0 0 0 0 0,-1 0-1 0 0,1 1 1 0 0,-2-1-1 0 0,1 1 1 0 0,-8-6 0 0 0,1 0-395 0 0,-1 2 1 0 0,0 0-1 0 0,-1 0 1 0 0,0 1 0 0 0,0 0-1 0 0,-31-12 1 0 0,38 19-111 0 0,0 0 1 0 0,0 1-1 0 0,0 0 0 0 0,0 0 1 0 0,0 0-1 0 0,0 1 1 0 0,0 0-1 0 0,0 0 0 0 0,0 1 1 0 0,0 0-1 0 0,0 0 0 0 0,0 0 1 0 0,0 1-1 0 0,0 0 0 0 0,1 1 1 0 0,-1-1-1 0 0,-8 6 0 0 0,0 2-2531 0 0</inkml:trace>
</inkml:ink>
</file>

<file path=ppt/ink/ink3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39.927"/>
    </inkml:context>
    <inkml:brush xml:id="br0">
      <inkml:brushProperty name="width" value="0.1" units="cm"/>
      <inkml:brushProperty name="height" value="0.1" units="cm"/>
      <inkml:brushProperty name="color" value="#008C3A"/>
    </inkml:brush>
  </inkml:definitions>
  <inkml:trace contextRef="#ctx0" brushRef="#br0">14 19 1444 0 0,'-11'-18'6366'0'0,"9"50"-4704"0"0,4 55-1 0 0,0 5-232 0 0,-5 190 1605 0 0,24-1-615 0 0,-20-272-2254 0 0,0 1 0 0 0,1-1 1 0 0,1 1-1 0 0,0-1 0 0 0,0 0 0 0 0,7 15 0 0 0,-8-21-102 0 0,0 0 0 0 0,1 0 0 0 0,-1 0 1 0 0,0 0-1 0 0,1 0 0 0 0,0 0 0 0 0,0-1 0 0 0,0 1 0 0 0,0-1 0 0 0,0 0 0 0 0,0 0 0 0 0,1 0 0 0 0,-1 0 0 0 0,1-1 1 0 0,-1 1-1 0 0,1-1 0 0 0,0 0 0 0 0,6 1 0 0 0,2 0 11 0 0,-1-1 0 0 0,0 0 0 0 0,0-1 0 0 0,1-1 0 0 0,-1 0 0 0 0,0 0 0 0 0,0-1 1 0 0,22-6-1 0 0,24-15-1377 0 0,-5-8-3734 0 0,-41 19 1692 0 0</inkml:trace>
</inkml:ink>
</file>

<file path=ppt/ink/ink3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44.145"/>
    </inkml:context>
    <inkml:brush xml:id="br0">
      <inkml:brushProperty name="width" value="0.1" units="cm"/>
      <inkml:brushProperty name="height" value="0.1" units="cm"/>
      <inkml:brushProperty name="color" value="#008C3A"/>
    </inkml:brush>
  </inkml:definitions>
  <inkml:trace contextRef="#ctx0" brushRef="#br0">4 7 640 0 0,'-3'-6'3673'0'0,"10"27"-3006"0"0,0 0 1 0 0,5 32-1 0 0,-5-20-250 0 0,31 179 1231 0 0,-10-45-680 0 0,1-20-435 0 0,-14-75-179 0 0,-15-70-781 0 0</inkml:trace>
</inkml:ink>
</file>

<file path=ppt/ink/ink3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44.549"/>
    </inkml:context>
    <inkml:brush xml:id="br0">
      <inkml:brushProperty name="width" value="0.1" units="cm"/>
      <inkml:brushProperty name="height" value="0.1" units="cm"/>
      <inkml:brushProperty name="color" value="#008C3A"/>
    </inkml:brush>
  </inkml:definitions>
  <inkml:trace contextRef="#ctx0" brushRef="#br0">378 0 832 0 0,'-2'2'1062'0'0,"-138"143"5191"0"0,31-30-4420 0 0,90-95-1613 0 0,-1-2 1 0 0,-1 0 0 0 0,-35 22 0 0 0,54-39-566 0 0,-6 4-523 0 0</inkml:trace>
</inkml:ink>
</file>

<file path=ppt/ink/ink3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44.928"/>
    </inkml:context>
    <inkml:brush xml:id="br0">
      <inkml:brushProperty name="width" value="0.1" units="cm"/>
      <inkml:brushProperty name="height" value="0.1" units="cm"/>
      <inkml:brushProperty name="color" value="#008C3A"/>
    </inkml:brush>
  </inkml:definitions>
  <inkml:trace contextRef="#ctx0" brushRef="#br0">38 54 1036 0 0,'-3'1'1644'0'0,"-22"6"3200"0"0,16-4-541 0 0,23-4-3355 0 0,105-14 269 0 0,52-9 280 0 0,-38 1 412 0 0,-130 22-2189 0 0,1 0-304 0 0</inkml:trace>
</inkml:ink>
</file>

<file path=ppt/ink/ink3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46.310"/>
    </inkml:context>
    <inkml:brush xml:id="br0">
      <inkml:brushProperty name="width" value="0.1" units="cm"/>
      <inkml:brushProperty name="height" value="0.1" units="cm"/>
      <inkml:brushProperty name="color" value="#008C3A"/>
    </inkml:brush>
  </inkml:definitions>
  <inkml:trace contextRef="#ctx0" brushRef="#br0">0 1 920 0 0,'0'0'6564'0'0,"3"0"-6310"0"0,9 0 22 0 0,-9 0 336 0 0,8 21 846 0 0,-4 3-761 0 0,-1 0 0 0 0,-1 1 0 0 0,-2-1 0 0 0,2 36 0 0 0,3 22 407 0 0,11 95 549 0 0,-6-42-711 0 0,8 74 126 0 0,-20-199-616 0 0,-7 5-5887 0 0</inkml:trace>
</inkml:ink>
</file>

<file path=ppt/ink/ink3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47.609"/>
    </inkml:context>
    <inkml:brush xml:id="br0">
      <inkml:brushProperty name="width" value="0.1" units="cm"/>
      <inkml:brushProperty name="height" value="0.1" units="cm"/>
      <inkml:brushProperty name="color" value="#008C3A"/>
    </inkml:brush>
  </inkml:definitions>
  <inkml:trace contextRef="#ctx0" brushRef="#br0">150 54 124 0 0,'-16'14'10948'0'0,"51"-14"-10643"0"0,-1-2 1 0 0,56-9 0 0 0,-45 4-182 0 0,288-31 265 0 0,-285 34-360 0 0,8-1 344 0 0,-160 20-319 0 0,33-6 41 0 0,-272 32 1047 0 0,146-18 776 0 0,194-23-1749 0 0,-9 3 129 0 0,18-6-16 0 0,20-5-103 0 0,231-33 92 0 0,-106 19-39 0 0,-135 17-212 0 0,-25 1-49 0 0,-23 1-2 0 0,-304 5 9 0 0,216 0-1251 0 0,117-2 784 0 0,19 3-5813 0 0,-8-3 3301 0 0,15-1-1012 0 0</inkml:trace>
</inkml:ink>
</file>

<file path=ppt/ink/ink3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58.191"/>
    </inkml:context>
    <inkml:brush xml:id="br0">
      <inkml:brushProperty name="width" value="0.1" units="cm"/>
      <inkml:brushProperty name="height" value="0.1" units="cm"/>
      <inkml:brushProperty name="color" value="#008C3A"/>
    </inkml:brush>
  </inkml:definitions>
  <inkml:trace contextRef="#ctx0" brushRef="#br0">647 146 968 0 0,'0'-14'2681'0'0,"4"-107"3738"0"0,-4 120-6405 0 0,0 1 0 0 0,0-1 0 0 0,0 1 0 0 0,-1-1 0 0 0,1 1 0 0 0,0-1 1 0 0,0 1-1 0 0,-1-1 0 0 0,1 1 0 0 0,-1-1 0 0 0,1 1 0 0 0,0-1 0 0 0,-1 1 1 0 0,1 0-1 0 0,-1-1 0 0 0,1 1 0 0 0,-1-1 0 0 0,1 1 0 0 0,-1 0 0 0 0,1 0 1 0 0,-1-1-1 0 0,1 1 0 0 0,-1 0 0 0 0,0 0 0 0 0,1 0 0 0 0,-1 0 0 0 0,1 0 1 0 0,-1 0-1 0 0,0 0 0 0 0,1 0 0 0 0,-2 0 0 0 0,-17 0 79 0 0,18 0-82 0 0,-11 1 22 0 0,0 1 0 0 0,0 0 0 0 0,0 1-1 0 0,0 0 1 0 0,-19 8 0 0 0,-52 29 49 0 0,69-33-66 0 0,-10 6-4 0 0,1 0 0 0 0,-34 26 0 0 0,49-33-7 0 0,1 1-1 0 0,0 0 1 0 0,0 0 0 0 0,0 0-1 0 0,1 1 1 0 0,0-1-1 0 0,1 2 1 0 0,-1-1-1 0 0,2 0 1 0 0,-6 12 0 0 0,9-15-4 0 0,0 0 1 0 0,0 1-1 0 0,0-1 1 0 0,0 0-1 0 0,1 0 1 0 0,0 1-1 0 0,0-1 1 0 0,0 0-1 0 0,1 0 1 0 0,0 0-1 0 0,0 1 1 0 0,0-1-1 0 0,0 0 1 0 0,1 0-1 0 0,0 0 1 0 0,0-1-1 0 0,1 1 1 0 0,4 8-1 0 0,6 6 4 0 0,0-1 0 0 0,2-1 0 0 0,16 17-1 0 0,-20-22 1 0 0,5 5 16 0 0,163 186 224 0 0,-179-202-215 0 0,1-1-1 0 0,-1 1 1 0 0,1 0 0 0 0,-1-1 0 0 0,1 1 0 0 0,-1 0 0 0 0,1 0-1 0 0,-1-1 1 0 0,0 1 0 0 0,1 0 0 0 0,-1 0 0 0 0,0 0 0 0 0,0-1-1 0 0,1 1 1 0 0,-1 0 0 0 0,0 0 0 0 0,0 0 0 0 0,0 0 0 0 0,0-1-1 0 0,0 1 1 0 0,0 0 0 0 0,0 0 0 0 0,-1 0 0 0 0,1 0 0 0 0,0-1-1 0 0,0 1 1 0 0,-1 0 0 0 0,1 0 0 0 0,-1 1 0 0 0,0-1 14 0 0,-1 1 0 0 0,1-1 1 0 0,-1 1-1 0 0,0-1 1 0 0,1 0-1 0 0,-1 0 1 0 0,0 0-1 0 0,0 0 0 0 0,0 0 1 0 0,0 0-1 0 0,-3 1 1 0 0,-4 1 72 0 0,-1-1 1 0 0,1 0 0 0 0,-1 0 0 0 0,-10 0 0 0 0,-90-3 548 0 0,-134-18 0 0 0,192 14-623 0 0,-2-4-1864 0 0,50 8 1075 0 0,4 1 671 0 0,0 0 1 0 0,-1 0-1 0 0,1-1 0 0 0,0 1 0 0 0,0 0 1 0 0,0-1-1 0 0,0 1 0 0 0,0 0 1 0 0,-1-1-1 0 0,1 1 0 0 0,0 0 0 0 0,0-1 1 0 0,0 1-1 0 0,0 0 0 0 0,0-1 0 0 0,0 1 1 0 0,0 0-1 0 0,0-1 0 0 0,0 1 1 0 0,0 0-1 0 0,0-1 0 0 0,0 1 0 0 0,0 0 1 0 0,1-1-1 0 0,-1 1 0 0 0,0 0 1 0 0,0 0-1 0 0,0-1 0 0 0,0 1 0 0 0,0 0 1 0 0,1-1-1 0 0,-1 1 0 0 0,0 0 0 0 0,0 0 1 0 0,1-1-1 0 0,-1 1 0 0 0,1 0 1 0 0,60-25-4540 0 0,-35 17 2322 0 0</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9:12.612"/>
    </inkml:context>
    <inkml:brush xml:id="br0">
      <inkml:brushProperty name="width" value="0.08571" units="cm"/>
      <inkml:brushProperty name="height" value="0.08571" units="cm"/>
      <inkml:brushProperty name="color" value="#00A0D7"/>
    </inkml:brush>
  </inkml:definitions>
  <inkml:trace contextRef="#ctx0" brushRef="#br0">1 1 14459,'16'18'270,"2"-3"-540,5-12-180,5 0-180,7 0-269,6-1-1260,4 0-1384,4-1 3543,5-1 0,2-1 0,3 0 0</inkml:trace>
</inkml:ink>
</file>

<file path=ppt/ink/ink3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58.583"/>
    </inkml:context>
    <inkml:brush xml:id="br0">
      <inkml:brushProperty name="width" value="0.1" units="cm"/>
      <inkml:brushProperty name="height" value="0.1" units="cm"/>
      <inkml:brushProperty name="color" value="#008C3A"/>
    </inkml:brush>
  </inkml:definitions>
  <inkml:trace contextRef="#ctx0" brushRef="#br0">0 32 392 0 0,'13'-5'926'0'0,"7"-2"1064"0"0,40-9 1 0 0,-55 15-1794 0 0,-1 0-1 0 0,0 0 1 0 0,1 1 0 0 0,-1 0 0 0 0,0 0 0 0 0,1 0-1 0 0,-1 0 1 0 0,0 1 0 0 0,1-1 0 0 0,-1 1-1 0 0,0 0 1 0 0,0 1 0 0 0,0-1 0 0 0,0 1 0 0 0,8 3-1 0 0,-8-1-20 0 0,1 1 0 0 0,-1-1-1 0 0,0 1 1 0 0,0 0 0 0 0,-1 0-1 0 0,1 0 1 0 0,-1 1 0 0 0,0-1-1 0 0,0 1 1 0 0,-1 0 0 0 0,0 0-1 0 0,0 0 1 0 0,0 0 0 0 0,-1 0-1 0 0,2 8 1 0 0,0 14 135 0 0,0-1 0 0 0,-2 30 0 0 0,-1-53-283 0 0,-2 54 236 0 0,1-20-774 0 0,4 50 1 0 0,-2-83-51 0 0,-1 0 0 0 0,1 0 0 0 0,0 0 0 0 0,1-1 1 0 0,-1 1-1 0 0,1 0 0 0 0,0-1 0 0 0,0 1 0 0 0,0-1 1 0 0,3 5-1 0 0,4-1-2342 0 0</inkml:trace>
</inkml:ink>
</file>

<file path=ppt/ink/ink3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58.911"/>
    </inkml:context>
    <inkml:brush xml:id="br0">
      <inkml:brushProperty name="width" value="0.1" units="cm"/>
      <inkml:brushProperty name="height" value="0.1" units="cm"/>
      <inkml:brushProperty name="color" value="#008C3A"/>
    </inkml:brush>
  </inkml:definitions>
  <inkml:trace contextRef="#ctx0" brushRef="#br0">69 164 244 0 0,'-1'-11'1353'0'0,"0"1"-1"0"0,0-1 1 0 0,-1 1-1 0 0,-4-17 1 0 0,1 13-534 0 0,-1-1 1 0 0,0 1-1 0 0,0 0 1 0 0,-15-22-1 0 0,19 35-720 0 0,-2 3-1123 0 0,3-2 981 0 0,1 0 0 0 0,0 0 1 0 0,-1 0-1 0 0,1 0 0 0 0,0 0 1 0 0,-1 0-1 0 0,1 0 1 0 0,0 1-1 0 0,-1-1 0 0 0,1 0 1 0 0,0 0-1 0 0,0 0 0 0 0,-1 0 1 0 0,1 0-1 0 0,0 1 0 0 0,0-1 1 0 0,-1 0-1 0 0,1 0 1 0 0,0 0-1 0 0,0 1 0 0 0,-1-1 1 0 0,1 0-1 0 0,0 0 0 0 0,0 1 1 0 0,0-1-1 0 0,0 0 0 0 0,0 1 1 0 0,-1-1-1 0 0,2 2-434 0 0,1 0-1 0 0,-1 0 1 0 0,1-1-1 0 0,-1 1 1 0 0,1-1-1 0 0,-1 1 0 0 0,1-1 1 0 0,2 2-1 0 0</inkml:trace>
  <inkml:trace contextRef="#ctx0" brushRef="#br0" timeOffset="1">248 108 976 0 0,'10'5'578'0'0,"-1"2"-1"0"0,1-1 1 0 0,-1 1-1 0 0,-1 1 1 0 0,1 0-1 0 0,-1 0 1 0 0,0 0-1 0 0,-1 1 1 0 0,0 0 0 0 0,0 1-1 0 0,-1 0 1 0 0,-1 0-1 0 0,10 20 1 0 0,-2 6 407 0 0,-1 1 0 0 0,13 69 0 0 0,-19-55 2766 0 0,0-62-3288 0 0,4-5-383 0 0,0 0 1 0 0,0 1 0 0 0,1 1-1 0 0,1 0 1 0 0,21-20 0 0 0,-25 28-99 0 0,-1-1-1 0 0,1 2 1 0 0,0-1 0 0 0,0 1 0 0 0,0 0 0 0 0,1 0 0 0 0,-1 1-1 0 0,1 1 1 0 0,0-1 0 0 0,1 1 0 0 0,17-3 0 0 0,-22 6-1 0 0,-1-1 0 0 0,1 1 0 0 0,-1 0 0 0 0,1 1 0 0 0,-1-1 0 0 0,1 1 0 0 0,-1 0 0 0 0,1 0 0 0 0,-1 0 1 0 0,1 0-1 0 0,-1 1 0 0 0,0 0 0 0 0,0 0 0 0 0,6 3 0 0 0,-5-1 58 0 0,0 0-1 0 0,0 0 1 0 0,-1 1 0 0 0,1-1 0 0 0,-1 1-1 0 0,0 0 1 0 0,0 0 0 0 0,-1 1 0 0 0,4 6-1 0 0,3 9-458 0 0,-2 1 0 0 0,0-1 0 0 0,-2 2 1 0 0,6 32-1 0 0,-10-44-212 0 0,1 4-538 0 0,-3-11 490 0 0,1-1 0 0 0,-1 1 0 0 0,1-1 0 0 0,0 1 0 0 0,0-1 0 0 0,1 0 0 0 0,-1 1 0 0 0,2 2 0 0 0</inkml:trace>
</inkml:ink>
</file>

<file path=ppt/ink/ink3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59.294"/>
    </inkml:context>
    <inkml:brush xml:id="br0">
      <inkml:brushProperty name="width" value="0.1" units="cm"/>
      <inkml:brushProperty name="height" value="0.1" units="cm"/>
      <inkml:brushProperty name="color" value="#008C3A"/>
    </inkml:brush>
  </inkml:definitions>
  <inkml:trace contextRef="#ctx0" brushRef="#br0">227 1 552 0 0,'0'0'1996'0'0,"-5"1"-341"0"0,-7 3-1001 0 0,0 0 0 0 0,1 0-1 0 0,-1 1 1 0 0,1 1 0 0 0,1 0 0 0 0,-1 1 0 0 0,1 0 0 0 0,-15 12-1 0 0,13-8-410 0 0,0 0 0 0 0,1 0 0 0 0,0 2 0 0 0,0-1 0 0 0,2 1 0 0 0,-13 20 0 0 0,19-27-186 0 0,0 0 0 0 0,0 0 0 0 0,1 1 1 0 0,0-1-1 0 0,0 1 0 0 0,1-1 0 0 0,0 1 1 0 0,0-1-1 0 0,0 1 0 0 0,1 0 0 0 0,0 0 1 0 0,1 7-1 0 0,0-9-112 0 0,-1-1 1 0 0,2 1-1 0 0,-1 0 0 0 0,1-1 1 0 0,-1 0-1 0 0,1 1 0 0 0,0-1 1 0 0,1 0-1 0 0,-1 0 0 0 0,1 0 1 0 0,0 0-1 0 0,0 0 1 0 0,0-1-1 0 0,0 1 0 0 0,0-1 1 0 0,1 0-1 0 0,0 0 0 0 0,5 3 1 0 0,-4-3-500 0 0,0-1 0 0 0,1 1 0 0 0,0-1 0 0 0,-1-1 1 0 0,1 1-1 0 0,0-1 0 0 0,0 0 0 0 0,0 0 0 0 0,0-1 1 0 0,11 0-1 0 0,5 0-2444 0 0</inkml:trace>
</inkml:ink>
</file>

<file path=ppt/ink/ink3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5:59.647"/>
    </inkml:context>
    <inkml:brush xml:id="br0">
      <inkml:brushProperty name="width" value="0.1" units="cm"/>
      <inkml:brushProperty name="height" value="0.1" units="cm"/>
      <inkml:brushProperty name="color" value="#008C3A"/>
    </inkml:brush>
  </inkml:definitions>
  <inkml:trace contextRef="#ctx0" brushRef="#br0">0 250 1620 0 0,'3'-2'1441'0'0,"3"-2"-537"0"0,2-1 450 0 0,0 1 0 0 0,-1-1 0 0 0,9-9 0 0 0,-11 10-1104 0 0,1 1 0 0 0,-1-1 0 0 0,1 1 0 0 0,0 0 1 0 0,11-3-1 0 0,-6 1-132 0 0,11-6 64 0 0,8-2 34 0 0,34-22 1 0 0,-57 30-199 0 0,1 0 1 0 0,-1-1-1 0 0,0 0 0 0 0,0 0 0 0 0,-1 0 1 0 0,0-1-1 0 0,0 0 0 0 0,0 0 0 0 0,5-9 1 0 0,-10 11-21 0 0,0 1-1 0 0,0 0 1 0 0,0-1 0 0 0,-1 1 0 0 0,1 0-1 0 0,-1-5 1 0 0,0 8 4 0 0,0 0-3 0 0,-1 0 1 0 0,1 0-1 0 0,0 0 0 0 0,-1 1 1 0 0,1-1-1 0 0,-1 0 1 0 0,1 1-1 0 0,-1-1 0 0 0,1 0 1 0 0,-1 1-1 0 0,1-1 1 0 0,-1 1-1 0 0,0-1 0 0 0,1 1 1 0 0,-1-1-1 0 0,0 1 1 0 0,0-1-1 0 0,1 1 0 0 0,-1 0 1 0 0,0-1-1 0 0,-1 1 1 0 0,1-1-3 0 0,-15-5 17 0 0,7 5 32 0 0,0 1-1 0 0,0 0 1 0 0,0 0 0 0 0,0 1 0 0 0,0 0 0 0 0,0 1 0 0 0,0 0-1 0 0,1 0 1 0 0,-1 1 0 0 0,1 0 0 0 0,-9 4 0 0 0,2 0 32 0 0,1 0 0 0 0,1 1 0 0 0,-1 1 0 0 0,1 0 0 0 0,-19 18 1 0 0,27-23-34 0 0,1 0 1 0 0,0 1 0 0 0,0 0 0 0 0,0 0 0 0 0,1 0 0 0 0,-1 1-1 0 0,1-1 1 0 0,0 1 0 0 0,-3 9 0 0 0,5-11 1 0 0,0-1-1 0 0,1 1 1 0 0,-1-1 0 0 0,1 1-1 0 0,-1 0 1 0 0,1-1-1 0 0,0 1 1 0 0,1-1 0 0 0,-1 1-1 0 0,1-1 1 0 0,-1 1 0 0 0,1-1-1 0 0,0 1 1 0 0,0-1 0 0 0,1 1-1 0 0,-1-1 1 0 0,1 0 0 0 0,3 5-1 0 0,1 1 14 0 0,1 0-1 0 0,1-1 0 0 0,-1 0 1 0 0,1 0-1 0 0,1-1 1 0 0,-1 0-1 0 0,1-1 0 0 0,0 1 1 0 0,1-2-1 0 0,17 9 1 0 0,-9-7-1013 0 0,1 0 0 0 0,0-1 0 0 0,0 0 1 0 0,0-2-1 0 0,29 3 0 0 0,-13-3-5725 0 0</inkml:trace>
</inkml:ink>
</file>

<file path=ppt/ink/ink3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00.016"/>
    </inkml:context>
    <inkml:brush xml:id="br0">
      <inkml:brushProperty name="width" value="0.1" units="cm"/>
      <inkml:brushProperty name="height" value="0.1" units="cm"/>
      <inkml:brushProperty name="color" value="#008C3A"/>
    </inkml:brush>
  </inkml:definitions>
  <inkml:trace contextRef="#ctx0" brushRef="#br0">15 11 1484 0 0,'1'-10'5370'0'0,"-5"26"-3500"0"0,-4 31-520 0 0,4 19 555 0 0,7 103 1 0 0,20 65-1251 0 0,-6-77-4229 0 0,-17-148 2258 0 0</inkml:trace>
</inkml:ink>
</file>

<file path=ppt/ink/ink3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00.356"/>
    </inkml:context>
    <inkml:brush xml:id="br0">
      <inkml:brushProperty name="width" value="0.1" units="cm"/>
      <inkml:brushProperty name="height" value="0.1" units="cm"/>
      <inkml:brushProperty name="color" value="#008C3A"/>
    </inkml:brush>
  </inkml:definitions>
  <inkml:trace contextRef="#ctx0" brushRef="#br0">44 107 36 0 0,'-2'-16'1712'0'0,"-5"5"-464"0"0,3 1-292 0 0,2-2-184 0 0,-3 3-164 0 0,-1 1-163 0 0,4-2 203 0 0,-7-3-204 0 0,3 3-176 0 0,14 2-1985 0 0,12 8-1299 0 0</inkml:trace>
  <inkml:trace contextRef="#ctx0" brushRef="#br0" timeOffset="1">406 12 84 0 0,'11'4'582'0'0,"-1"1"0"0"0,0 0 0 0 0,-1 1 0 0 0,1 0 0 0 0,-1 0 0 0 0,0 1 0 0 0,-1 0-1 0 0,0 1 1 0 0,0 0 0 0 0,0 0 0 0 0,-1 0 0 0 0,0 1 0 0 0,-1 0 0 0 0,0 1 0 0 0,0-1 0 0 0,5 15 0 0 0,5 15 199 0 0,-2 1 1 0 0,-1 0-1 0 0,6 43 1 0 0,-8-38-326 0 0,-3 3-624 0 0,-1 0 0 0 0,-2 1 0 0 0,-3 74 0 0 0,-6-82-1980 0 0,-3-15-2215 0 0</inkml:trace>
</inkml:ink>
</file>

<file path=ppt/ink/ink3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00.712"/>
    </inkml:context>
    <inkml:brush xml:id="br0">
      <inkml:brushProperty name="width" value="0.1" units="cm"/>
      <inkml:brushProperty name="height" value="0.1" units="cm"/>
      <inkml:brushProperty name="color" value="#008C3A"/>
    </inkml:brush>
  </inkml:definitions>
  <inkml:trace contextRef="#ctx0" brushRef="#br0">18 164 716 0 0,'-2'-2'680'0'0,"0"-1"46"0"0,0 0 0 0 0,0-1 0 0 0,0 1 0 0 0,0 0 0 0 0,0-1-1 0 0,1 1 1 0 0,-1-5 0 0 0,1 7-625 0 0,1-1 0 0 0,0 1 0 0 0,0-1 1 0 0,0 1-1 0 0,1-1 0 0 0,-1 1 0 0 0,0-1 0 0 0,1 1 0 0 0,-1-1 0 0 0,0 1 0 0 0,1-1 0 0 0,0 1 0 0 0,-1 0 0 0 0,1-1 0 0 0,0 1 0 0 0,0 0 0 0 0,0 0 1 0 0,0-1-1 0 0,0 1 0 0 0,0 0 0 0 0,2-1 0 0 0,5-6 136 0 0,1 1 0 0 0,0 0 0 0 0,1 0 0 0 0,0 1-1 0 0,0 1 1 0 0,0-1 0 0 0,0 2 0 0 0,20-7 0 0 0,9 0 17 0 0,44-6-1 0 0,-60 13-151 0 0,-4 1-620 0 0,-1 1 0 0 0,1 1 0 0 0,0 0 0 0 0,25 3 0 0 0,-42-1-331 0 0,1 0-146 0 0,9 4-2189 0 0</inkml:trace>
</inkml:ink>
</file>

<file path=ppt/ink/ink3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07.178"/>
    </inkml:context>
    <inkml:brush xml:id="br0">
      <inkml:brushProperty name="width" value="0.1" units="cm"/>
      <inkml:brushProperty name="height" value="0.1" units="cm"/>
      <inkml:brushProperty name="color" value="#008C3A"/>
    </inkml:brush>
  </inkml:definitions>
  <inkml:trace contextRef="#ctx0" brushRef="#br0">426 129 24 0 0,'2'-16'2812'0'0,"-2"8"-2345"0"0,0 0 1 0 0,-1 0 0 0 0,0 0 0 0 0,0-1 0 0 0,-1 1 0 0 0,0 0 0 0 0,0 0-1 0 0,-1 1 1 0 0,0-1 0 0 0,-7-13 0 0 0,8 20-460 0 0,1 0 0 0 0,-1 0 1 0 0,0 0-1 0 0,1 0 0 0 0,-1 0 0 0 0,0 0 1 0 0,0 0-1 0 0,0 0 0 0 0,0 1 0 0 0,0-1 0 0 0,0 1 1 0 0,0-1-1 0 0,0 1 0 0 0,0 0 0 0 0,0 0 1 0 0,0 0-1 0 0,-3 0 0 0 0,4 0-5 0 0,-9 1 16 0 0,0 0-1 0 0,-1 0 0 0 0,1 1 0 0 0,0 0 0 0 0,0 1 0 0 0,0 0 0 0 0,0 1 0 0 0,1 0 1 0 0,-17 10-1 0 0,15-8-3 0 0,0 1 1 0 0,0 0 0 0 0,1 0-1 0 0,0 1 1 0 0,-16 17-1 0 0,24-23-1 0 0,0 1-1 0 0,0-1 0 0 0,0 1 0 0 0,0 0 1 0 0,0-1-1 0 0,1 1 0 0 0,-1 0 0 0 0,1 0 1 0 0,0 0-1 0 0,0 0 0 0 0,0 0 0 0 0,0 0 1 0 0,0 0-1 0 0,1 1 0 0 0,-1-1 0 0 0,1 0 1 0 0,0 0-1 0 0,0 1 0 0 0,0-1 0 0 0,1 0 1 0 0,-1 0-1 0 0,1 0 0 0 0,0 0 0 0 0,0 1 1 0 0,0-1-1 0 0,0 0 0 0 0,0 0 1 0 0,3 4-1 0 0,10 14 56 0 0,1-2 1 0 0,1 0-1 0 0,1-1 1 0 0,0 0-1 0 0,24 17 1 0 0,39 41 54 0 0,-75-70-98 0 0,0 0 0 0 0,0 0 0 0 0,0 0 0 0 0,-1 1 0 0 0,1-1 0 0 0,-2 1 0 0 0,1 0 0 0 0,-1 0 0 0 0,3 9 0 0 0,-6-15-6 0 0,0 1-1 0 0,1-1 1 0 0,-1 1-1 0 0,0-1 1 0 0,0 0 0 0 0,0 1-1 0 0,0-1 1 0 0,0 0-1 0 0,-1 1 1 0 0,1-1-1 0 0,0 1 1 0 0,-1-1-1 0 0,1 0 1 0 0,-1 0 0 0 0,1 1-1 0 0,-1-1 1 0 0,1 0-1 0 0,-1 0 1 0 0,0 1-1 0 0,0-1 1 0 0,-1 2 0 0 0,-1-1 0 0 0,1 0 1 0 0,-1 0-1 0 0,1 0 1 0 0,-1-1-1 0 0,0 1 1 0 0,0-1-1 0 0,0 0 1 0 0,0 1-1 0 0,-4 0 1 0 0,-3 0 11 0 0,1 0 1 0 0,-1 0 0 0 0,0-1-1 0 0,0 0 1 0 0,-11-1 0 0 0,12-1-61 0 0,0 1 0 0 0,-1-1 0 0 0,1-1 0 0 0,0 0 0 0 0,0 0 0 0 0,0-1 1 0 0,0 0-1 0 0,1 0 0 0 0,-1-1 0 0 0,1 0 0 0 0,0-1 0 0 0,0 0 1 0 0,0 0-1 0 0,1 0 0 0 0,0-1 0 0 0,0 0 0 0 0,0-1 0 0 0,1 0 0 0 0,0 0 1 0 0,0 0-1 0 0,0-1 0 0 0,1 1 0 0 0,1-1 0 0 0,-1 0 0 0 0,1-1 0 0 0,-5-14 1 0 0,-9-23-471 0 0,17 44 422 0 0,-11 12-209 0 0,-24 86-132 0 0,18-43-2715 0 0,15-42 1603 0 0,-1 0 196 0 0</inkml:trace>
</inkml:ink>
</file>

<file path=ppt/ink/ink3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10.043"/>
    </inkml:context>
    <inkml:brush xml:id="br0">
      <inkml:brushProperty name="width" value="0.1" units="cm"/>
      <inkml:brushProperty name="height" value="0.1" units="cm"/>
      <inkml:brushProperty name="color" value="#008C3A"/>
    </inkml:brush>
  </inkml:definitions>
  <inkml:trace contextRef="#ctx0" brushRef="#br0">0 1 8441 0 0,'0'0'480'0'0</inkml:trace>
</inkml:ink>
</file>

<file path=ppt/ink/ink3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12.927"/>
    </inkml:context>
    <inkml:brush xml:id="br0">
      <inkml:brushProperty name="width" value="0.1" units="cm"/>
      <inkml:brushProperty name="height" value="0.1" units="cm"/>
      <inkml:brushProperty name="color" value="#008C3A"/>
    </inkml:brush>
  </inkml:definitions>
  <inkml:trace contextRef="#ctx0" brushRef="#br0">55 514 420 0 0,'-10'-13'1673'0'0,"1"-1"0"0"0,-13-26 1 0 0,10 19-237 0 0,11 18-505 0 0,3 3-878 0 0,0 1-1 0 0,0 0 0 0 0,0-1 1 0 0,0 1-1 0 0,0 0 0 0 0,0 0 1 0 0,0 0-1 0 0,0 0 1 0 0,0 1-1 0 0,0-1 0 0 0,-1 0 1 0 0,1 1-1 0 0,0-1 0 0 0,1 3 1 0 0,24 28 237 0 0,-22-25-175 0 0,17 21 143 0 0,-2 0 0 0 0,22 40 0 0 0,-34-53-157 0 0,-1 1 0 0 0,0-1-1 0 0,-1 1 1 0 0,0 1 0 0 0,-2-1 0 0 0,5 30-1 0 0,-8-39-65 0 0,0 1 0 0 0,-1-1 0 0 0,0 0 0 0 0,0 0-1 0 0,0 1 1 0 0,-1-1 0 0 0,-1 0 0 0 0,1 0 0 0 0,-1 0-1 0 0,0 0 1 0 0,0 0 0 0 0,-1 0 0 0 0,-6 9 0 0 0,9-15-29 0 0,-1 0 0 0 0,0 0 0 0 0,0-1 1 0 0,0 1-1 0 0,0 0 0 0 0,0-1 0 0 0,0 1 0 0 0,0-1 1 0 0,0 1-1 0 0,0-1 0 0 0,0 1 0 0 0,0-1 1 0 0,0 0-1 0 0,0 1 0 0 0,0-1 0 0 0,0 0 0 0 0,-1 0 1 0 0,1 0-1 0 0,0 0 0 0 0,-1 0 0 0 0,-17-2 57 0 0,18 1-67 0 0,0 1 5 0 0,0 0 0 0 0,0 0 1 0 0,0 0-1 0 0,0-1 0 0 0,0 1 1 0 0,0-1-1 0 0,0 1 1 0 0,1 0-1 0 0,-1-1 0 0 0,0 0 1 0 0,0 1-1 0 0,0-1 0 0 0,0 0 1 0 0,1 1-1 0 0,-1-1 0 0 0,0 0 1 0 0,1 0-1 0 0,-1 1 0 0 0,0-1 1 0 0,0-1-1 0 0,-1-1 10 0 0,-1-1-8 0 0,1 1 1 0 0,-1-1-1 0 0,1 0 0 0 0,0 0 1 0 0,0 0-1 0 0,0 0 0 0 0,1 0 1 0 0,-1 0-1 0 0,1 0 0 0 0,0-1 0 0 0,0 1 1 0 0,1-1-1 0 0,-1 1 0 0 0,1 0 1 0 0,0-1-1 0 0,0 1 0 0 0,0-1 1 0 0,1 1-1 0 0,0-1 0 0 0,1-6 1 0 0,0 4-13 0 0,0-1 0 0 0,1 1 1 0 0,-1-1-1 0 0,2 1 0 0 0,-1 0 0 0 0,1 0 1 0 0,0 0-1 0 0,0 1 0 0 0,1 0 1 0 0,8-10-1 0 0,-1 6 8 0 0,-1 0-1 0 0,1 2 1 0 0,1-1-1 0 0,0 2 1 0 0,0-1-1 0 0,1 2 1 0 0,-1 0-1 0 0,1 0 1 0 0,19-4-1 0 0,18-2-2 0 0,70-7 0 0 0,-21 5-2 0 0,-57 7 5 0 0,-5 0 24 0 0,54-15 1 0 0,-83 20-24 0 0,1-2-1 0 0,-1 0 1 0 0,0 0 0 0 0,1 0 0 0 0,-2-1 0 0 0,1-1-1 0 0,-1 1 1 0 0,0-1 0 0 0,0-1 0 0 0,11-11-1 0 0,-17 16-3 0 0,0 0-1 0 0,-1 0 1 0 0,1 0-1 0 0,0 0 0 0 0,-1 0 1 0 0,0 0-1 0 0,0-1 1 0 0,1 1-1 0 0,-1 0 1 0 0,-1-1-1 0 0,1 1 0 0 0,0-1 1 0 0,-1 1-1 0 0,1-1 1 0 0,-1 1-1 0 0,0-1 1 0 0,1 0-1 0 0,-1 1 0 0 0,-1-1 1 0 0,1 1-1 0 0,0-1 1 0 0,-1 0-1 0 0,1 1 1 0 0,-1-1-1 0 0,-1-3 0 0 0,0 2-2 0 0,0 1 0 0 0,-1 0 0 0 0,1 0 0 0 0,-1 0 0 0 0,1 0 0 0 0,-1 0 0 0 0,0 0 0 0 0,0 1-1 0 0,0-1 1 0 0,-1 1 0 0 0,1 0 0 0 0,-1 0 0 0 0,1 0 0 0 0,-1 0 0 0 0,0 1 0 0 0,-5-2 0 0 0,0 1 21 0 0,1 0-1 0 0,-1 1 1 0 0,1 0 0 0 0,-1 1 0 0 0,1 0 0 0 0,-1 0 0 0 0,0 1-1 0 0,1 0 1 0 0,-1 0 0 0 0,1 1 0 0 0,0 0 0 0 0,-1 0 0 0 0,1 1 0 0 0,0 0-1 0 0,-11 7 1 0 0,4-2 129 0 0,0 1-1 0 0,0 1 1 0 0,1 0-1 0 0,1 0 1 0 0,0 1-1 0 0,-22 24 1 0 0,31-30-92 0 0,1 0 0 0 0,-1 0 0 0 0,1 0 0 0 0,-1 0 0 0 0,1 1 0 0 0,1-1 0 0 0,-1 1 0 0 0,1-1 0 0 0,0 1-1 0 0,0 0 1 0 0,1 0 0 0 0,0 0 0 0 0,0 0 0 0 0,0 0 0 0 0,1 0 0 0 0,0 0 0 0 0,0 1 0 0 0,0-1 0 0 0,1 0 0 0 0,0 0 0 0 0,0 0 0 0 0,1 0 0 0 0,-1 0 0 0 0,1-1 0 0 0,0 1 0 0 0,1 0 0 0 0,0-1 0 0 0,0 1 0 0 0,0-1 0 0 0,0 0 0 0 0,1 0 0 0 0,0 0 0 0 0,0-1 0 0 0,0 1 0 0 0,0-1 0 0 0,10 7 0 0 0,1 0 2 0 0,1-1 1 0 0,0 0-1 0 0,0-1 1 0 0,1-1-1 0 0,0-1 1 0 0,0 0-1 0 0,1-1 1 0 0,0-1-1 0 0,0 0 1 0 0,0-2-1 0 0,0 0 1 0 0,1-1 0 0 0,0-1-1 0 0,28-2 1 0 0,-31 0-49 0 0,0-1 0 0 0,0 0 0 0 0,1-1 0 0 0,-2-1 0 0 0,1-1 0 0 0,0 0 0 0 0,-1-1 0 0 0,0-1 0 0 0,0 0 0 0 0,-1-1 0 0 0,0 0 0 0 0,-1-2 0 0 0,1 1 0 0 0,-2-2 0 0 0,1 1 0 0 0,17-21 0 0 0,-15 10-137 0 0,0 0-1 0 0,-1 0 0 0 0,-1-2 1 0 0,-1 1-1 0 0,9-27 0 0 0,34-124-362 0 0,1-96 186 0 0,-57 262 592 0 0,-5 21-32 0 0,-7 28 213 0 0,5 7 177 0 0,-3 91 1 0 0,12 52 21 0 0,1-9-281 0 0,-9 81-4089 0 0,10-227 1546 0 0,6-17-2639 0 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9:22.599"/>
    </inkml:context>
    <inkml:brush xml:id="br0">
      <inkml:brushProperty name="width" value="0.08571" units="cm"/>
      <inkml:brushProperty name="height" value="0.08571" units="cm"/>
      <inkml:brushProperty name="color" value="#00A0D7"/>
    </inkml:brush>
  </inkml:definitions>
  <inkml:trace contextRef="#ctx0" brushRef="#br0">118 12 9422,'25'-7'2518,"-1"2"-2248,-7 9 0,-3 1 0,-1 3 90,-3 0-181,0 3 1,-1 2 0,1 2 0,0 2 0,-1 2 0,0 3 0,-1 3-90,0 2 90,-1 2-180,-1 1 180,-1 2-91,-1 0 91,0 3-90,0 1 0,-1 2 0,-1 0-90,0 4-143,-1 0 232,0 4 1,0 0 0,-1 1 0,0 0-525,0-1 525,0 1 0,-1 0 0,1 0 0,-1 0 0,0 0 0,0 0 0,-1-1 0,0 0-278,0-1 278,-1 0 0,0 0 0,0 0 0,-1-1 0,1 1 0,-1-1 0,0 0-90,0 0 90,0 0 0,0-1-90,1 1 90,-1-1-90,1 0 0,-1-3 90,0 0-90,1-3 89,0 2 1,1-1-90,0 1 90,0-1-90,0 1 90,1 0-90,0 1 0,0-1 90,0 0-90,1 17 90,0-12-90,0 12 0,1-17 0,-1 0 0,1 0 0,-1 1 0,1 0 90,0 18-90,1-11 0,-1 12 17,0-17-17,0-2 0,1 2 0,-1-3 90,0 3-90,1-4 0,-1 0 0,0-1 0,0 0 0,0 0 90,1 0-90,-1-1 0,1 1 0,0 15 0,0-12 0,1 11 90,-2-16-90,2 0 0,-2 1 0,2 0 90,-2 0-90,1 1 0,0 0 0,0 1 90,-1-1-90,1 2 0,-1 0 90,1 23 0,0-14-90,0 17 90,0-19 0,-1 0 90,0 1-180,1 0 90,-1 1-1,2 0 1,-2 2-90,2 0 71,-1 5-71,1 1 90,0 5 0,1 1 90,-1 1-742,2 0 652,-1 1-90,1-1 180,-1-1-180,0-1 180,-1-4-611,0-2 610,0-5-179,-2 1 90,0-3 0,-2-3 68,0-4-158,-2-3 90,-1-3 0,-1 0-270,-8 8 90,2-11-180,-6 5-180,2-15 292,-2-4-651,-3-3 581,-2-3-1211,-2-4 59,-2-4-1318,-3-3-1530,-4-6 4228,-5-2 0,-7-6 0,-1 0 0</inkml:trace>
</inkml:ink>
</file>

<file path=ppt/ink/ink3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15.057"/>
    </inkml:context>
    <inkml:brush xml:id="br0">
      <inkml:brushProperty name="width" value="0.1" units="cm"/>
      <inkml:brushProperty name="height" value="0.1" units="cm"/>
      <inkml:brushProperty name="color" value="#008C3A"/>
    </inkml:brush>
  </inkml:definitions>
  <inkml:trace contextRef="#ctx0" brushRef="#br0">184 9 240 0 0,'-5'-9'8465'0'0,"6"38"-6590"0"0,2-1-1 0 0,10 51 1 0 0,22 57 134 0 0,-4-19-1067 0 0,-12-44-591 0 0,-11-49-248 0 0,-1 1 0 0 0,-2 1 1 0 0,0-1-1 0 0,-2 0 1 0 0,1 45-1 0 0,-4-67-126 0 0,-1 0 0 0 0,1 0-1 0 0,-1 0 1 0 0,0-1 0 0 0,1 1 0 0 0,-1 0 0 0 0,0-1-1 0 0,0 1 1 0 0,-1-1 0 0 0,1 1 0 0 0,-1-1-1 0 0,1 1 1 0 0,-1-1 0 0 0,0 0 0 0 0,0 0 0 0 0,-2 2-1 0 0,0 0-21 0 0,0-1 1 0 0,0 0-1 0 0,-1-1 0 0 0,1 1 0 0 0,-1-1 0 0 0,1 0 0 0 0,-1 0 0 0 0,-7 2 0 0 0,0-1-16 0 0,1-1 0 0 0,-1 0-1 0 0,0-1 1 0 0,0-1-1 0 0,1 1 1 0 0,-1-2-1 0 0,-14-1 1 0 0,14 0 27 0 0,0-1 1 0 0,1 0-1 0 0,-1 0 0 0 0,1-2 1 0 0,-14-5-1 0 0,22 8 2 0 0,-1 0 0 0 0,1 1 1 0 0,0-1-1 0 0,-1 0 0 0 0,1-1 1 0 0,0 1-1 0 0,1-1 0 0 0,-1 1 0 0 0,0-1 1 0 0,1 0-1 0 0,-1 0 0 0 0,1 0 1 0 0,0 0-1 0 0,0 0 0 0 0,0-1 0 0 0,0 1 1 0 0,1 0-1 0 0,0-1 0 0 0,-1 0 1 0 0,0-6-1 0 0,1 8 14 0 0,1 0 0 0 0,0 1 1 0 0,0-1-1 0 0,0 0 0 0 0,1 0 1 0 0,-1 1-1 0 0,0-1 0 0 0,0 0 0 0 0,1 1 1 0 0,-1-1-1 0 0,1 0 0 0 0,0 1 1 0 0,-1-1-1 0 0,1 1 0 0 0,0-1 1 0 0,0 1-1 0 0,0-1 0 0 0,0 1 0 0 0,0 0 1 0 0,0-1-1 0 0,1 1 0 0 0,-1 0 1 0 0,0 0-1 0 0,1 0 0 0 0,-1 0 1 0 0,1 0-1 0 0,-1 0 0 0 0,1 0 0 0 0,-1 0 1 0 0,1 1-1 0 0,-1-1 0 0 0,1 1 1 0 0,1-1-1 0 0,3 0-7 0 0,-1 0-1 0 0,0 0 1 0 0,1 0-1 0 0,-1 1 1 0 0,0 0-1 0 0,1 0 1 0 0,-1 1 0 0 0,0-1-1 0 0,10 3 1 0 0,-1 2-9 0 0,-1-1 1 0 0,-1 2-1 0 0,1 0 1 0 0,-1 0-1 0 0,0 1 1 0 0,17 13-1 0 0,61 57-2372 0 0,-30-23-1792 0 0,-34-38 607 0 0,-13-9 1188 0 0</inkml:trace>
</inkml:ink>
</file>

<file path=ppt/ink/ink3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17.592"/>
    </inkml:context>
    <inkml:brush xml:id="br0">
      <inkml:brushProperty name="width" value="0.1" units="cm"/>
      <inkml:brushProperty name="height" value="0.1" units="cm"/>
      <inkml:brushProperty name="color" value="#008C3A"/>
    </inkml:brush>
  </inkml:definitions>
  <inkml:trace contextRef="#ctx0" brushRef="#br0">9 74 828 0 0,'-2'-13'1493'0'0,"-1"0"0"0"0,1-1 0 0 0,1-17 0 0 0,1 28-534 0 0,1 4-901 0 0,0-1 1 0 0,-1 1 0 0 0,1 0-1 0 0,0-1 1 0 0,0 1 0 0 0,-1-1-1 0 0,1 1 1 0 0,0 0 0 0 0,-1 0 0 0 0,1-1-1 0 0,0 1 1 0 0,-1 0 0 0 0,1 0-1 0 0,-1 0 1 0 0,1 0 0 0 0,-1 0-1 0 0,0-1 1 0 0,1 3 0 0 0,6 17 505 0 0,16 64 708 0 0,-4-20-615 0 0,-3 0 0 0 0,10 94-1 0 0,-17-98 1031 0 0,-9-58-1073 0 0,0-4-480 0 0,1-4-147 0 0,0 1-1 0 0,0-1 0 0 0,0 0 0 0 0,1 1 0 0 0,0-1 0 0 0,0 1 0 0 0,0 0 0 0 0,1-1 1 0 0,0 1-1 0 0,0 0 0 0 0,0 1 0 0 0,0-1 0 0 0,1 0 0 0 0,0 1 0 0 0,7-7 0 0 0,2 0-57 0 0,0 0 0 0 0,0 0 0 0 0,1 1 0 0 0,18-9-1 0 0,-20 13 48 0 0,0 1-1 0 0,1 1 1 0 0,0 0-1 0 0,-1 1 1 0 0,1 0-1 0 0,0 1 0 0 0,0 0 1 0 0,1 1-1 0 0,-1 0 1 0 0,0 1-1 0 0,0 1 1 0 0,0 0-1 0 0,1 1 1 0 0,-1 0-1 0 0,-1 1 0 0 0,1 1 1 0 0,16 6-1 0 0,-10-3 14 0 0,0 1 0 0 0,-1 1-1 0 0,0 1 1 0 0,0 0-1 0 0,-1 1 1 0 0,-1 1 0 0 0,0 1-1 0 0,0 0 1 0 0,-1 1-1 0 0,21 25 1 0 0,-33-34 44 0 0,1 0 0 0 0,-1 0 1 0 0,0 0-1 0 0,-1 0 0 0 0,1 0 0 0 0,-1 0 1 0 0,0 1-1 0 0,0-1 0 0 0,-1 1 0 0 0,0 0 1 0 0,0-1-1 0 0,1 10 0 0 0,-2-12-2 0 0,0 1 0 0 0,-1-1 1 0 0,1 1-1 0 0,-1-1 0 0 0,1 1 0 0 0,-1-1 0 0 0,0 1 1 0 0,0-1-1 0 0,-1 0 0 0 0,1 0 0 0 0,-1 0 0 0 0,0 1 0 0 0,1-1 1 0 0,-1-1-1 0 0,0 1 0 0 0,-1 0 0 0 0,1 0 0 0 0,-1-1 1 0 0,1 0-1 0 0,-1 1 0 0 0,0-1 0 0 0,-3 2 0 0 0,-8 4 40 0 0,-1 0-1 0 0,0-1 0 0 0,0-1 0 0 0,-1-1 0 0 0,0 0 0 0 0,0 0 1 0 0,0-2-1 0 0,0 0 0 0 0,-32 1 0 0 0,-6-4-260 0 0,-90-9-1 0 0,57-5-1279 0 0,35-2-3115 0 0,51 16 4427 0 0,1 0 0 0 0,-1 0 0 0 0,1-1-1 0 0,-1 1 1 0 0,0 0 0 0 0,1 0 0 0 0,-1-1 0 0 0,1 1 0 0 0,-1 0 0 0 0,1-1 0 0 0,0 1 0 0 0,-1-1-1 0 0,1 1 1 0 0,-1-1 0 0 0,1 1 0 0 0,0-1 0 0 0,-1 1 0 0 0,1-1 0 0 0,0 1 0 0 0,-1-1 0 0 0,1 0-1 0 0</inkml:trace>
</inkml:ink>
</file>

<file path=ppt/ink/ink3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17.958"/>
    </inkml:context>
    <inkml:brush xml:id="br0">
      <inkml:brushProperty name="width" value="0.1" units="cm"/>
      <inkml:brushProperty name="height" value="0.1" units="cm"/>
      <inkml:brushProperty name="color" value="#008C3A"/>
    </inkml:brush>
  </inkml:definitions>
  <inkml:trace contextRef="#ctx0" brushRef="#br0">98 1 1500 0 0,'0'0'2728'0'0,"-1"2"-1936"0"0,-6 12-59 0 0,1 0 0 0 0,0 0 0 0 0,1 1 0 0 0,-4 18 0 0 0,8-26-609 0 0,0 0 0 0 0,1 0 1 0 0,0 0-1 0 0,0 0 0 0 0,0 0 1 0 0,1 0-1 0 0,0 0 0 0 0,0-1 0 0 0,1 1 1 0 0,0 0-1 0 0,0-1 0 0 0,5 10 0 0 0,0-3-12 0 0,1 0 1 0 0,0 0-1 0 0,1 0 0 0 0,0-1 0 0 0,1-1 0 0 0,1 0 0 0 0,0 0 0 0 0,0-1 0 0 0,1 0 1 0 0,0-1-1 0 0,1-1 0 0 0,0 0 0 0 0,0 0 0 0 0,0-1 0 0 0,1-1 0 0 0,1 0 1 0 0,-1-1-1 0 0,0-1 0 0 0,1 0 0 0 0,0-1 0 0 0,19 2 0 0 0,-30-5-88 0 0,-1 0-1 0 0,1 0 1 0 0,-1 0-1 0 0,1 0 1 0 0,0-1-1 0 0,-1 1 1 0 0,1-1-1 0 0,-1 0 1 0 0,1 0-1 0 0,-1 0 1 0 0,0 0-1 0 0,1-1 1 0 0,-1 0 0 0 0,0 1-1 0 0,0-1 1 0 0,0 0-1 0 0,0 0 1 0 0,0-1-1 0 0,-1 1 1 0 0,1-1-1 0 0,2-2 1 0 0,-3 1-15 0 0,0 1 1 0 0,-1 0-1 0 0,1-1 1 0 0,-1 1-1 0 0,1-1 1 0 0,-1 1-1 0 0,0-1 1 0 0,-1 1-1 0 0,1-1 1 0 0,-1 0-1 0 0,1 1 1 0 0,-1-1-1 0 0,0 0 1 0 0,0 0-1 0 0,-1 1 0 0 0,1-1 1 0 0,-1 0-1 0 0,0 1 1 0 0,0-1-1 0 0,-2-5 1 0 0,-2-3 1 0 0,-1 0 0 0 0,0 0 0 0 0,-1 1-1 0 0,0-1 1 0 0,-1 1 0 0 0,0 1 0 0 0,-1 0 0 0 0,0 0 0 0 0,-1 0 0 0 0,0 1 0 0 0,0 1 0 0 0,-1 0 0 0 0,-11-7-1 0 0,-2 1-199 0 0,0 1-1 0 0,-1 0 0 0 0,0 2 1 0 0,-1 2-1 0 0,-35-10 0 0 0,46 15-604 0 0,0 1 0 0 0,-28-2 0 0 0,6 4-4137 0 0,21 1 2150 0 0</inkml:trace>
</inkml:ink>
</file>

<file path=ppt/ink/ink3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18.494"/>
    </inkml:context>
    <inkml:brush xml:id="br0">
      <inkml:brushProperty name="width" value="0.1" units="cm"/>
      <inkml:brushProperty name="height" value="0.1" units="cm"/>
      <inkml:brushProperty name="color" value="#008C3A"/>
    </inkml:brush>
  </inkml:definitions>
  <inkml:trace contextRef="#ctx0" brushRef="#br0">0 1 1260 0 0,'7'8'1015'0'0,"-1"1"0"0"0,1 0 0 0 0,-2 0 0 0 0,0 1 1 0 0,8 17-1 0 0,14 55 1080 0 0,-11-28-1175 0 0,36 113 406 0 0,-13-40-1502 0 0,-35-112-449 0 0,-1 0-1 0 0,0 0 0 0 0,1 16 0 0 0,-4-31 519 0 0,0 2-217 0 0,1 1 1 0 0,-1-1-1 0 0,0 0 0 0 0,0 0 1 0 0,-1 0-1 0 0,1 0 1 0 0,0 0-1 0 0,-1 0 0 0 0,1 0 1 0 0,-1 0-1 0 0,1 0 1 0 0,-3 3-1 0 0,-4 6-1971 0 0</inkml:trace>
</inkml:ink>
</file>

<file path=ppt/ink/ink3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18.844"/>
    </inkml:context>
    <inkml:brush xml:id="br0">
      <inkml:brushProperty name="width" value="0.1" units="cm"/>
      <inkml:brushProperty name="height" value="0.1" units="cm"/>
      <inkml:brushProperty name="color" value="#008C3A"/>
    </inkml:brush>
  </inkml:definitions>
  <inkml:trace contextRef="#ctx0" brushRef="#br0">16 179 1684 0 0,'-4'-5'1163'0'0,"2"3"-879"0"0,1 0 0 0 0,0 1-1 0 0,0-1 1 0 0,-1 0-1 0 0,2 0 1 0 0,-1 0 0 0 0,0 0-1 0 0,0 0 1 0 0,0-2 0 0 0,1 3-230 0 0,0 0 0 0 0,0 0 1 0 0,0 0-1 0 0,1 1 1 0 0,-1-1-1 0 0,0 0 0 0 0,0 0 1 0 0,1 0-1 0 0,-1 1 1 0 0,1-1-1 0 0,-1 0 1 0 0,1 1-1 0 0,-1-1 0 0 0,1 0 1 0 0,-1 1-1 0 0,1-1 1 0 0,-1 1-1 0 0,1-1 0 0 0,0 1 1 0 0,-1-1-1 0 0,1 1 1 0 0,0-1-1 0 0,0 1 1 0 0,-1 0-1 0 0,1-1 0 0 0,0 1 1 0 0,0 0-1 0 0,0 0 1 0 0,1-1-1 0 0,17-5 331 0 0,1 0-1 0 0,0 2 1 0 0,1 0 0 0 0,20-1-1 0 0,92 0 469 0 0,-43 2-517 0 0,-76 2-280 0 0,30-1 302 0 0,57-11-1 0 0,-87 10-237 0 0,0-1-1 0 0,1 0 1 0 0,-2-1-1 0 0,1 0 1 0 0,-1-1-1 0 0,1-1 1 0 0,21-15-1 0 0,-27 16 94 0 0,1 1 0 0 0,-1-1 1 0 0,16-5-1 0 0,-22 10-177 0 0,14 6 11 0 0,-15-4-39 0 0,0 0 1 0 0,0 0-1 0 0,0 0 1 0 0,0 0-1 0 0,0 0 1 0 0,0 0-1 0 0,0 0 1 0 0,-1 1-1 0 0,1-1 1 0 0,0 0-1 0 0,-1 1 1 0 0,1-1-1 0 0,-1 0 1 0 0,1 1-1 0 0,-1-1 1 0 0,1 4-1 0 0,0-1 32 0 0,4 14 142 0 0,-2-1 0 0 0,1 1 0 0 0,0 19 1 0 0,-1-9 36 0 0,0 77 795 0 0,-4-81 16 0 0,1-21-401 0 0,-2 10 1181 0 0,1-16-1789 0 0,1 1 1 0 0,-1 0-1 0 0,1-1 0 0 0,0 1 0 0 0,0 0 0 0 0,0 0 0 0 0,0-1 0 0 0,1 1 0 0 0,-1 0 0 0 0,1-1 0 0 0,-1 1 0 0 0,1 0 1 0 0,0 0-1 0 0,0 0 0 0 0,0 0 0 0 0,0 0 0 0 0,0 0 0 0 0,0 0 0 0 0,1 0 0 0 0,-1 0 0 0 0,0 0 0 0 0,3-2 0 0 0,5-7-21 0 0,1 0-1 0 0,13-11 0 0 0,-13 14 10 0 0,0 1 0 0 0,1 0 0 0 0,0 0 0 0 0,0 1 0 0 0,0 1 0 0 0,1-1 0 0 0,0 2 0 0 0,0 0 1 0 0,0 0-1 0 0,1 1 0 0 0,-1 1 0 0 0,18-2 0 0 0,-22 4-74 0 0,-1 0 0 0 0,1 0 0 0 0,0 1-1 0 0,-1-1 1 0 0,1 2 0 0 0,-1-1 0 0 0,1 1 0 0 0,-1 0 0 0 0,12 6 0 0 0,-14-6-130 0 0,0 0 1 0 0,-1 1-1 0 0,0 0 0 0 0,1 0 1 0 0,-1 1-1 0 0,0-1 0 0 0,-1 1 1 0 0,1 0-1 0 0,-1 0 0 0 0,1 0 1 0 0,-1 0-1 0 0,-1 1 0 0 0,1-1 1 0 0,0 1-1 0 0,1 6 0 0 0,-2-7-253 0 0,0 0 1 0 0,-1 1-1 0 0,0-1 0 0 0,0 0 0 0 0,0 1 0 0 0,0 6 0 0 0,-1-8-352 0 0,0 1 0 0 0,0-1 0 0 0,-1 0-1 0 0,1 0 1 0 0,-1 0 0 0 0,0 0 0 0 0,-1 4 0 0 0,-4 6-2801 0 0</inkml:trace>
</inkml:ink>
</file>

<file path=ppt/ink/ink3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20.543"/>
    </inkml:context>
    <inkml:brush xml:id="br0">
      <inkml:brushProperty name="width" value="0.1" units="cm"/>
      <inkml:brushProperty name="height" value="0.1" units="cm"/>
      <inkml:brushProperty name="color" value="#008C3A"/>
    </inkml:brush>
  </inkml:definitions>
  <inkml:trace contextRef="#ctx0" brushRef="#br0">1 0 1504 0 0,'2'2'2809'0'0,"3"5"-2142"0"0,0 0 0 0 0,0 0 1 0 0,-1 0-1 0 0,0 0 0 0 0,0 1 0 0 0,-1 0 1 0 0,0 0-1 0 0,3 12 0 0 0,13 76 826 0 0,-14-67-1104 0 0,9 37-217 0 0,-6-36-2645 0 0,4 41-1 0 0,-12-61 201 0 0</inkml:trace>
</inkml:ink>
</file>

<file path=ppt/ink/ink3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20.928"/>
    </inkml:context>
    <inkml:brush xml:id="br0">
      <inkml:brushProperty name="width" value="0.1" units="cm"/>
      <inkml:brushProperty name="height" value="0.1" units="cm"/>
      <inkml:brushProperty name="color" value="#008C3A"/>
    </inkml:brush>
  </inkml:definitions>
  <inkml:trace contextRef="#ctx0" brushRef="#br0">91 161 672 0 0,'-4'-21'1468'0'0,"-2"0"-388"0"0,1 5-100 0 0,-1-1-252 0 0,1 1-123 0 0,-1 1-185 0 0,0 3-44 0 0,-1-2-116 0 0,1 5 16 0 0,-3 1 92 0 0,-4-2-356 0 0,-2 8-1164 0 0,13 14-2537 0 0</inkml:trace>
</inkml:ink>
</file>

<file path=ppt/ink/ink3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22.139"/>
    </inkml:context>
    <inkml:brush xml:id="br0">
      <inkml:brushProperty name="width" value="0.1" units="cm"/>
      <inkml:brushProperty name="height" value="0.1" units="cm"/>
      <inkml:brushProperty name="color" value="#008C3A"/>
    </inkml:brush>
  </inkml:definitions>
  <inkml:trace contextRef="#ctx0" brushRef="#br0">120 333 1168 0 0,'0'0'6925'0'0,"4"0"-6211"0"0,18-2-93 0 0,0-1 0 0 0,-1-1 0 0 0,1-1 1 0 0,36-14-1 0 0,-47 15-577 0 0,-2-1 0 0 0,1 0 0 0 0,-1 0 0 0 0,1-1 0 0 0,9-8 0 0 0,-15 10-13 0 0,0 0 0 0 0,0 0 0 0 0,0 0 0 0 0,-1 0 0 0 0,1-1 0 0 0,-1 1 0 0 0,0-1 0 0 0,0 0 0 0 0,-1 0 0 0 0,1 0 0 0 0,1-6 0 0 0,-3 7-22 0 0,0-1 0 0 0,0 1 1 0 0,0-1-1 0 0,-1 1 0 0 0,0-1 0 0 0,1 0 0 0 0,-2 1 0 0 0,1-1 0 0 0,0 1 1 0 0,-1-1-1 0 0,0 0 0 0 0,0 1 0 0 0,0 0 0 0 0,-3-5 0 0 0,1 2-6 0 0,0 0 0 0 0,-1 1-1 0 0,0-1 1 0 0,0 1 0 0 0,-1 0-1 0 0,0 0 1 0 0,0 1 0 0 0,-7-7-1 0 0,3 5-11 0 0,0-1 1 0 0,-1 1-1 0 0,0 1 0 0 0,0 0 0 0 0,0 0 0 0 0,-1 1 0 0 0,0 1 1 0 0,0-1-1 0 0,0 2 0 0 0,-23-5 0 0 0,29 7 0 0 0,1 1 0 0 0,0-1-1 0 0,-1 1 1 0 0,1 0 0 0 0,-1 1 0 0 0,1-1-1 0 0,-1 1 1 0 0,1 0 0 0 0,-1 0 0 0 0,1 0 0 0 0,0 0-1 0 0,0 1 1 0 0,-1 0 0 0 0,1 0 0 0 0,0 0-1 0 0,1 0 1 0 0,-5 4 0 0 0,4-3 4 0 0,1 1 0 0 0,-1 0-1 0 0,1-1 1 0 0,0 2 0 0 0,0-1 0 0 0,0 0 0 0 0,1 1-1 0 0,-1-1 1 0 0,1 1 0 0 0,0-1 0 0 0,1 1 0 0 0,-1 0-1 0 0,1 0 1 0 0,-2 10 0 0 0,2 1 34 0 0,0 0-1 0 0,1 0 1 0 0,0 0-1 0 0,2 0 1 0 0,0 0-1 0 0,1 0 1 0 0,9 31-1 0 0,47 104 496 0 0,-48-126-425 0 0,98 243 436 0 0,-107-263-475 0 0,-1 0-1 0 0,0 0 0 0 0,0 0 1 0 0,1 10-1 0 0,-2-14-37 0 0,0 0 1 0 0,0 1-1 0 0,0-1 0 0 0,0 0 1 0 0,0 0-1 0 0,0 0 0 0 0,0 0 1 0 0,-1 1-1 0 0,1-1 0 0 0,0 0 1 0 0,-1 0-1 0 0,1 0 0 0 0,-1 0 1 0 0,1 0-1 0 0,-1 0 0 0 0,1 0 1 0 0,-1 0-1 0 0,0 0 0 0 0,1 0 1 0 0,-1 0-1 0 0,0 0 0 0 0,0 0 1 0 0,0-1-1 0 0,0 1 0 0 0,0 0 1 0 0,0-1-1 0 0,0 1 0 0 0,0-1 1 0 0,0 1-1 0 0,0-1 0 0 0,-2 1 1 0 0,-2 0 20 0 0,1 0-1 0 0,-1 0 1 0 0,0-1 0 0 0,0 0 0 0 0,0 0 0 0 0,1 0 0 0 0,-1-1 0 0 0,0 1 0 0 0,0-1 0 0 0,1 0 0 0 0,-1-1-1 0 0,-7-2 1 0 0,3 0-8 0 0,1-1 0 0 0,-1 1 0 0 0,1-1-1 0 0,0-1 1 0 0,1 0 0 0 0,-8-7-1 0 0,0-2 3 0 0,0-2-1 0 0,0 0 0 0 0,2 0 1 0 0,-22-39-1 0 0,30 48-58 0 0,1-1 0 0 0,0 0 1 0 0,0-1-1 0 0,1 1 0 0 0,1 0 0 0 0,-1-1 0 0 0,2 0 1 0 0,-1 1-1 0 0,1-1 0 0 0,1 0 0 0 0,-1 0 1 0 0,2 0-1 0 0,1-12 0 0 0,-1 15-138 0 0,1 0-1 0 0,-1 1 1 0 0,1-1-1 0 0,1 1 1 0 0,-1 0 0 0 0,1 0-1 0 0,0 0 1 0 0,1 0-1 0 0,-1 0 1 0 0,1 1-1 0 0,0-1 1 0 0,1 1 0 0 0,-1 0-1 0 0,1 0 1 0 0,0 1-1 0 0,0 0 1 0 0,0-1-1 0 0,1 2 1 0 0,0-1 0 0 0,6-3-1 0 0,14-4-1286 0 0,2 1-1 0 0,-1 1 1 0 0,1 1-1 0 0,32-4 1 0 0,-42 8 441 0 0,10-2-422 0 0</inkml:trace>
</inkml:ink>
</file>

<file path=ppt/ink/ink3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22.475"/>
    </inkml:context>
    <inkml:brush xml:id="br0">
      <inkml:brushProperty name="width" value="0.1" units="cm"/>
      <inkml:brushProperty name="height" value="0.1" units="cm"/>
      <inkml:brushProperty name="color" value="#008C3A"/>
    </inkml:brush>
  </inkml:definitions>
  <inkml:trace contextRef="#ctx0" brushRef="#br0">262 43 1116 0 0,'1'-2'312'0'0,"0"0"-1"0"0,0 0 0 0 0,0 0 1 0 0,0-1-1 0 0,0 1 1 0 0,-1 0-1 0 0,1-1 0 0 0,-1 1 1 0 0,1-3-1 0 0,-1 4-252 0 0,0 0 0 0 0,0 0 0 0 0,0 0 0 0 0,-1 1 0 0 0,1-1 0 0 0,0 0 0 0 0,0 0 0 0 0,-1 1 0 0 0,1-1 0 0 0,-1 0 0 0 0,1 1 0 0 0,0-1 1 0 0,-1 0-1 0 0,1 1 0 0 0,-1-1 0 0 0,0 0 0 0 0,1 1 0 0 0,-1-1 0 0 0,1 1 0 0 0,-1-1 0 0 0,0 1 0 0 0,1 0 0 0 0,-1-1 0 0 0,0 1 0 0 0,0-1 0 0 0,1 1 0 0 0,-1 0 0 0 0,0 0 0 0 0,0 0 0 0 0,1-1 0 0 0,-1 1 0 0 0,0 0 0 0 0,0 0 0 0 0,0 0 0 0 0,1 0 0 0 0,-2 0 0 0 0,-6 0 50 0 0,-1 1 0 0 0,1-1 0 0 0,0 1 0 0 0,0 0 0 0 0,0 1 0 0 0,0 0 0 0 0,0 0 0 0 0,0 1 1 0 0,1 0-1 0 0,-1 1 0 0 0,1-1 0 0 0,0 1 0 0 0,0 1 0 0 0,0-1 0 0 0,1 1 0 0 0,-1 0 0 0 0,1 1 0 0 0,0-1 0 0 0,1 1 0 0 0,-1 1 0 0 0,1-1 1 0 0,0 1-1 0 0,1 0 0 0 0,-8 14 0 0 0,8-12-29 0 0,-1 0-1 0 0,2 0 1 0 0,-1 0 0 0 0,1 1 0 0 0,0-1-1 0 0,1 1 1 0 0,0 0 0 0 0,1 0 0 0 0,0-1 0 0 0,0 1-1 0 0,1 0 1 0 0,1 0 0 0 0,-1 0 0 0 0,2 0 0 0 0,-1 0-1 0 0,1 0 1 0 0,1-1 0 0 0,0 1 0 0 0,0-1 0 0 0,8 16-1 0 0,2-6 24 0 0,1 0 0 0 0,1-1 0 0 0,1-1-1 0 0,0 0 1 0 0,1-1 0 0 0,36 25 0 0 0,-23-17-16 0 0,37 38 0 0 0,-56-52-70 0 0,-8-7 30 0 0,0 0 0 0 0,0-1 0 0 0,-1 1-1 0 0,1 0 1 0 0,-1 1 0 0 0,0-1 0 0 0,0 0-1 0 0,0 1 1 0 0,0-1 0 0 0,0 1 0 0 0,1 6-1 0 0,-3-9-31 0 0,0 0-1 0 0,0 0 1 0 0,0 0-1 0 0,0 0 1 0 0,0 0-1 0 0,0-1 0 0 0,0 1 1 0 0,-1 0-1 0 0,1 0 1 0 0,0 0-1 0 0,-1 0 1 0 0,1-1-1 0 0,0 1 0 0 0,-1 0 1 0 0,1 0-1 0 0,-1-1 1 0 0,0 1-1 0 0,1 0 1 0 0,-1-1-1 0 0,1 1 1 0 0,-1 0-1 0 0,0-1 0 0 0,0 1 1 0 0,0 0-1 0 0,-18 9 120 0 0,-1-3-34 0 0,0 0-1 0 0,-1-2 1 0 0,1 0 0 0 0,-28 2-1 0 0,-79-1-563 0 0,90-9-1523 0 0,35 3 1751 0 0,1-1 0 0 0,0 1 0 0 0,0 0 0 0 0,0 0 0 0 0,0 0 0 0 0,0-1-1 0 0,-1 1 1 0 0,1-1 0 0 0,0 1 0 0 0,0-1 0 0 0,0 1 0 0 0,0-1 0 0 0,0 0 0 0 0,0 1 0 0 0,0-1 0 0 0,1 0 0 0 0,-1 0-1 0 0,0 0 1 0 0,0 0 0 0 0,0 0 0 0 0,1 0 0 0 0,-1 0 0 0 0,1 0 0 0 0,-2-1 0 0 0,1-11-2288 0 0</inkml:trace>
</inkml:ink>
</file>

<file path=ppt/ink/ink3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22.814"/>
    </inkml:context>
    <inkml:brush xml:id="br0">
      <inkml:brushProperty name="width" value="0.1" units="cm"/>
      <inkml:brushProperty name="height" value="0.1" units="cm"/>
      <inkml:brushProperty name="color" value="#008C3A"/>
    </inkml:brush>
  </inkml:definitions>
  <inkml:trace contextRef="#ctx0" brushRef="#br0">1 3 1072 0 0,'1'0'159'0'0,"-1"0"-1"0"0,1-1 1 0 0,0 1 0 0 0,0 0-1 0 0,0-1 1 0 0,0 1-1 0 0,-1 0 1 0 0,1 0 0 0 0,0 0-1 0 0,0 0 1 0 0,0 0 0 0 0,0 0-1 0 0,0 0 1 0 0,0 0-1 0 0,0 0 1 0 0,-1 0 0 0 0,1 1-1 0 0,0-1 1 0 0,0 0-1 0 0,0 1 1 0 0,0-1 0 0 0,-1 0-1 0 0,1 1 1 0 0,0-1 0 0 0,0 1-1 0 0,-1-1 1 0 0,1 1-1 0 0,0-1 1 0 0,-1 1 0 0 0,1 0-1 0 0,-1-1 1 0 0,1 1-1 0 0,-1 0 1 0 0,1 0 0 0 0,-1-1-1 0 0,1 1 1 0 0,0 1 0 0 0,1 4 377 0 0,1 1 0 0 0,-1-1 0 0 0,0 1 0 0 0,1 8 0 0 0,2 2 118 0 0,48 150 2677 0 0,8 24-1810 0 0,-12 3-3469 0 0,-40-145-617 0 0,-7-18-2563 0 0</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9:02.354"/>
    </inkml:context>
    <inkml:brush xml:id="br0">
      <inkml:brushProperty name="width" value="0.08571" units="cm"/>
      <inkml:brushProperty name="height" value="0.08571" units="cm"/>
      <inkml:brushProperty name="color" value="#00A0D7"/>
    </inkml:brush>
  </inkml:definitions>
  <inkml:trace contextRef="#ctx0" brushRef="#br0">107 119 11400,'-36'2'4588,"3"0"-2519,14 0 359,1 0-1798,18 0-180,2-1-91,20-1 271,3-2-450,29-1 0,-5-1-803,24-1 803,-14 0-90,2 0 0,1 0-180,1-1 90,-1 0-180,0 0-90,-2 0-179,-2 0-91,-5 0-778,-2 1 329,-4-2-270,-3 2-446,-2-2-4,-4 1-1349,-3 0-1979,-3 0 5037,-2 0 0,1-2 0,0 0 0</inkml:trace>
</inkml:ink>
</file>

<file path=ppt/ink/ink3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23.560"/>
    </inkml:context>
    <inkml:brush xml:id="br0">
      <inkml:brushProperty name="width" value="0.1" units="cm"/>
      <inkml:brushProperty name="height" value="0.1" units="cm"/>
      <inkml:brushProperty name="color" value="#008C3A"/>
    </inkml:brush>
  </inkml:definitions>
  <inkml:trace contextRef="#ctx0" brushRef="#br0">6 313 1784 0 0,'0'-1'185'0'0,"-1"0"0"0"0,0 0-1 0 0,1 0 1 0 0,-1 0 0 0 0,0-1 0 0 0,1 1 0 0 0,0 0-1 0 0,-1 0 1 0 0,1-1 0 0 0,0 1 0 0 0,-1 0-1 0 0,1-1 1 0 0,0 1 0 0 0,0 0 0 0 0,0 0 0 0 0,0-1-1 0 0,1 1 1 0 0,-1 0 0 0 0,0-1 0 0 0,0 1-1 0 0,2-3 1 0 0,-1 2-20 0 0,0-1-1 0 0,1 1 0 0 0,0 0 0 0 0,-1-1 1 0 0,1 1-1 0 0,0 0 0 0 0,0 0 1 0 0,0 0-1 0 0,5-3 0 0 0,2-1 106 0 0,2 0-1 0 0,-1 0 1 0 0,21-8-1 0 0,22-3 90 0 0,1 2-1 0 0,67-9 1 0 0,-17 3-165 0 0,4-2 1666 0 0,-70 20-1770 0 0,-35 3-70 0 0,-1 1-51 0 0,19 13 69 0 0,-14-9 44 0 0,1-1 0 0 0,-1 1-1 0 0,1-1 1 0 0,0 0 0 0 0,0-1-1 0 0,1 0 1 0 0,-1 0 0 0 0,14 2-1 0 0,-17-4-69 0 0,1 0-1 0 0,0-1 1 0 0,0 0-1 0 0,-1 0 1 0 0,1 0-1 0 0,0-1 1 0 0,-1 0-1 0 0,1 0 0 0 0,0-1 1 0 0,-1 1-1 0 0,1-1 1 0 0,-1 0-1 0 0,0-1 1 0 0,0 1-1 0 0,0-1 0 0 0,0 0 1 0 0,0 0-1 0 0,0-1 1 0 0,-1 1-1 0 0,0-1 1 0 0,0 0-1 0 0,0 0 0 0 0,0 0 1 0 0,0-1-1 0 0,-1 0 1 0 0,3-4-1 0 0,-4 6-12 0 0,-1 1 0 0 0,1-1 0 0 0,-1 1 0 0 0,0-1 0 0 0,0 0 0 0 0,0 1-1 0 0,-1-1 1 0 0,1 0 0 0 0,-1 1 0 0 0,1-1 0 0 0,-1 0 0 0 0,0 0 0 0 0,0 0 0 0 0,0 1 0 0 0,0-1-1 0 0,-1 0 1 0 0,1 0 0 0 0,-1 1 0 0 0,1-1 0 0 0,-1 0 0 0 0,0 1 0 0 0,0-1 0 0 0,0 0 0 0 0,-1 1-1 0 0,1-1 1 0 0,-2-2 0 0 0,0 2-6 0 0,0 0-1 0 0,0 0 1 0 0,-1 1-1 0 0,1-1 1 0 0,0 0 0 0 0,-1 1-1 0 0,0 0 1 0 0,1 0-1 0 0,-1 0 1 0 0,0 0-1 0 0,0 1 1 0 0,0 0-1 0 0,0-1 1 0 0,-1 1-1 0 0,1 1 1 0 0,-7-2-1 0 0,-2 2 12 0 0,1 0-1 0 0,-1 1 0 0 0,0 0 0 0 0,0 1 0 0 0,1 0 0 0 0,-1 1 0 0 0,1 0 0 0 0,0 1 0 0 0,0 1 0 0 0,0 0 0 0 0,-17 9 0 0 0,19-8 63 0 0,1 0-1 0 0,-1 0 1 0 0,1 1 0 0 0,1 0 0 0 0,-1 1-1 0 0,1 0 1 0 0,0 0 0 0 0,1 1 0 0 0,0-1-1 0 0,1 2 1 0 0,-1-1 0 0 0,2 1 0 0 0,-6 11-1 0 0,9-17-7 0 0,1 0-1 0 0,-1 1 0 0 0,1-1 1 0 0,0 1-1 0 0,0-1 0 0 0,1 1 1 0 0,-1-1-1 0 0,1 1 0 0 0,0-1 1 0 0,0 1-1 0 0,1-1 0 0 0,-1 1 1 0 0,1 0-1 0 0,0-1 0 0 0,3 7 1 0 0,-2-5 3 0 0,1 0 0 0 0,0 0-1 0 0,1 0 1 0 0,0-1 0 0 0,0 1 0 0 0,0-1 0 0 0,0 0 0 0 0,1 0 0 0 0,8 7 0 0 0,2-1 23 0 0,1-1 0 0 0,-1 0 0 0 0,2-1 0 0 0,0 0 0 0 0,0-2 0 0 0,29 10 0 0 0,-17-9-42 0 0,0-1 0 0 0,0-2 0 0 0,1-1 0 0 0,0-1 0 0 0,-1-1 0 0 0,1-2 0 0 0,0 0 0 0 0,49-9 0 0 0,-54 4-23 0 0,0-1 1 0 0,0 0-1 0 0,-1-2 1 0 0,0-1-1 0 0,0-1 1 0 0,-1-1-1 0 0,-1-1 1 0 0,0-1-1 0 0,0-1 1 0 0,27-23-1 0 0,-40 29-18 0 0,0-1-1 0 0,-1 0 1 0 0,0 0-1 0 0,0-1 1 0 0,-1 0 0 0 0,0-1-1 0 0,6-12 1 0 0,-11 19-7 0 0,0 0 1 0 0,0 0-1 0 0,0-1 1 0 0,-1 1-1 0 0,0 0 1 0 0,1-1-1 0 0,-1 1 1 0 0,-1-1-1 0 0,1 0 1 0 0,-1 1-1 0 0,0-1 1 0 0,0 0-1 0 0,0 1 1 0 0,-1-1-1 0 0,1 1 1 0 0,-1-1-1 0 0,0 1 1 0 0,-1-1-1 0 0,1 1 1 0 0,-1-1-1 0 0,0 1 1 0 0,-3-6-1 0 0,3 8 0 0 0,0-1 0 0 0,0 1 0 0 0,0 0 0 0 0,0 0 0 0 0,-1 0 1 0 0,1 0-1 0 0,-1 0 0 0 0,1 0 0 0 0,-1 1 0 0 0,0-1 0 0 0,0 1 0 0 0,0 0 0 0 0,1 0 0 0 0,-1 0 0 0 0,0 0 0 0 0,-6 0 0 0 0,2 0-6 0 0,0 0 0 0 0,0 1 1 0 0,0 0-1 0 0,0 1 0 0 0,0-1 0 0 0,-11 4 0 0 0,12-3 7 0 0,0 1-1 0 0,-1 0 1 0 0,1 0 0 0 0,0 0-1 0 0,0 1 1 0 0,0 0 0 0 0,1 0-1 0 0,-1 1 1 0 0,1 0-1 0 0,0 0 1 0 0,0 0 0 0 0,0 0-1 0 0,0 1 1 0 0,1 0 0 0 0,-1 0-1 0 0,1 0 1 0 0,1 1 0 0 0,-1-1-1 0 0,-4 11 1 0 0,7-15 8 0 0,1 0 0 0 0,0 0 0 0 0,0 0 0 0 0,0 0 1 0 0,0 0-1 0 0,0 0 0 0 0,0 0 0 0 0,0 0 0 0 0,0-1 0 0 0,0 1 0 0 0,0 0 1 0 0,1 0-1 0 0,-1 0 0 0 0,0 0 0 0 0,1 0 0 0 0,-1 0 0 0 0,0-1 0 0 0,1 1 1 0 0,-1 0-1 0 0,1 0 0 0 0,-1-1 0 0 0,1 1 0 0 0,0 0 0 0 0,-1 0 1 0 0,1-1-1 0 0,1 1 0 0 0,-1 1 7 0 0,1 0 1 0 0,0-1 0 0 0,1 1-1 0 0,-1-1 1 0 0,0 0 0 0 0,0 1-1 0 0,1-1 1 0 0,-1 0 0 0 0,4 1-1 0 0,4-1-9 0 0,0 0-1 0 0,-1-1 1 0 0,1 1-1 0 0,-1-2 1 0 0,1 0 0 0 0,-1 0-1 0 0,1 0 1 0 0,17-6-1 0 0,-3-1 44 0 0,0-1 0 0 0,28-14-1 0 0,-36 18-7 0 0,-12 5-31 0 0,-1-1 10 0 0,0 2 18 0 0,-1-1-22 0 0,0 1 0 0 0,0 0 0 0 0,0-1 0 0 0,0 1-1 0 0,0 0 1 0 0,0 0 0 0 0,-1 0 0 0 0,1 0-1 0 0,0 0 1 0 0,-1 0 0 0 0,1 0 0 0 0,-1 1-1 0 0,1-1 1 0 0,-1 0 0 0 0,1 1 0 0 0,-1 0-1 0 0,0-1 1 0 0,0 1 0 0 0,0 0 0 0 0,0-1-1 0 0,0 1 1 0 0,0 0 0 0 0,-1 0 0 0 0,1 0-1 0 0,0 0 1 0 0,-1 0 0 0 0,0 0 0 0 0,1 2 0 0 0,11 113-189 0 0,-9-61-2107 0 0,3-12-1629 0 0,-6-41 2961 0 0,3-3-32 0 0,-2 0 869 0 0,0 1-1 0 0,0-1 0 0 0,0 0 0 0 0,0 0 1 0 0,0 0-1 0 0,0 0 0 0 0,0 0 0 0 0,0 0 1 0 0,-1 0-1 0 0,1-1 0 0 0,0 1 0 0 0,0 0 0 0 0,0 0 1 0 0,0-1-1 0 0,0 1 0 0 0,0-1 0 0 0,0 1 1 0 0,1-2-1 0 0,16-16-2318 0 0,-8 5 1123 0 0</inkml:trace>
</inkml:ink>
</file>

<file path=ppt/ink/ink3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24.008"/>
    </inkml:context>
    <inkml:brush xml:id="br0">
      <inkml:brushProperty name="width" value="0.1" units="cm"/>
      <inkml:brushProperty name="height" value="0.1" units="cm"/>
      <inkml:brushProperty name="color" value="#008C3A"/>
    </inkml:brush>
  </inkml:definitions>
  <inkml:trace contextRef="#ctx0" brushRef="#br0">1 141 2756 0 0,'5'-10'494'0'0,"1"0"0"0"0,1 0-1 0 0,0 0 1 0 0,0 0 0 0 0,1 1 0 0 0,0 0-1 0 0,0 1 1 0 0,1 0 0 0 0,17-11-1 0 0,-24 18-391 0 0,0 0-1 0 0,0 0 0 0 0,0 0 0 0 0,0 1 1 0 0,0-1-1 0 0,0 1 0 0 0,0-1 0 0 0,1 1 1 0 0,-1 0-1 0 0,0 0 0 0 0,0 0 0 0 0,1 0 1 0 0,-1 0-1 0 0,0 1 0 0 0,0-1 0 0 0,0 1 1 0 0,0-1-1 0 0,1 1 0 0 0,-1 0 0 0 0,0 0 1 0 0,0 0-1 0 0,0 0 0 0 0,-1 0 0 0 0,1 0 1 0 0,0 0-1 0 0,0 1 0 0 0,0-1 1 0 0,-1 1-1 0 0,1-1 0 0 0,-1 1 0 0 0,1 0 1 0 0,-1-1-1 0 0,0 1 0 0 0,2 3 0 0 0,1 2 224 0 0,1 0 0 0 0,-1 1 1 0 0,-1 0-1 0 0,1-1 0 0 0,-1 1 0 0 0,0 1 0 0 0,2 12 0 0 0,9 55 4034 0 0,-16-87-4027 0 0,5 0-286 0 0,0 0-1 0 0,1 0 1 0 0,0 0 0 0 0,1 0-1 0 0,0 1 1 0 0,0 0 0 0 0,1 0-1 0 0,0 1 1 0 0,14-16 0 0 0,-15 18-55 0 0,1 0 1 0 0,1 1 0 0 0,-1-1-1 0 0,1 1 1 0 0,0 0-1 0 0,0 1 1 0 0,1 0 0 0 0,0 0-1 0 0,0 1 1 0 0,0-1-1 0 0,0 2 1 0 0,1-1 0 0 0,0 1-1 0 0,11-2 1 0 0,-14 4-2 0 0,0 0-1 0 0,0 1 1 0 0,0-1 0 0 0,0 1 0 0 0,0 1 0 0 0,0-1-1 0 0,0 1 1 0 0,0 0 0 0 0,-1 0 0 0 0,1 1-1 0 0,0 0 1 0 0,0 0 0 0 0,-1 0 0 0 0,0 0-1 0 0,1 1 1 0 0,-1 0 0 0 0,0 0 0 0 0,0 1 0 0 0,0-1-1 0 0,-1 1 1 0 0,0 0 0 0 0,1 0 0 0 0,4 7-1 0 0,-3-4 9 0 0,0 1 0 0 0,-1 0 0 0 0,1 0 0 0 0,-1 0 0 0 0,-1 1 0 0 0,0 0-1 0 0,0-1 1 0 0,-1 2 0 0 0,4 13 0 0 0,3 14 2140 0 0,-9-40-2043 0 0,2-8-67 0 0,1-1 0 0 0,0 1 0 0 0,1 1 0 0 0,0-1 0 0 0,1 1 0 0 0,0 0 0 0 0,1 0 0 0 0,0 0 0 0 0,0 1 0 0 0,10-9 0 0 0,-12 12-41 0 0,1 1 0 0 0,0-1 0 0 0,0 1 0 0 0,1 0 0 0 0,-1 0 0 0 0,1 1 0 0 0,0 0 0 0 0,1 0 0 0 0,-1 1 0 0 0,0 0 0 0 0,1 0 0 0 0,0 0 0 0 0,0 1 0 0 0,0 0 0 0 0,14-1 0 0 0,-15 4 13 0 0,0 0 0 0 0,-1 0 0 0 0,1 0 0 0 0,0 0 0 0 0,-1 1-1 0 0,0 0 1 0 0,1 1 0 0 0,-1 0 0 0 0,0 0 0 0 0,0 0 0 0 0,0 0 0 0 0,-1 1 0 0 0,1 0 0 0 0,-1 0 0 0 0,0 1 0 0 0,0-1 0 0 0,0 1 0 0 0,-1 0-1 0 0,1 0 1 0 0,4 10 0 0 0,-1-4-226 0 0,-1 1 1 0 0,-1 0-1 0 0,0 1 0 0 0,0 0 0 0 0,-2 0 0 0 0,1 0 0 0 0,-2 0 0 0 0,0 1 1 0 0,2 14-1 0 0,-5-19-460 0 0,1 0 0 0 0,-2 0 0 0 0,1 1 0 0 0,-1-1 0 0 0,-4 14 0 0 0,-9 20-6103 0 0,7-29 1432 0 0</inkml:trace>
</inkml:ink>
</file>

<file path=ppt/ink/ink3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34.588"/>
    </inkml:context>
    <inkml:brush xml:id="br0">
      <inkml:brushProperty name="width" value="0.1" units="cm"/>
      <inkml:brushProperty name="height" value="0.1" units="cm"/>
      <inkml:brushProperty name="color" value="#008C3A"/>
    </inkml:brush>
  </inkml:definitions>
  <inkml:trace contextRef="#ctx0" brushRef="#br0">451 57 1116 0 0,'-8'-7'375'0'0,"0"1"0"0"0,0 0-1 0 0,-1 1 1 0 0,0 0 0 0 0,0 0-1 0 0,-1 1 1 0 0,1 0 0 0 0,-1 1 0 0 0,0 0-1 0 0,0 0 1 0 0,0 1 0 0 0,0 0 0 0 0,0 1-1 0 0,0 0 1 0 0,-16 1 0 0 0,6 1-108 0 0,1 1 0 0 0,0 1 0 0 0,0 1 1 0 0,0 0-1 0 0,0 2 0 0 0,1 0 0 0 0,-25 12 1 0 0,35-14-183 0 0,0 0 1 0 0,0 1 0 0 0,1 0 0 0 0,-1 0-1 0 0,1 1 1 0 0,0 0 0 0 0,1 0 0 0 0,0 0 0 0 0,0 1-1 0 0,0 0 1 0 0,1 0 0 0 0,0 1 0 0 0,-5 8 0 0 0,8-13-51 0 0,1 1 0 0 0,-1 0 0 0 0,1 0 1 0 0,-1 1-1 0 0,1-1 0 0 0,0 0 1 0 0,1 0-1 0 0,-1 0 0 0 0,1 1 0 0 0,0-1 1 0 0,0 0-1 0 0,0 1 0 0 0,1-1 1 0 0,-1 0-1 0 0,1 1 0 0 0,0-1 0 0 0,0 0 1 0 0,1 0-1 0 0,-1 0 0 0 0,1 0 0 0 0,0 0 1 0 0,0 0-1 0 0,0-1 0 0 0,0 1 1 0 0,1-1-1 0 0,0 1 0 0 0,-1-1 0 0 0,7 6 1 0 0,-1-2-15 0 0,0 0 0 0 0,1-1 1 0 0,-1 0-1 0 0,1 0 1 0 0,0-1-1 0 0,1 0 0 0 0,-1-1 1 0 0,1 0-1 0 0,0-1 0 0 0,0 1 1 0 0,0-2-1 0 0,0 0 1 0 0,1 0-1 0 0,-1-1 0 0 0,1 0 1 0 0,-1 0-1 0 0,1-1 1 0 0,-1-1-1 0 0,0 0 0 0 0,1 0 1 0 0,-1-1-1 0 0,0 0 0 0 0,1-1 1 0 0,-1 0-1 0 0,-1-1 1 0 0,1 0-1 0 0,0-1 0 0 0,-1 0 1 0 0,0 0-1 0 0,0-1 0 0 0,13-11 1 0 0,3-7 123 0 0,-1-2 1 0 0,25-37-1 0 0,-5 7 766 0 0,-44 56-904 0 0,0-1-1 0 0,0 1 0 0 0,1 0 1 0 0,-1-1-1 0 0,0 1 0 0 0,0 0 1 0 0,1 0-1 0 0,-1-1 0 0 0,0 1 1 0 0,0 0-1 0 0,1-1 0 0 0,-1 1 1 0 0,0 0-1 0 0,1 0 0 0 0,-1 0 1 0 0,0-1-1 0 0,1 1 0 0 0,-1 0 1 0 0,0 0-1 0 0,1 0 0 0 0,-1 0 1 0 0,0 0-1 0 0,1 0 0 0 0,-1 0 1 0 0,0 0-1 0 0,1 0 0 0 0,-1 0 1 0 0,1 0-1 0 0,-1 0 0 0 0,0 0 1 0 0,1 0-1 0 0,-1 0 1 0 0,0 0-1 0 0,1 0 0 0 0,6 13 76 0 0,-3 29-56 0 0,-4-35 6 0 0,2 12-24 0 0,-2 2-524 0 0,2 1 0 0 0,1-1 1 0 0,0 1-1 0 0,2-1 0 0 0,12 35 0 0 0,-17-54 344 0 0,1 0-1 0 0,-1-1 1 0 0,1 0-1 0 0,0 1 1 0 0,0-1-1 0 0,0 1 1 0 0,0-1 0 0 0,0 0-1 0 0,0 0 1 0 0,0 1-1 0 0,0-1 1 0 0,1 0-1 0 0,-1 0 1 0 0,0 0-1 0 0,1-1 1 0 0,-1 1-1 0 0,1 0 1 0 0,-1 0-1 0 0,1-1 1 0 0,-1 1-1 0 0,1-1 1 0 0,-1 1-1 0 0,1-1 1 0 0,0 0 0 0 0,-1 1-1 0 0,3-1 1 0 0,-2 0 18 0 0,1-1 0 0 0,-1 1 0 0 0,1-1 0 0 0,-1 1 0 0 0,0-1 0 0 0,1 0 0 0 0,-1 0 0 0 0,0 0 0 0 0,1 0 0 0 0,-1 0 0 0 0,0-1 0 0 0,0 1 0 0 0,0-1 0 0 0,0 1 0 0 0,0-1 0 0 0,2-2 0 0 0,49-63 17 0 0,-40 48 1356 0 0,1 0 1 0 0,28-27 0 0 0,-41 45-1152 0 0,0 1 1 0 0,-1-1-1 0 0,1 0 1 0 0,0 1-1 0 0,0-1 1 0 0,0 1-1 0 0,0 0 1 0 0,0-1-1 0 0,-1 1 0 0 0,1 0 1 0 0,0-1-1 0 0,0 1 1 0 0,0 0-1 0 0,0 0 1 0 0,0 0-1 0 0,0 0 0 0 0,0 0 1 0 0,0 0-1 0 0,0 0 1 0 0,0 0-1 0 0,0 0 1 0 0,0 0-1 0 0,0 1 1 0 0,0-1-1 0 0,0 0 0 0 0,-1 1 1 0 0,1-1-1 0 0,0 0 1 0 0,0 1-1 0 0,0-1 1 0 0,0 1-1 0 0,-1 0 1 0 0,1-1-1 0 0,0 1 0 0 0,-1 0 1 0 0,1-1-1 0 0,0 1 1 0 0,-1 0-1 0 0,1 0 1 0 0,-1-1-1 0 0,1 1 1 0 0,-1 0-1 0 0,1 1 0 0 0,3 5 292 0 0,0-1-1 0 0,-1 1 0 0 0,0 0 0 0 0,2 8 1 0 0,2 22 496 0 0,-6-28-253 0 0,0 0 0 0 0,1 0 0 0 0,0-1 0 0 0,6 15 1205 0 0,-6-24-1566 0 0,40-43 33 0 0,-33 32-207 0 0,2 1 0 0 0,-1 0 0 0 0,1 1 0 0 0,1 0 1 0 0,14-9-1 0 0,-19 15-76 0 0,0 0 0 0 0,0 0 0 0 0,0 1 0 0 0,1 0 0 0 0,-1 0 0 0 0,1 1 0 0 0,0 0 0 0 0,15-2 0 0 0,-20 3 5 0 0,0 1 0 0 0,0 1 0 0 0,0-1 1 0 0,1 0-1 0 0,-1 1 0 0 0,0 0 0 0 0,0-1 0 0 0,0 1 1 0 0,0 0-1 0 0,0 1 0 0 0,0-1 0 0 0,0 0 1 0 0,-1 1-1 0 0,1 0 0 0 0,0 0 0 0 0,-1-1 1 0 0,1 2-1 0 0,-1-1 0 0 0,0 0 0 0 0,0 0 0 0 0,0 1 1 0 0,0-1-1 0 0,0 1 0 0 0,0 0 0 0 0,2 3 1 0 0,7 18-426 0 0,-1 0 1 0 0,-1 1-1 0 0,-1 0 1 0 0,6 34-1 0 0,1 1-299 0 0,-13-56 451 0 0,-1 0 0 0 0,0 0 0 0 0,1 0-1 0 0,-1 0 1 0 0,1 0 0 0 0,0-1-1 0 0,1 1 1 0 0,-1-1 0 0 0,1 1 0 0 0,-1-1-1 0 0,1 0 1 0 0,0 0 0 0 0,3 3 0 0 0,-3-4-286 0 0,0 0 1 0 0,0-1 0 0 0,0 1 0 0 0,0-1 0 0 0,0 1 0 0 0,0-1-1 0 0,0 0 1 0 0,0 0 0 0 0,6 0 0 0 0</inkml:trace>
</inkml:ink>
</file>

<file path=ppt/ink/ink3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34.943"/>
    </inkml:context>
    <inkml:brush xml:id="br0">
      <inkml:brushProperty name="width" value="0.1" units="cm"/>
      <inkml:brushProperty name="height" value="0.1" units="cm"/>
      <inkml:brushProperty name="color" value="#008C3A"/>
    </inkml:brush>
  </inkml:definitions>
  <inkml:trace contextRef="#ctx0" brushRef="#br0">123 107 1012 0 0,'8'-12'712'0'0,"1"1"0"0"0,0 0 1 0 0,1 0-1 0 0,0 1 0 0 0,1 0 0 0 0,0 1 0 0 0,1 0 0 0 0,20-12 0 0 0,-31 21-652 0 0,0-1-1 0 0,0 1 1 0 0,0-1-1 0 0,0 1 1 0 0,1 0-1 0 0,-1 0 1 0 0,0 0-1 0 0,0-1 1 0 0,0 1-1 0 0,1 0 1 0 0,-1 0-1 0 0,0 1 1 0 0,0-1-1 0 0,0 0 1 0 0,2 1-1 0 0,0-1 103 0 0,0 0-73 0 0,-1 1 0 0 0,0-1 0 0 0,1 1-1 0 0,-1-1 1 0 0,0 1 0 0 0,0 0 0 0 0,0 0 0 0 0,0 0 0 0 0,1 0 0 0 0,-1 0 0 0 0,0 0 0 0 0,-1 0 0 0 0,1 1 0 0 0,0-1 0 0 0,0 1 0 0 0,-1-1-1 0 0,1 1 1 0 0,-1 0 0 0 0,1 0 0 0 0,-1 0 0 0 0,0-1 0 0 0,1 1 0 0 0,0 4 0 0 0,2 3 202 0 0,0 0 0 0 0,-1 0 1 0 0,4 17-1 0 0,-6-25-267 0 0,4 21 228 0 0,-1-1 0 0 0,-1 1 0 0 0,-1 0 0 0 0,-1 0 0 0 0,-1 0 0 0 0,-1 0 0 0 0,0 0 0 0 0,-2 0 0 0 0,-6 24 0 0 0,7-37-200 0 0,-1 0 0 0 0,-1 0 0 0 0,0 0-1 0 0,0-1 1 0 0,0 1 0 0 0,-1-1 0 0 0,0 0 0 0 0,-1 0-1 0 0,0 0 1 0 0,-7 6 0 0 0,7-9-26 0 0,1 0 0 0 0,-2 0 1 0 0,1-1-1 0 0,0 0 0 0 0,-1 0 1 0 0,0 0-1 0 0,0-1 0 0 0,0 0 1 0 0,0-1-1 0 0,-1 1 0 0 0,1-1 0 0 0,-1-1 1 0 0,-14 2-1 0 0,15-3-62 0 0,1 0 1 0 0,-1 0-1 0 0,1-1 0 0 0,-1 0 0 0 0,1 0 1 0 0,-1-1-1 0 0,1 0 0 0 0,0 0 0 0 0,0 0 1 0 0,0-1-1 0 0,0 0 0 0 0,0 0 0 0 0,1 0 1 0 0,-1-1-1 0 0,1 0 0 0 0,0 0 0 0 0,-9-9 1 0 0,10 9-20 0 0,0 0 1 0 0,1 0-1 0 0,-1-1 1 0 0,1 1 0 0 0,0-1-1 0 0,0 0 1 0 0,0 0-1 0 0,1 0 1 0 0,0 0 0 0 0,0 0-1 0 0,0 0 1 0 0,1 0-1 0 0,0-1 1 0 0,0 1 0 0 0,0-1-1 0 0,0 1 1 0 0,1-1-1 0 0,0 1 1 0 0,0-1 0 0 0,1 1-1 0 0,1-8 1 0 0,-2 11 40 0 0,1 0 0 0 0,-1 0 0 0 0,1 0 0 0 0,0 1 0 0 0,0-1 0 0 0,-1 0 0 0 0,1 1 0 0 0,1-1 0 0 0,-1 1 0 0 0,0-1 0 0 0,0 1 0 0 0,0 0 0 0 0,1-1 0 0 0,-1 1 0 0 0,1 0 0 0 0,-1 0 0 0 0,1 0 0 0 0,-1 0 0 0 0,1 0-1 0 0,0 0 1 0 0,0 1 0 0 0,-1-1 0 0 0,1 0 0 0 0,0 1 0 0 0,2-1 0 0 0,0 1 8 0 0,-1-1 0 0 0,1 1 0 0 0,0 0 0 0 0,0 0 0 0 0,0 0 0 0 0,-1 1 0 0 0,1 0 0 0 0,0-1 0 0 0,0 1 0 0 0,-1 0 0 0 0,1 1 0 0 0,4 1 0 0 0,8 6 36 0 0,0 0-1 0 0,-1 1 0 0 0,0 1 0 0 0,-1 1 1 0 0,0 0-1 0 0,15 16 0 0 0,-8-4-82 0 0,-1 0-1 0 0,29 48 0 0 0,-23-27-1577 0 0,-11-14-2962 0 0,-10-16 144 0 0</inkml:trace>
</inkml:ink>
</file>

<file path=ppt/ink/ink3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36.657"/>
    </inkml:context>
    <inkml:brush xml:id="br0">
      <inkml:brushProperty name="width" value="0.1" units="cm"/>
      <inkml:brushProperty name="height" value="0.1" units="cm"/>
      <inkml:brushProperty name="color" value="#008C3A"/>
    </inkml:brush>
  </inkml:definitions>
  <inkml:trace contextRef="#ctx0" brushRef="#br0">51 9 872 0 0,'0'0'2123'0'0,"-6"15"425"0"0,-2 1-2091 0 0,1 0 1 0 0,1 1-1 0 0,1 0 1 0 0,0 0 0 0 0,1 0-1 0 0,0 0 1 0 0,2 1 0 0 0,0 0-1 0 0,1-1 1 0 0,1 1 0 0 0,0 0-1 0 0,1 0 1 0 0,6 27 0 0 0,-4-30-326 0 0,1-1 1 0 0,1 1 0 0 0,0-1-1 0 0,0 0 1 0 0,2 0 0 0 0,0-1-1 0 0,11 17 1 0 0,-12-21-83 0 0,1 0 1 0 0,0-1-1 0 0,1 1 0 0 0,0-2 0 0 0,0 1 1 0 0,1-1-1 0 0,0 0 0 0 0,0-1 0 0 0,1 0 1 0 0,15 7-1 0 0,-20-10-5 0 0,1-1 1 0 0,0 0 0 0 0,0 0-1 0 0,0 0 1 0 0,0-1-1 0 0,0 0 1 0 0,0 0 0 0 0,0 0-1 0 0,0-1 1 0 0,0 0-1 0 0,1 0 1 0 0,-1-1-1 0 0,0 1 1 0 0,0-1 0 0 0,9-3-1 0 0,-8 1 26 0 0,0 0 0 0 0,0-1 1 0 0,0 1-1 0 0,0-1 0 0 0,-1-1 0 0 0,1 1 0 0 0,-1-1 0 0 0,0-1 0 0 0,-1 1 1 0 0,10-12-1 0 0,-2-1 91 0 0,-1-1 1 0 0,0 0 0 0 0,-2-1-1 0 0,0 0 1 0 0,-1-1 0 0 0,-1 0-1 0 0,8-35 1 0 0,-6 5 366 0 0,6-80 1 0 0,-11 77-401 0 0,-6 33-971 0 0,0 20 736 0 0,1 0-1 0 0,-1 0 1 0 0,1 1-1 0 0,-1-1 1 0 0,1 1-1 0 0,-1-1 1 0 0,1 0 0 0 0,-1 1-1 0 0,0-1 1 0 0,1 1-1 0 0,-1-1 1 0 0,0 1-1 0 0,1 0 1 0 0,-1-1-1 0 0,0 1 1 0 0,0 0-1 0 0,0-1 1 0 0,0 1-90 0 0,0 0 1 0 0,0 0 0 0 0,0 1-1 0 0,0-1 1 0 0,0 0-1 0 0,0 0 1 0 0,0 1 0 0 0,0-1-1 0 0,1 1 1 0 0,-1-1-1 0 0,0 1 1 0 0,0-1 0 0 0,0 1-1 0 0,1-1 1 0 0,-1 1 0 0 0,0-1-1 0 0,1 1 1 0 0,-1 0-1 0 0,0 0 1 0 0,1-1 0 0 0,-1 2-1 0 0,-12 16-4539 0 0</inkml:trace>
</inkml:ink>
</file>

<file path=ppt/ink/ink3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37.002"/>
    </inkml:context>
    <inkml:brush xml:id="br0">
      <inkml:brushProperty name="width" value="0.1" units="cm"/>
      <inkml:brushProperty name="height" value="0.1" units="cm"/>
      <inkml:brushProperty name="color" value="#008C3A"/>
    </inkml:brush>
  </inkml:definitions>
  <inkml:trace contextRef="#ctx0" brushRef="#br0">0 0 1608 0 0,'5'1'347'0'0,"0"-1"-1"0"0,-1 1 1 0 0,1 0-1 0 0,0 0 1 0 0,0 0 0 0 0,-1 1-1 0 0,1 0 1 0 0,-1 0-1 0 0,1 0 1 0 0,-1 0-1 0 0,0 1 1 0 0,0 0-1 0 0,0-1 1 0 0,0 2 0 0 0,-1-1-1 0 0,1 0 1 0 0,-1 1-1 0 0,0-1 1 0 0,0 1-1 0 0,0 0 1 0 0,0 0-1 0 0,-1 0 1 0 0,3 6 0 0 0,6 12 277 0 0,-1 0 0 0 0,-2 0 0 0 0,10 35 0 0 0,-10-27 124 0 0,5 17 138 0 0,6 57 0 0 0,-5-27-220 0 0,-7-60 477 0 0,-7-17-1116 0 0,0 0 0 0 0,0 0 0 0 0,0 0 0 0 0,1 1 0 0 0,-1-1 1 0 0,0 0-1 0 0,0 0 0 0 0,0 0 0 0 0,1 0 0 0 0,-1 0 0 0 0,0 0 0 0 0,0 1 0 0 0,1-1 0 0 0,-1 0 0 0 0,0 0 0 0 0,0 0 0 0 0,1 0 0 0 0,-1 0 1 0 0,0 0-1 0 0,1 0 0 0 0,-1 0 0 0 0,0 0 0 0 0,0 0 0 0 0,1 0 0 0 0,-1 0 0 0 0,0 0 0 0 0,0-1 0 0 0,1 1 0 0 0,-1 0 0 0 0,0 0 1 0 0,0 0-1 0 0,1 0 0 0 0,2-3 101 0 0,-1 1 0 0 0,0 0 0 0 0,1-1 1 0 0,-1 0-1 0 0,0 1 0 0 0,3-7 1 0 0,4-3-180 0 0,-1 1 85 0 0,13-16 2 0 0,40-42 1 0 0,-54 62-54 0 0,0 0 1 0 0,1 1-1 0 0,0 0 1 0 0,0 1-1 0 0,0-1 1 0 0,1 2-1 0 0,0-1 1 0 0,0 1-1 0 0,0 0 1 0 0,14-3-1 0 0,-20 7 15 0 0,0-1-1 0 0,0 1 1 0 0,1 0 0 0 0,-1 0-1 0 0,0 0 1 0 0,0 0-1 0 0,0 1 1 0 0,0-1 0 0 0,1 1-1 0 0,-1 0 1 0 0,0 0 0 0 0,0 0-1 0 0,0 0 1 0 0,-1 0 0 0 0,1 1-1 0 0,0-1 1 0 0,0 1-1 0 0,-1 0 1 0 0,1 0 0 0 0,-1 0-1 0 0,1 0 1 0 0,2 4 0 0 0,2 2-1 0 0,-1 0 1 0 0,0 0 0 0 0,-1 0 0 0 0,0 1 0 0 0,7 14 0 0 0,-5-2-233 0 0,-1 1 1 0 0,0-1-1 0 0,-2 1 1 0 0,-1 0 0 0 0,0 0-1 0 0,-1 31 1 0 0,1 1-3400 0 0,-1-25-2721 0 0</inkml:trace>
</inkml:ink>
</file>

<file path=ppt/ink/ink3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38.269"/>
    </inkml:context>
    <inkml:brush xml:id="br0">
      <inkml:brushProperty name="width" value="0.1" units="cm"/>
      <inkml:brushProperty name="height" value="0.1" units="cm"/>
      <inkml:brushProperty name="color" value="#008C3A"/>
    </inkml:brush>
  </inkml:definitions>
  <inkml:trace contextRef="#ctx0" brushRef="#br0">5 482 244 0 0,'0'-3'1555'0'0,"-1"-4"-689"0"0,0 3-313 0 0,0 1 0 0 0,0-1 0 0 0,1 1 0 0 0,0 0 0 0 0,0-1 0 0 0,0 1 0 0 0,0-1 0 0 0,0 1 0 0 0,1-5 0 0 0,0 6-173 0 0,2 3-22 0 0,3 1-242 0 0,0 0 0 0 0,1 0 0 0 0,-2 1 0 0 0,1 0-1 0 0,0 1 1 0 0,0-1 0 0 0,-1 1 0 0 0,0 0 0 0 0,0 0 0 0 0,0 1 0 0 0,0-1 0 0 0,-1 1 0 0 0,4 5 0 0 0,1 2-29 0 0,0 1 1 0 0,-1-1-1 0 0,-1 1 1 0 0,11 27-1 0 0,-15-34-67 0 0,-2 1-1 0 0,1-1 1 0 0,-1 1 0 0 0,0-1-1 0 0,-1 1 1 0 0,1 0 0 0 0,-1 0 0 0 0,-1-1-1 0 0,1 1 1 0 0,-1 0 0 0 0,0-1-1 0 0,-1 1 1 0 0,1-1 0 0 0,-1 1-1 0 0,-6 11 1 0 0,5-11 45 0 0,-1 1 0 0 0,0-1-1 0 0,0 0 1 0 0,-1-1 0 0 0,1 1 0 0 0,-2-1 0 0 0,1 0-1 0 0,-1 0 1 0 0,0-1 0 0 0,0 1 0 0 0,0-1 0 0 0,-12 6-1 0 0,16-10-19 0 0,0 0-1 0 0,0 0 1 0 0,0-1-1 0 0,0 1 1 0 0,0-1-1 0 0,0 0 1 0 0,-1 0-1 0 0,1 0 1 0 0,0 0-1 0 0,-4 0 1 0 0,6 0-41 0 0,-1 0 1 0 0,0 0-1 0 0,1 0 1 0 0,-1 0-1 0 0,1 0 1 0 0,-1-1-1 0 0,0 1 1 0 0,1 0-1 0 0,-1 0 1 0 0,1 0 0 0 0,-1-1-1 0 0,0 1 1 0 0,1 0-1 0 0,-1 0 1 0 0,1-1-1 0 0,-1 1 1 0 0,1 0-1 0 0,-1-1 1 0 0,1 1-1 0 0,0-1 1 0 0,-1 1-1 0 0,1-1 1 0 0,-1 1-1 0 0,1-1 1 0 0,0 1-1 0 0,0-1 1 0 0,-1 1-1 0 0,1-1 1 0 0,0 1-1 0 0,0-1 1 0 0,-1 0-1 0 0,1 1 1 0 0,0-1 0 0 0,0 1-1 0 0,0-1 1 0 0,0 0-1 0 0,0 1 1 0 0,0-1-1 0 0,0 1 1 0 0,0-2-1 0 0,3-4-5 0 0,-1 0 0 0 0,1 0-1 0 0,0 1 1 0 0,0-1 0 0 0,1 1 0 0 0,0 0 0 0 0,0 0-1 0 0,0 0 1 0 0,0 1 0 0 0,1-1 0 0 0,0 1-1 0 0,0 0 1 0 0,0 1 0 0 0,0-1 0 0 0,1 1-1 0 0,5-3 1 0 0,10-5-9 0 0,-1 2 0 0 0,2 0-1 0 0,27-7 1 0 0,172-33-40 0 0,-90 22 67 0 0,-117 24 18 0 0,-1-1 0 0 0,0 0 0 0 0,0-1 0 0 0,0-1 0 0 0,0 0 0 0 0,-1 0 0 0 0,0-1 0 0 0,16-13 0 0 0,-24 17-30 0 0,-1 0-1 0 0,1 0 1 0 0,-1 0 0 0 0,0 0-1 0 0,0 0 1 0 0,-1 0 0 0 0,1-1 0 0 0,-1 0-1 0 0,0 1 1 0 0,0-1 0 0 0,0 0 0 0 0,0 0-1 0 0,0 0 1 0 0,-1 0 0 0 0,0 0-1 0 0,0-1 1 0 0,0 1 0 0 0,0 0 0 0 0,-1-1-1 0 0,0 1 1 0 0,0 0 0 0 0,0-1-1 0 0,0 1 1 0 0,-1 0 0 0 0,1 0 0 0 0,-1-1-1 0 0,0 1 1 0 0,-1 0 0 0 0,1 0-1 0 0,-4-7 1 0 0,4 8-1 0 0,-1 0 1 0 0,1 0-1 0 0,-1 1 0 0 0,0-1 0 0 0,0 0 0 0 0,0 1 1 0 0,0 0-1 0 0,0-1 0 0 0,0 1 0 0 0,-1 0 0 0 0,1 0 1 0 0,-1 1-1 0 0,1-1 0 0 0,-1 0 0 0 0,0 1 0 0 0,0-1 1 0 0,-4 0-1 0 0,2 0 21 0 0,0 1 1 0 0,0 1-1 0 0,0-1 1 0 0,0 1-1 0 0,0-1 0 0 0,0 2 1 0 0,-1-1-1 0 0,1 0 1 0 0,0 1-1 0 0,-5 1 1 0 0,-2 2 44 0 0,-1 0 1 0 0,1 1-1 0 0,0 0 1 0 0,1 1-1 0 0,-1 0 1 0 0,1 0-1 0 0,-17 15 1 0 0,21-16-13 0 0,0 1 0 0 0,1 0 0 0 0,0 1 0 0 0,0 0 0 0 0,1 0 0 0 0,-1 0 0 0 0,1 1 0 0 0,1-1 1 0 0,0 1-1 0 0,0 0 0 0 0,0 0 0 0 0,1 1 0 0 0,-2 9 0 0 0,3-10 23 0 0,1-1 0 0 0,0 0 0 0 0,1 1 0 0 0,-1 0 0 0 0,2-1 0 0 0,-1 1 0 0 0,1-1 0 0 0,0 1 0 0 0,1-1 1 0 0,-1 0-1 0 0,2 1 0 0 0,-1-1 0 0 0,1 0 0 0 0,0 0 0 0 0,7 11 0 0 0,-3-7-47 0 0,1 0 0 0 0,0 0-1 0 0,0-1 1 0 0,1 0 0 0 0,1 0 0 0 0,0-1 0 0 0,0 0 0 0 0,0-1-1 0 0,1 0 1 0 0,1-1 0 0 0,-1 0 0 0 0,1-1 0 0 0,0 0 0 0 0,1-1 0 0 0,-1 0-1 0 0,1-1 1 0 0,0-1 0 0 0,0 0 0 0 0,0 0 0 0 0,21 0 0 0 0,-17-2 1 0 0,-1-1 1 0 0,0-1-1 0 0,0 0 0 0 0,0-1 1 0 0,0-1-1 0 0,0-1 1 0 0,0 0-1 0 0,-1-1 0 0 0,0 0 1 0 0,0-2-1 0 0,0 0 1 0 0,-1 0-1 0 0,0-1 0 0 0,0-1 1 0 0,-1 0-1 0 0,22-20 1 0 0,-14 7-38 0 0,0-1 0 0 0,-2 0 0 0 0,-1-1 1 0 0,-1-1-1 0 0,-1-1 0 0 0,18-38 0 0 0,-16 23 0 0 0,-2-1-1 0 0,-2 0 1 0 0,15-76-1 0 0,-23 89 5 0 0,1-39 0 0 0,-7 56-13 0 0,0 0 1 0 0,0 0 0 0 0,-1 0 0 0 0,-1 1-1 0 0,0-1 1 0 0,-3-12 0 0 0,4 22 7 0 0,1 0-1 0 0,-1 0 1 0 0,0 0 0 0 0,0-1 0 0 0,1 1-1 0 0,-1 0 1 0 0,0 0 0 0 0,-1 1 0 0 0,1-1 0 0 0,0 0-1 0 0,-1 0 1 0 0,1 1 0 0 0,-1-1 0 0 0,1 0-1 0 0,-1 1 1 0 0,0-1 0 0 0,0 1 0 0 0,1 0-1 0 0,-1 0 1 0 0,0 0 0 0 0,0 0 0 0 0,-3-1-1 0 0,3 2 11 0 0,-1 0 0 0 0,1 0-1 0 0,-1 0 1 0 0,1 0-1 0 0,-1 0 1 0 0,1 1 0 0 0,-1-1-1 0 0,1 1 1 0 0,-1-1 0 0 0,1 1-1 0 0,-1 0 1 0 0,1 0-1 0 0,0 0 1 0 0,0 1 0 0 0,-1-1-1 0 0,-1 2 1 0 0,-6 5 41 0 0,0 0-1 0 0,1 1 1 0 0,0 0 0 0 0,0 1 0 0 0,1 0-1 0 0,-9 13 1 0 0,1 4 12 0 0,1 0 0 0 0,2 1 0 0 0,0 1 0 0 0,2 0 1 0 0,2 0-1 0 0,0 1 0 0 0,2 1 0 0 0,1-1 0 0 0,-3 52 0 0 0,7-48-26 0 0,2 0 0 0 0,2 0 0 0 0,1 0 0 0 0,1 0 0 0 0,2-1 0 0 0,1 0 0 0 0,2 0 0 0 0,22 53 0 0 0,-26-74-26 0 0,0 0 1 0 0,2-1 0 0 0,-1 1-1 0 0,1-2 1 0 0,1 1-1 0 0,0-1 1 0 0,0 0 0 0 0,1-1-1 0 0,1 0 1 0 0,17 14-1 0 0,-21-19-13 0 0,0 0 0 0 0,1-1-1 0 0,-1 1 1 0 0,1-1 0 0 0,-1-1-1 0 0,1 0 1 0 0,0 1 0 0 0,0-2-1 0 0,0 1 1 0 0,0-1 0 0 0,1 0-1 0 0,-1-1 1 0 0,0 0 0 0 0,0 0-1 0 0,1 0 1 0 0,-1-1 0 0 0,0 0-1 0 0,0-1 1 0 0,0 1 0 0 0,11-5-1 0 0,0-2-49 0 0,-1 0 0 0 0,0-1-1 0 0,0-1 1 0 0,-1 0-1 0 0,-1-1 1 0 0,0-1 0 0 0,0-1-1 0 0,17-18 1 0 0,-16 13 20 0 0,0 0 1 0 0,-1-2 0 0 0,-2 1-1 0 0,1-2 1 0 0,-2 0-1 0 0,11-27 1 0 0,-20 41 18 0 0,-1 0-1 0 0,1 0 1 0 0,-2 0-1 0 0,1-1 1 0 0,1-14 0 0 0,-3 20 10 0 0,0-1 0 0 0,0 0 1 0 0,0 0-1 0 0,0 1 0 0 0,-1-1 1 0 0,1 0-1 0 0,-1 0 0 0 0,0 1 1 0 0,1-1-1 0 0,-1 1 0 0 0,0-1 1 0 0,-1 0-1 0 0,1 1 0 0 0,0 0 1 0 0,-1-1-1 0 0,1 1 0 0 0,-1 0 1 0 0,-2-3-1 0 0,1 4 0 0 0,1-1 0 0 0,-1 1 0 0 0,0 0 0 0 0,1 0 0 0 0,-1 0 0 0 0,0 0 0 0 0,0 0 0 0 0,1 1-1 0 0,-1-1 1 0 0,0 1 0 0 0,0 0 0 0 0,0 0 0 0 0,0 0 0 0 0,-4 1 0 0 0,6-1 7 0 0,-3 0-2 0 0,1 0 0 0 0,-1 1 1 0 0,1 0-1 0 0,-1 0 0 0 0,1 0 0 0 0,-1 0 0 0 0,1 0 1 0 0,0 0-1 0 0,0 1 0 0 0,-1 0 0 0 0,1 0 1 0 0,0 0-1 0 0,1 0 0 0 0,-1 0 0 0 0,0 0 0 0 0,1 1 1 0 0,-1-1-1 0 0,1 1 0 0 0,0 0 0 0 0,0 0 0 0 0,0 0 1 0 0,0 0-1 0 0,0 0 0 0 0,0 0 0 0 0,1 0 0 0 0,0 1 1 0 0,0-1-1 0 0,0 0 0 0 0,0 1 0 0 0,0-1 1 0 0,1 1-1 0 0,-1 3 0 0 0,1-5-41 0 0,1-1-1 0 0,-1 0 1 0 0,0 0-1 0 0,1 1 1 0 0,-1-1 0 0 0,1 0-1 0 0,-1 0 1 0 0,1 0-1 0 0,0 0 1 0 0,-1 0 0 0 0,1 0-1 0 0,0 0 1 0 0,0 0-1 0 0,0 0 1 0 0,0 0 0 0 0,0 0-1 0 0,0 0 1 0 0,0-1-1 0 0,0 1 1 0 0,0 0 0 0 0,0-1-1 0 0,0 1 1 0 0,1-1-1 0 0,-1 1 1 0 0,0-1 0 0 0,0 0-1 0 0,1 1 1 0 0,-1-1-1 0 0,2 0 1 0 0,31 4-546 0 0,-33-4 585 0 0,19 0-274 0 0,-17 0 153 0 0,2 0-7 0 0,-2 0 131 0 0,1 0-1 0 0,-1 0 0 0 0,0 1 1 0 0,1-1-1 0 0,-1 1 1 0 0,0 0-1 0 0,0 0 1 0 0,1 0-1 0 0,-1 1 1 0 0,0-1-1 0 0,0 1 1 0 0,-1-1-1 0 0,1 1 1 0 0,0 0-1 0 0,0 0 0 0 0,-1 1 1 0 0,1-1-1 0 0,-1 0 1 0 0,0 1-1 0 0,4 4 1 0 0,8 12 368 0 0,0-1 0 0 0,2 0 1 0 0,0-1-1 0 0,35 27 0 0 0,-41-36-297 0 0,0-1 0 0 0,1 0 0 0 0,0-1 0 0 0,0 0-1 0 0,0 0 1 0 0,1-1 0 0 0,0-1 0 0 0,0 0-1 0 0,0-1 1 0 0,21 3 0 0 0,-26-5-105 0 0,1-1 1 0 0,-1 0-1 0 0,1 0 1 0 0,-1-1-1 0 0,0 0 1 0 0,1 0-1 0 0,-1-1 1 0 0,0 1-1 0 0,0-2 1 0 0,0 1-1 0 0,0-1 1 0 0,-1 0-1 0 0,1-1 0 0 0,-1 1 1 0 0,12-10-1 0 0,-11 7-85 0 0,0 0-1 0 0,-1-1 1 0 0,1 0-1 0 0,-1-1 1 0 0,-1 0-1 0 0,1 1 1 0 0,-1-2-1 0 0,-1 1 1 0 0,0 0-1 0 0,0-1 1 0 0,0 0-1 0 0,2-9 1 0 0,19-89-511 0 0,18-169 0 0 0,-13 67 1380 0 0,-26 181-492 0 0,7-28 200 0 0,-6 47 111 0 0,-1 12 11 0 0,-2 18 80 0 0,19 279 1200 0 0,-3-87-1599 0 0,-16-152-1306 0 0,-8 91-1 0 0,4-128-15 0 0,-3 32-816 0 0,4-52 1121 0 0,0 0 0 0 0,0 0 1 0 0,0 0-1 0 0,-1 0 0 0 0,1 0 0 0 0,-1 0 1 0 0,0 0-1 0 0,0 0 0 0 0,-4 6 1 0 0</inkml:trace>
</inkml:ink>
</file>

<file path=ppt/ink/ink3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38.657"/>
    </inkml:context>
    <inkml:brush xml:id="br0">
      <inkml:brushProperty name="width" value="0.1" units="cm"/>
      <inkml:brushProperty name="height" value="0.1" units="cm"/>
      <inkml:brushProperty name="color" value="#008C3A"/>
    </inkml:brush>
  </inkml:definitions>
  <inkml:trace contextRef="#ctx0" brushRef="#br0">4 340 140 0 0,'0'-1'408'0'0,"-1"-9"649"0"0,0 1-1 0 0,0-1 0 0 0,1 1 1 0 0,0-1-1 0 0,2-13 0 0 0,-1 19-915 0 0,0 1 1 0 0,0-1-1 0 0,1 0 0 0 0,-1 0 0 0 0,1 1 0 0 0,0-1 1 0 0,0 1-1 0 0,0 0 0 0 0,1 0 0 0 0,-1-1 1 0 0,1 1-1 0 0,0 1 0 0 0,0-1 0 0 0,0 0 0 0 0,0 1 1 0 0,4-3-1 0 0,9-5 76 0 0,0 1 0 0 0,1 0 1 0 0,0 1-1 0 0,1 1 0 0 0,34-10 0 0 0,97-13 502 0 0,-137 28-644 0 0,-2 0-21 0 0,0 0-1 0 0,0 1 1 0 0,0 1 0 0 0,1 0-1 0 0,-1 0 1 0 0,0 1-1 0 0,17 3 1 0 0,-8 2 337 0 0,-1 1 0 0 0,-1 0 1 0 0,20 11-1 0 0,-27-14-321 0 0,0 0 0 0 0,0 0 0 0 0,0-1 1 0 0,1 0-1 0 0,0-1 0 0 0,-1 0 0 0 0,1-1 0 0 0,0 0 1 0 0,0 0-1 0 0,0-1 0 0 0,0-1 0 0 0,0 0 0 0 0,13-3 1 0 0,-13 1-42 0 0,0 0 1 0 0,0 0-1 0 0,0-1 1 0 0,0-1 0 0 0,-1 0-1 0 0,14-8 1 0 0,-18 9-24 0 0,0 0 0 0 0,0 0 0 0 0,0-1 0 0 0,-1 0 0 0 0,0 0 0 0 0,0 0 0 0 0,0-1 0 0 0,-1 1 0 0 0,1-1 1 0 0,-1 0-1 0 0,3-7 0 0 0,-6 11-8 0 0,0 1 0 0 0,-1-1 0 0 0,1 1 0 0 0,0-1 0 0 0,-1 0 0 0 0,1 0 0 0 0,-1 1 0 0 0,0-1 0 0 0,1 0 0 0 0,-1 0 0 0 0,0 0 0 0 0,0 1 0 0 0,0-1 0 0 0,0 0 0 0 0,-1 0 0 0 0,1 1 0 0 0,0-1 0 0 0,-1 0 0 0 0,1 0 0 0 0,-1 1 0 0 0,0-1 0 0 0,1 0 0 0 0,-1 1 0 0 0,0-1 0 0 0,0 1 0 0 0,0-1 0 0 0,0 1 0 0 0,0-1 0 0 0,-1 1 0 0 0,1 0 0 0 0,0 0 0 0 0,-1-1 0 0 0,1 1 0 0 0,-1 0 0 0 0,1 0 0 0 0,-1 0 0 0 0,1 1 0 0 0,-1-1 0 0 0,-2-1 0 0 0,-2 0 49 0 0,0 0 0 0 0,-1 0 0 0 0,1 1 0 0 0,0 0 0 0 0,-1 0 0 0 0,1 0 0 0 0,-1 1 0 0 0,1 0 0 0 0,-13 1 0 0 0,6 2 29 0 0,0-1-1 0 0,1 1 1 0 0,-1 1-1 0 0,1 0 1 0 0,0 1-1 0 0,0 1 1 0 0,0-1-1 0 0,1 2 1 0 0,0 0-1 0 0,0 0 1 0 0,-13 12-1 0 0,19-15-49 0 0,1 1 1 0 0,-1-1-1 0 0,1 1 0 0 0,0 0 0 0 0,1 0 1 0 0,-1 1-1 0 0,1-1 0 0 0,0 1 0 0 0,0-1 1 0 0,1 1-1 0 0,-1 0 0 0 0,1 0 0 0 0,1 0 1 0 0,-1 1-1 0 0,1-1 0 0 0,0 0 0 0 0,1 1 1 0 0,-1-1-1 0 0,1 0 0 0 0,1 1 0 0 0,-1-1 1 0 0,1 0-1 0 0,0 1 0 0 0,0-1 0 0 0,3 7 1 0 0,1 0-418 0 0,0 0 0 0 0,0 0 0 0 0,2-1 0 0 0,-1 1 0 0 0,13 15 1 0 0,-13-20-1064 0 0,1 1 0 0 0,0-1 0 0 0,1-1 1 0 0,11 10-1 0 0,-4-7-3148 0 0</inkml:trace>
</inkml:ink>
</file>

<file path=ppt/ink/ink3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39.650"/>
    </inkml:context>
    <inkml:brush xml:id="br0">
      <inkml:brushProperty name="width" value="0.1" units="cm"/>
      <inkml:brushProperty name="height" value="0.1" units="cm"/>
      <inkml:brushProperty name="color" value="#008C3A"/>
    </inkml:brush>
  </inkml:definitions>
  <inkml:trace contextRef="#ctx0" brushRef="#br0">137 32 380 0 0,'22'-32'6022'0'0,"-19"33"-5843"0"0,0-1 0 0 0,-1 1 1 0 0,1 0-1 0 0,0-1 0 0 0,0 1 0 0 0,-1 0 1 0 0,1 1-1 0 0,-1-1 0 0 0,1 0 0 0 0,-1 1 1 0 0,0-1-1 0 0,1 1 0 0 0,-1 0 1 0 0,0 0-1 0 0,0 0 0 0 0,0 0 0 0 0,0 0 1 0 0,0 0-1 0 0,-1 1 0 0 0,1-1 0 0 0,-1 0 1 0 0,2 5-1 0 0,4 7 515 0 0,0 1-1 0 0,7 27 1 0 0,-11-32-371 0 0,7 24 482 0 0,-1 1 0 0 0,-2 0 0 0 0,-1 0 0 0 0,1 68 0 0 0,-7-82-612 0 0,-1 0 0 0 0,0 0 0 0 0,-2 0 0 0 0,0 0-1 0 0,-2-1 1 0 0,0 1 0 0 0,-1-1 0 0 0,-2 0 0 0 0,-14 29-1 0 0,16-38-87 0 0,-1-1 0 0 0,0 1 0 0 0,-1-1-1 0 0,0-1 1 0 0,0 1 0 0 0,-1-1-1 0 0,-1-1 1 0 0,-15 12 0 0 0,22-17-82 0 0,-1-1 0 0 0,1 0 0 0 0,0 0 0 0 0,-1 0 0 0 0,1-1 0 0 0,-1 1 0 0 0,1-1 0 0 0,-1 0 0 0 0,0 0 0 0 0,1 0 0 0 0,-1 0 0 0 0,0-1 0 0 0,0 1 0 0 0,0-1 0 0 0,1 0 0 0 0,-1 0 0 0 0,0-1 0 0 0,0 1 0 0 0,0-1 0 0 0,1 0 1 0 0,-1 0-1 0 0,0 0 0 0 0,1 0 0 0 0,-1-1 0 0 0,1 1 0 0 0,-1-1 0 0 0,1 0 0 0 0,0 0 0 0 0,-1 0 0 0 0,1-1 0 0 0,-5-4 0 0 0,6 4-20 0 0,0 1 1 0 0,0-1-1 0 0,0 0 1 0 0,0 0-1 0 0,1 0 0 0 0,-1 0 1 0 0,1 0-1 0 0,0 0 1 0 0,-1 0-1 0 0,2 0 1 0 0,-1-1-1 0 0,0 1 0 0 0,1 0 1 0 0,-1-1-1 0 0,1 1 1 0 0,0-1-1 0 0,0 1 1 0 0,0 0-1 0 0,1-1 0 0 0,-1 1 1 0 0,1 0-1 0 0,0-1 1 0 0,0 1-1 0 0,0 0 0 0 0,0 0 1 0 0,0-1-1 0 0,4-4 1 0 0,-2 3-15 0 0,0-1 1 0 0,0 1 0 0 0,0 0-1 0 0,1 0 1 0 0,-1 1-1 0 0,1-1 1 0 0,0 1-1 0 0,1 0 1 0 0,-1 0 0 0 0,1 0-1 0 0,0 1 1 0 0,0 0-1 0 0,0 0 1 0 0,0 0 0 0 0,6-2-1 0 0,-1 2-15 0 0,-1 2 1 0 0,1-1-1 0 0,0 1 0 0 0,0 1 0 0 0,-1 0 0 0 0,1 0 0 0 0,0 1 1 0 0,-1 0-1 0 0,1 1 0 0 0,18 5 0 0 0,-10-2-555 0 0,0 2-1 0 0,-1 0 0 0 0,0 1 1 0 0,0 0-1 0 0,-1 2 0 0 0,26 18 1 0 0,-23-13-2443 0 0,-1 1-1 0 0,24 27 1 0 0,-30-29-1635 0 0</inkml:trace>
</inkml:ink>
</file>

<file path=ppt/ink/ink3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40.307"/>
    </inkml:context>
    <inkml:brush xml:id="br0">
      <inkml:brushProperty name="width" value="0.1" units="cm"/>
      <inkml:brushProperty name="height" value="0.1" units="cm"/>
      <inkml:brushProperty name="color" value="#008C3A"/>
    </inkml:brush>
  </inkml:definitions>
  <inkml:trace contextRef="#ctx0" brushRef="#br0">22 18 348 0 0,'-1'-2'1814'0'0,"-7"-13"1209"0"0,8 15-2949 0 0,-1 0 1 0 0,1 0-1 0 0,0 0 1 0 0,0 0-1 0 0,-1 0 1 0 0,1 0 0 0 0,0 0-1 0 0,0 0 1 0 0,0 0-1 0 0,-1 0 1 0 0,1 0-1 0 0,0 0 1 0 0,0 0-1 0 0,-1 0 1 0 0,1 0 0 0 0,0 1-1 0 0,0-1 1 0 0,0 0-1 0 0,-1 0 1 0 0,1 0-1 0 0,0 0 1 0 0,0 0-1 0 0,0 1 1 0 0,-1-1 0 0 0,1 0-1 0 0,0 0 1 0 0,0 0-1 0 0,0 1 1 0 0,0-1-1 0 0,0 0 1 0 0,0 0 0 0 0,0 1-1 0 0,0-1 1 0 0,-1 0-1 0 0,1 1 1 0 0,-1 3 246 0 0,0 0 0 0 0,0 0-1 0 0,0 0 1 0 0,0 1 0 0 0,1-1 0 0 0,-1 6 0 0 0,2 6 35 0 0,1 0 0 0 0,0 0 0 0 0,1-1 0 0 0,0 1 0 0 0,1-1 0 0 0,8 18 0 0 0,0-2 169 0 0,34 55 0 0 0,-44-82-487 0 0,0-1 0 0 0,1 0 0 0 0,0 0 0 0 0,-1 0 0 0 0,1 0 0 0 0,0 0 0 0 0,1-1 0 0 0,-1 1 0 0 0,0-1 0 0 0,1 0 0 0 0,5 3 0 0 0,-5-3 40 0 0,-1-3 6 0 0,1 0-73 0 0,0 1 0 0 0,0-2-1 0 0,0 1 1 0 0,0 0 0 0 0,0-1 0 0 0,0 0 0 0 0,-1 0 0 0 0,1 0 0 0 0,-1 0 0 0 0,0-1 0 0 0,1 1 0 0 0,-1-1 0 0 0,0 0 0 0 0,3-3 0 0 0,1-1-69 0 0,-5 6 12 0 0,-2 0 36 0 0,0 1 0 0 0,0 0 1 0 0,1-1-1 0 0,-1 1 0 0 0,0 0 1 0 0,1-1-1 0 0,-1 1 0 0 0,0 0 1 0 0,1-1-1 0 0,-1 1 0 0 0,0 0 1 0 0,1-1-1 0 0,-1 1 1 0 0,1 0-1 0 0,-1 0 0 0 0,1 0 1 0 0,-1-1-1 0 0,0 1 0 0 0,1 0 1 0 0,-1 0-1 0 0,1 0 0 0 0,0 0 1 0 0,4 15-22 0 0,-2-6 21 0 0,1 0-1 0 0,-1-1 1 0 0,7 11 0 0 0,-6-13 121 0 0,0-1 0 0 0,1 1 0 0 0,0-2 0 0 0,-1 1 1 0 0,2 0-1 0 0,-1-1 0 0 0,0 0 0 0 0,1 0 1 0 0,0 0-1 0 0,0-1 0 0 0,0 0 0 0 0,0 0 0 0 0,0-1 1 0 0,1 1-1 0 0,-1-2 0 0 0,1 1 0 0 0,-1 0 1 0 0,1-1-1 0 0,0-1 0 0 0,11 1 0 0 0,-14-1-6 0 0,0-1-1 0 0,0 1 1 0 0,0-1-1 0 0,-1 0 1 0 0,1 0 0 0 0,0 0-1 0 0,-1 0 1 0 0,1-1-1 0 0,-1 0 1 0 0,1 1-1 0 0,-1-1 1 0 0,0-1 0 0 0,0 1-1 0 0,0 0 1 0 0,0-1-1 0 0,5-4 1 0 0,-5 3-32 0 0,1-1-1 0 0,-1 1 1 0 0,0 0 0 0 0,0-1 0 0 0,0 1 0 0 0,-1-1-1 0 0,1 0 1 0 0,-1 0 0 0 0,0 0 0 0 0,1-8-1 0 0,-2 4-62 0 0,0 1-1 0 0,-1-1 0 0 0,0 0 1 0 0,0 1-1 0 0,-1-1 0 0 0,0 1 0 0 0,0-1 1 0 0,-1 1-1 0 0,-1-1 0 0 0,1 1 1 0 0,-1 0-1 0 0,0 0 0 0 0,-1 0 0 0 0,0 0 1 0 0,0 1-1 0 0,-1 0 0 0 0,-8-11 1 0 0,3 6-489 0 0,0 1 0 0 0,-1 0 0 0 0,-19-16 1 0 0,16 16-1264 0 0,-1 1 0 0 0,-26-14 0 0 0,11 7-3677 0 0,19 10 1261 0 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9:02.836"/>
    </inkml:context>
    <inkml:brush xml:id="br0">
      <inkml:brushProperty name="width" value="0.08571" units="cm"/>
      <inkml:brushProperty name="height" value="0.08571" units="cm"/>
      <inkml:brushProperty name="color" value="#00A0D7"/>
    </inkml:brush>
  </inkml:definitions>
  <inkml:trace contextRef="#ctx0" brushRef="#br0">1 0 10501,'4'23'4767,"3"-5"-3238,18 3-899,-2-9-90,14 3-180,-4-4-1,6-2 181,28 2-360,-11-5-639,21 1 639,-18-5-90,1-2-829,0 0 739,0-3 90,-1 0 0,-5-1-450,16-2-440,-23 1 260,11-1-1784,-16-1 794,-13 2-894,2-2 2424,-16 2 0,-8 3 0,-2-1 0</inkml:trace>
</inkml:ink>
</file>

<file path=ppt/ink/ink3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40.653"/>
    </inkml:context>
    <inkml:brush xml:id="br0">
      <inkml:brushProperty name="width" value="0.1" units="cm"/>
      <inkml:brushProperty name="height" value="0.1" units="cm"/>
      <inkml:brushProperty name="color" value="#008C3A"/>
    </inkml:brush>
  </inkml:definitions>
  <inkml:trace contextRef="#ctx0" brushRef="#br0">0 228 624 0 0,'12'7'1132'0'0,"-1"0"-1"0"0,0 1 1 0 0,-1 1-1 0 0,0 0 1 0 0,0 0 0 0 0,-1 1-1 0 0,13 17 1 0 0,-14-15-722 0 0,-1-1 1 0 0,-1 1-1 0 0,0 0 1 0 0,-1 0 0 0 0,0 1-1 0 0,-1-1 1 0 0,5 24-1 0 0,-6-20-197 0 0,0 32 0 0 0,-3-7-3507 0 0,0-21-1224 0 0</inkml:trace>
  <inkml:trace contextRef="#ctx0" brushRef="#br0" timeOffset="1">121 96 328 0 0,'-9'-14'1508'0'0,"7"1"-456"0"0,-2 1-212 0 0,0 2-188 0 0,-3 2 284 0 0,-2-7-495 0 0,-1 1-701 0 0,3 5-1877 0 0</inkml:trace>
</inkml:ink>
</file>

<file path=ppt/ink/ink3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41.058"/>
    </inkml:context>
    <inkml:brush xml:id="br0">
      <inkml:brushProperty name="width" value="0.1" units="cm"/>
      <inkml:brushProperty name="height" value="0.1" units="cm"/>
      <inkml:brushProperty name="color" value="#008C3A"/>
    </inkml:brush>
  </inkml:definitions>
  <inkml:trace contextRef="#ctx0" brushRef="#br0">0 0 732 0 0,'31'64'6111'0'0,"-21"-37"-3946"0"0,10 48 1 0 0,15 72 1441 0 0,35 194-1566 0 0,-69-337-2252 0 0,3 56-2043 0 0,-4-55 1218 0 0,-1-1-1 0 0,1 1 0 0 0,-1-1 0 0 0,0 1 1 0 0,0-1-1 0 0,-3 7 0 0 0</inkml:trace>
</inkml:ink>
</file>

<file path=ppt/ink/ink3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6:41.386"/>
    </inkml:context>
    <inkml:brush xml:id="br0">
      <inkml:brushProperty name="width" value="0.1" units="cm"/>
      <inkml:brushProperty name="height" value="0.1" units="cm"/>
      <inkml:brushProperty name="color" value="#008C3A"/>
    </inkml:brush>
  </inkml:definitions>
  <inkml:trace contextRef="#ctx0" brushRef="#br0">25 111 16 0 0,'-3'-1'2083'0'0,"-13"-11"1400"0"0,10 3-786 0 0,7 9-2655 0 0,-1-1 1 0 0,0 1 0 0 0,0 0-1 0 0,1-1 1 0 0,-1 1 0 0 0,0 0-1 0 0,0-1 1 0 0,1 1 0 0 0,-1 0-1 0 0,0 0 1 0 0,1-1 0 0 0,-1 1-1 0 0,1 0 1 0 0,-1 0-1 0 0,0-1 1 0 0,1 1 0 0 0,-1 0-1 0 0,1 0 1 0 0,-1 0 0 0 0,0 0-1 0 0,1 0 1 0 0,-1 0 0 0 0,1 0-1 0 0,-1 0 1 0 0,1 0 0 0 0,-1 0-1 0 0,1 0 1 0 0,48-4 838 0 0,68-5 47 0 0,164-34 0 0 0,-147 16 251 0 0,-131 27-1129 0 0,0 0-1 0 0,0 0 1 0 0,1 0 0 0 0,-1 0 0 0 0,0 1 0 0 0,0-1 0 0 0,0 1 0 0 0,1 0 0 0 0,-1 0 0 0 0,0 0 0 0 0,0 0 0 0 0,0 0 0 0 0,0 1 0 0 0,-1-1 0 0 0,1 1 0 0 0,0 0 0 0 0,-1 0 0 0 0,1 0 0 0 0,-1 0 0 0 0,1 0 0 0 0,-1 1-1 0 0,0-1 1 0 0,0 1 0 0 0,0-1 0 0 0,0 1 0 0 0,-1 0 0 0 0,1 0 0 0 0,-1 0 0 0 0,0-1 0 0 0,2 5 0 0 0,1 5 179 0 0,0 1 1 0 0,0 0-1 0 0,-1 0 1 0 0,-1 0-1 0 0,2 23 0 0 0,-4 83 4258 0 0,2-121-4298 0 0,5-5-154 0 0,1 0 0 0 0,-1 1 0 0 0,1 0 0 0 0,1 1 0 0 0,-1 0 0 0 0,1 0 0 0 0,0 1 0 0 0,0 0 0 0 0,0 0 0 0 0,0 1 0 0 0,1 0 0 0 0,-1 1 0 0 0,1 0 0 0 0,16-1 0 0 0,-22 3-62 0 0,0 0 1 0 0,0 0-1 0 0,0 0 0 0 0,-1 0 0 0 0,1 1 1 0 0,0 0-1 0 0,0 0 0 0 0,-1 0 0 0 0,1 0 1 0 0,0 0-1 0 0,-1 1 0 0 0,1 0 0 0 0,-1-1 1 0 0,0 1-1 0 0,1 1 0 0 0,-1-1 1 0 0,0 0-1 0 0,0 1 0 0 0,-1-1 0 0 0,1 1 1 0 0,0 0-1 0 0,2 4 0 0 0,-4-5-224 0 0,1 1 0 0 0,-1-1 0 0 0,0 1-1 0 0,1 0 1 0 0,-1 0 0 0 0,0 0 0 0 0,-1-1 0 0 0,1 1-1 0 0,0 0 1 0 0,-1 0 0 0 0,0 0 0 0 0,1 0 0 0 0,-1 0-1 0 0,-1 0 1 0 0,1 0 0 0 0,0 0 0 0 0,-2 4 0 0 0,2-5 3 0 0,-13 35-7434 0 0</inkml:trace>
</inkml:ink>
</file>

<file path=ppt/ink/ink3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06.330"/>
    </inkml:context>
    <inkml:brush xml:id="br0">
      <inkml:brushProperty name="width" value="0.1" units="cm"/>
      <inkml:brushProperty name="height" value="0.1" units="cm"/>
      <inkml:brushProperty name="color" value="#008C3A"/>
    </inkml:brush>
  </inkml:definitions>
  <inkml:trace contextRef="#ctx0" brushRef="#br0">18 326 1184 0 0,'0'0'3236'0'0,"3"12"-476"0"0,19 39 169 0 0,26 94 0 0 0,-14-37-1678 0 0,85 257 261 0 0,-96-291 217 0 0,-22-72-1311 0 0,-17-12-150 0 0,7 2-234 0 0,1-1-1 0 0,0 1 0 0 0,1-2 0 0 0,-1 1 0 0 0,2-1 1 0 0,0 0-1 0 0,-10-20 0 0 0,7 12-14 0 0,-19-35-4 0 0,3-1 0 0 0,1-1-1 0 0,4-1 1 0 0,-27-114 0 0 0,41 133-37 0 0,1 1 1 0 0,2-1-1 0 0,2-61 0 0 0,3 72 0 0 0,1-1 1 0 0,1 2-1 0 0,2-1 0 0 0,0 0 0 0 0,18-44 0 0 0,-18 58 9 0 0,-1 0 0 0 0,2 0-1 0 0,-1 1 1 0 0,2-1 0 0 0,-1 2 0 0 0,1-1-1 0 0,1 1 1 0 0,0 0 0 0 0,1 1 0 0 0,15-13-1 0 0,-18 18 9 0 0,-1 0 0 0 0,0 0-1 0 0,1 0 1 0 0,0 1 0 0 0,0 0-1 0 0,0 1 1 0 0,0-1 0 0 0,0 2-1 0 0,1-1 1 0 0,-1 1 0 0 0,1 0 0 0 0,-1 0-1 0 0,1 1 1 0 0,-1 0 0 0 0,1 0-1 0 0,-1 1 1 0 0,1 0 0 0 0,-1 0-1 0 0,1 1 1 0 0,7 2 0 0 0,-5 0 9 0 0,1 0 1 0 0,-1 1-1 0 0,0 0 0 0 0,0 0 1 0 0,-1 1-1 0 0,1 0 1 0 0,-1 1-1 0 0,-1 0 1 0 0,1 1-1 0 0,-1 0 0 0 0,-1 0 1 0 0,1 0-1 0 0,-1 1 1 0 0,7 13-1 0 0,-10-16 8 0 0,0 1 1 0 0,-1 0-1 0 0,0 0 0 0 0,0 0 1 0 0,-1 0-1 0 0,0 0 0 0 0,0 1 0 0 0,-1-1 1 0 0,0 1-1 0 0,0-1 0 0 0,-1 1 1 0 0,0 0-1 0 0,0-1 0 0 0,0 1 1 0 0,-1-1-1 0 0,-1 1 0 0 0,1-1 1 0 0,-1 1-1 0 0,0-1 0 0 0,-1 0 0 0 0,0 0 1 0 0,-4 8-1 0 0,-2 0 13 0 0,-1 1 1 0 0,-1-2-1 0 0,0 1 0 0 0,-1-2 1 0 0,-1 1-1 0 0,0-2 0 0 0,0 0 1 0 0,-1 0-1 0 0,-1-1 0 0 0,0-1 1 0 0,-18 9-1 0 0,12-8-136 0 0,0-1 0 0 0,-1-1 1 0 0,0-1-1 0 0,-1-1 0 0 0,1-1 0 0 0,-1-1 1 0 0,0 0-1 0 0,-28 0 0 0 0,39-5-1258 0 0,0-1 0 0 0,1 0 0 0 0,-17-4 0 0 0,28 5 1281 0 0,0 0 1 0 0,-1-1-1 0 0,1 1 0 0 0,0 0 1 0 0,-1 0-1 0 0,1 0 1 0 0,0-1-1 0 0,0 1 0 0 0,-1 0 1 0 0,1 0-1 0 0,0-1 1 0 0,0 1-1 0 0,0 0 0 0 0,-1 0 1 0 0,1-1-1 0 0,0 1 0 0 0,0 0 1 0 0,0-1-1 0 0,0 1 1 0 0,0 0-1 0 0,-1-1 0 0 0,1 1 1 0 0,0 0-1 0 0,0-1 1 0 0,0 1-1 0 0,0 0 0 0 0,0-1 1 0 0,0 1-1 0 0,0-1 1 0 0,11-16-7161 0 0</inkml:trace>
</inkml:ink>
</file>

<file path=ppt/ink/ink3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06.800"/>
    </inkml:context>
    <inkml:brush xml:id="br0">
      <inkml:brushProperty name="width" value="0.1" units="cm"/>
      <inkml:brushProperty name="height" value="0.1" units="cm"/>
      <inkml:brushProperty name="color" value="#008C3A"/>
    </inkml:brush>
  </inkml:definitions>
  <inkml:trace contextRef="#ctx0" brushRef="#br0">0 27 1184 0 0,'16'2'587'0'0,"-1"0"0"0"0,-1 0 0 0 0,1 2 0 0 0,0 0-1 0 0,-1 0 1 0 0,1 2 0 0 0,-2-1 0 0 0,1 2 0 0 0,0 0 0 0 0,24 18 0 0 0,-26-16-381 0 0,0 1 0 0 0,-1 0 0 0 0,0 1 0 0 0,0 1 0 0 0,-1 0 0 0 0,-1 0 0 0 0,0 0 1 0 0,-1 2-1 0 0,0-1 0 0 0,-1 1 0 0 0,0 0 0 0 0,-1 0 0 0 0,-1 0 0 0 0,-1 1 0 0 0,0 0 1 0 0,5 30-1 0 0,-9-36 15 0 0,0-1 0 0 0,0 1 1 0 0,-1 0-1 0 0,0-1 0 0 0,0 0 0 0 0,-1 1 1 0 0,0-1-1 0 0,0 0 0 0 0,-1 0 1 0 0,-6 12-1 0 0,9-19-188 0 0,0-1-1 0 0,0 1 1 0 0,-1 0 0 0 0,1-1-1 0 0,-1 1 1 0 0,1-1 0 0 0,0 1-1 0 0,-1-1 1 0 0,1 1 0 0 0,-1-1-1 0 0,1 1 1 0 0,-1-1 0 0 0,1 1-1 0 0,-1-1 1 0 0,0 0 0 0 0,1 1-1 0 0,-1-1 1 0 0,0 1 0 0 0,-6-6 445 0 0,6 3-450 0 0,0 0 1 0 0,0 0 0 0 0,1 1-1 0 0,-1-1 1 0 0,1 0 0 0 0,-1 0-1 0 0,1 0 1 0 0,0 0 0 0 0,-1-3-1 0 0,2-1-6 0 0,0 1 0 0 0,1-1-1 0 0,-1 1 1 0 0,1-1 0 0 0,0 1 0 0 0,0 0-1 0 0,1 0 1 0 0,-1 0 0 0 0,1 0-1 0 0,6-7 1 0 0,4-6 17 0 0,22-19 0 0 0,-29 30-24 0 0,18-16 12 0 0,1 2-1 0 0,0 0 0 0 0,1 2 0 0 0,48-27 0 0 0,120-49-188 0 0,-187 92 143 0 0,-5 2 21 0 0,-1 0-1 0 0,1 1 0 0 0,-1-1 1 0 0,1 0-1 0 0,-1 1 0 0 0,1 0 0 0 0,-1-1 1 0 0,1 1-1 0 0,0 0 0 0 0,-1 0 0 0 0,1 0 1 0 0,0 0-1 0 0,-1 0 0 0 0,1 0 1 0 0,2 1-1 0 0,-3-1 17 0 0,-1 0-1 0 0,1 1 1 0 0,0-1 0 0 0,0 1 0 0 0,-1-1 0 0 0,1 1 0 0 0,0 0-1 0 0,-1-1 1 0 0,1 1 0 0 0,-1 0 0 0 0,1-1 0 0 0,0 1-1 0 0,-1 0 1 0 0,0 0 0 0 0,1-1 0 0 0,-1 1 0 0 0,1 0-1 0 0,-1 0 1 0 0,0 0 0 0 0,1 1 0 0 0,0 5 135 0 0,-1 0 0 0 0,1 0 0 0 0,-1 0 0 0 0,-1 0 0 0 0,-1 12 0 0 0,0 2-50 0 0,2-11-23 0 0,0-1 1 0 0,1 0-1 0 0,0 1 1 0 0,0-1-1 0 0,1 0 1 0 0,0 0-1 0 0,1 0 1 0 0,7 17-1 0 0,-8-21-15 0 0,1-1-1 0 0,0 0 0 0 0,0 1 0 0 0,0-1 1 0 0,1-1-1 0 0,0 1 0 0 0,-1 0 0 0 0,1-1 1 0 0,0 0-1 0 0,1 1 0 0 0,-1-2 0 0 0,0 1 0 0 0,1 0 1 0 0,0-1-1 0 0,-1 0 0 0 0,1 0 0 0 0,10 2 1 0 0,-7-2 3 0 0,1-1 0 0 0,-1 1 1 0 0,1-2-1 0 0,0 1 1 0 0,0-1-1 0 0,-1 0 0 0 0,1-1 1 0 0,0 0-1 0 0,-1-1 0 0 0,1 1 1 0 0,-1-2-1 0 0,1 1 1 0 0,-1-1-1 0 0,0-1 0 0 0,0 1 1 0 0,13-9-1 0 0,-16 9-41 0 0,-1 0 0 0 0,1-1 0 0 0,-1 1 0 0 0,1-1 0 0 0,-1 0-1 0 0,-1-1 1 0 0,1 1 0 0 0,0-1 0 0 0,-1 1 0 0 0,0-1 0 0 0,0 0 0 0 0,-1 0 0 0 0,1 0 0 0 0,-1-1 0 0 0,0 1 0 0 0,0-1-1 0 0,-1 1 1 0 0,0-1 0 0 0,0 0 0 0 0,0 1 0 0 0,0-1 0 0 0,-1 0 0 0 0,0 1 0 0 0,-1-1 0 0 0,1 0 0 0 0,-3-8 0 0 0,2 6-7 0 0,-2 0 1 0 0,1 1-1 0 0,-1-1 1 0 0,-1 1-1 0 0,1 0 1 0 0,-1 0-1 0 0,0 0 1 0 0,-1 0-1 0 0,0 1 1 0 0,0-1 0 0 0,0 1-1 0 0,-1 1 1 0 0,0-1-1 0 0,0 1 1 0 0,0 0-1 0 0,-1 0 1 0 0,1 1-1 0 0,-1 0 1 0 0,0 0 0 0 0,0 0-1 0 0,-9-2 1 0 0,5 2-471 0 0,0 0 1 0 0,0 1-1 0 0,-1 0 1 0 0,0 1-1 0 0,-23-1 1 0 0,24 3-909 0 0,0 0-1 0 0,0 1 1 0 0,1 0 0 0 0,-1 0 0 0 0,0 2 0 0 0,-15 4 0 0 0,7 0-4917 0 0</inkml:trace>
</inkml:ink>
</file>

<file path=ppt/ink/ink3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07.565"/>
    </inkml:context>
    <inkml:brush xml:id="br0">
      <inkml:brushProperty name="width" value="0.1" units="cm"/>
      <inkml:brushProperty name="height" value="0.1" units="cm"/>
      <inkml:brushProperty name="color" value="#008C3A"/>
    </inkml:brush>
  </inkml:definitions>
  <inkml:trace contextRef="#ctx0" brushRef="#br0">17 30 172 0 0,'-11'-29'6662'0'0,"6"39"-5272"0"0,5-5-1166 0 0,-1 1 0 0 0,2-1 1 0 0,-1 1-1 0 0,0-1 0 0 0,1 1 0 0 0,0-1 0 0 0,0 1 1 0 0,4 7-1 0 0,-1 6 210 0 0,16 56 1581 0 0,54 137 0 0 0,-7-28-487 0 0,-32-67 1632 0 0,-36-105-1886 0 0,-6-14-375 0 0,6 1-860 0 0,-1 0 0 0 0,1 0 0 0 0,0 0 0 0 0,0 0 0 0 0,0-1 0 0 0,0 1 0 0 0,0 0 0 0 0,0-1 0 0 0,0 1 0 0 0,0 0 0 0 0,0-1 0 0 0,0-2 0 0 0,-1-4 3 0 0,2 0-1 0 0,-1-1 1 0 0,1 1-1 0 0,0-1 1 0 0,1 1-1 0 0,0 0 1 0 0,0-1-1 0 0,1 1 1 0 0,0 0-1 0 0,0 0 1 0 0,1 0-1 0 0,0 0 1 0 0,1 0 0 0 0,-1 1-1 0 0,2-1 1 0 0,5-7-1 0 0,-3 4-50 0 0,2 0 0 0 0,-1 0 0 0 0,2 1-1 0 0,-1 0 1 0 0,1 1 0 0 0,0 0 0 0 0,1 0 0 0 0,0 1-1 0 0,15-7 1 0 0,-16 10 14 0 0,0 0-1 0 0,1 1 1 0 0,-1 1-1 0 0,1 0 1 0 0,0 0 0 0 0,0 1-1 0 0,0 1 1 0 0,0 0-1 0 0,0 0 1 0 0,18 2-1 0 0,-23-1-4 0 0,0 1-1 0 0,0 0 1 0 0,0 0 0 0 0,0 0-1 0 0,-1 0 1 0 0,1 1-1 0 0,-1 0 1 0 0,1 1-1 0 0,-1-1 1 0 0,0 1 0 0 0,1 0-1 0 0,-2 0 1 0 0,1 1-1 0 0,0-1 1 0 0,-1 1-1 0 0,1 0 1 0 0,-1 0-1 0 0,0 1 1 0 0,0-1 0 0 0,-1 1-1 0 0,5 7 1 0 0,-6-8-12 0 0,0 0 0 0 0,-1 0 1 0 0,1-1-1 0 0,-1 1 1 0 0,0 0-1 0 0,0 0 0 0 0,-1 0 1 0 0,1 1-1 0 0,-1-1 0 0 0,0 0 1 0 0,0 0-1 0 0,0 0 0 0 0,0 0 1 0 0,-3 8-1 0 0,2-6 28 0 0,-2 0-1 0 0,1 0 0 0 0,-1 0 1 0 0,0 0-1 0 0,0 0 1 0 0,0-1-1 0 0,-1 1 1 0 0,-7 8-1 0 0,2-5-173 0 0,-1 1 0 0 0,0-2-1 0 0,0 1 1 0 0,-1-2 0 0 0,0 1 0 0 0,0-2-1 0 0,0 1 1 0 0,-23 8 0 0 0,25-12-812 0 0,0 0 0 0 0,-1 0 1 0 0,0-1-1 0 0,-11 1 1 0 0,-15-3-7301 0 0</inkml:trace>
</inkml:ink>
</file>

<file path=ppt/ink/ink3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08.566"/>
    </inkml:context>
    <inkml:brush xml:id="br0">
      <inkml:brushProperty name="width" value="0.1" units="cm"/>
      <inkml:brushProperty name="height" value="0.1" units="cm"/>
      <inkml:brushProperty name="color" value="#008C3A"/>
    </inkml:brush>
  </inkml:definitions>
  <inkml:trace contextRef="#ctx0" brushRef="#br0">143 236 416 0 0,'1'-8'913'0'0,"1"3"-401"0"0,0-1 0 0 0,-1 1 1 0 0,0-1-1 0 0,0 0 0 0 0,-1 1 0 0 0,1-1 0 0 0,-1 0 0 0 0,0 0 0 0 0,-1 1 0 0 0,0-1 1 0 0,-1-7-1 0 0,1 12-457 0 0,1 0 1 0 0,0 0 0 0 0,-1 1 0 0 0,1-1-1 0 0,-1 0 1 0 0,1 1 0 0 0,-1-1 0 0 0,0 0-1 0 0,1 1 1 0 0,-1-1 0 0 0,1 1 0 0 0,-1-1-1 0 0,0 1 1 0 0,0-1 0 0 0,1 1 0 0 0,-1 0-1 0 0,0-1 1 0 0,0 1 0 0 0,1 0-1 0 0,-1 0 1 0 0,0-1 0 0 0,0 1 0 0 0,0 0-1 0 0,0 0 1 0 0,1 0 0 0 0,-1 0 0 0 0,0 0-1 0 0,0 0 1 0 0,0 0 0 0 0,0 0 0 0 0,1 1-1 0 0,-1-1 1 0 0,0 0 0 0 0,0 0 0 0 0,0 1-1 0 0,1-1 1 0 0,-2 1 0 0 0,-2 0 54 0 0,1 1 1 0 0,0 0 0 0 0,-1 0-1 0 0,1 0 1 0 0,0 1-1 0 0,-4 3 1 0 0,-3 4 100 0 0,1 0 0 0 0,0 1 0 0 0,1 0 0 0 0,1 0 0 0 0,0 1 0 0 0,0 0 0 0 0,1 1 0 0 0,0-1 0 0 0,-6 24 0 0 0,9-26-131 0 0,0 0 1 0 0,1 0-1 0 0,1 0 0 0 0,0 1 0 0 0,0-1 1 0 0,1 0-1 0 0,0 0 0 0 0,1 1 0 0 0,0-1 1 0 0,1 0-1 0 0,0 0 0 0 0,0 0 0 0 0,7 17 1 0 0,-7-24-55 0 0,-1 0 1 0 0,0-1-1 0 0,1 1 0 0 0,0 0 1 0 0,-1-1-1 0 0,1 0 1 0 0,0 1-1 0 0,0-1 1 0 0,1 0-1 0 0,-1 0 1 0 0,0 0-1 0 0,1 0 1 0 0,-1-1-1 0 0,1 1 0 0 0,0-1 1 0 0,-1 1-1 0 0,1-1 1 0 0,0 0-1 0 0,5 1 1 0 0,-5-1-35 0 0,-1-1 0 0 0,0 0-1 0 0,0 0 1 0 0,0 0 0 0 0,0 0 0 0 0,0 0 0 0 0,0-1 0 0 0,1 1 0 0 0,-1 0 0 0 0,0-1 0 0 0,0 0 0 0 0,0 0-1 0 0,0 1 1 0 0,0-1 0 0 0,-1 0 0 0 0,1 0 0 0 0,0-1 0 0 0,0 1 0 0 0,-1 0 0 0 0,1-1 0 0 0,0 1-1 0 0,-1-1 1 0 0,0 1 0 0 0,1-1 0 0 0,-1 0 0 0 0,0 1 0 0 0,0-1 0 0 0,0 0 0 0 0,1-2 0 0 0,3-7-160 0 0,-1 0 1 0 0,-1 0-1 0 0,4-15 1 0 0,3-11-320 0 0,-9 34 373 0 0,1 4-10 0 0,-1 0 149 0 0,1 0 0 0 0,-1 1-1 0 0,1-1 1 0 0,-1 0 0 0 0,0 0 0 0 0,0 1 0 0 0,0-1 0 0 0,1 1-1 0 0,-1-1 1 0 0,-1 1 0 0 0,1 0 0 0 0,1 2 0 0 0,3 3 135 0 0,5 6 79 0 0,1-1 0 0 0,0-1 0 0 0,1 0 0 0 0,0 0 0 0 0,1-1 0 0 0,0-1 0 0 0,0 0 1 0 0,1-1-1 0 0,0 0 0 0 0,1-1 0 0 0,23 8 0 0 0,-28-12-134 0 0,0 0 1 0 0,0-1-1 0 0,1 0 0 0 0,0-1 0 0 0,-1 0 1 0 0,1 0-1 0 0,0-1 0 0 0,12-2 1 0 0,-16 1-69 0 0,0-1 0 0 0,0 1 1 0 0,0-1-1 0 0,0-1 1 0 0,0 1-1 0 0,0-1 1 0 0,-1 0-1 0 0,1-1 1 0 0,-1 0-1 0 0,0 0 0 0 0,0 0 1 0 0,9-9-1 0 0,-10 7-25 0 0,0 0-1 0 0,0 0 0 0 0,-1-1 1 0 0,0 1-1 0 0,0-1 1 0 0,0 0-1 0 0,-1 0 1 0 0,0-1-1 0 0,-1 1 0 0 0,0-1 1 0 0,0 1-1 0 0,0-1 1 0 0,-1 0-1 0 0,0 1 0 0 0,-1-1 1 0 0,0-13-1 0 0,-2-13-35 0 0,-1 1 0 0 0,-12-51 0 0 0,10 63 21 0 0,-25-152-318 0 0,30 173 316 0 0,0 0 0 0 0,0 0 0 0 0,0-1 0 0 0,-1 1 0 0 0,1 0 0 0 0,0 0 0 0 0,0-1 0 0 0,0 1 0 0 0,0 0 0 0 0,0-1 0 0 0,0 1 0 0 0,0 0 0 0 0,-1 0-1 0 0,1-1 1 0 0,0 1 0 0 0,0 0 0 0 0,0-1 0 0 0,0 1 0 0 0,0 0 0 0 0,1-1 0 0 0,-1 1 0 0 0,0 0 0 0 0,0-1 0 0 0,0 1 0 0 0,0 0 0 0 0,0 0 0 0 0,0-1 0 0 0,0 1 0 0 0,1 0 0 0 0,-1-1 0 0 0,0 1 0 0 0,0 0-1 0 0,0 0 1 0 0,1-1 0 0 0,-1 1 0 0 0,8 11-17 0 0,7 24 232 0 0,52 154 1005 0 0,-34-97 2792 0 0,-32-90-3480 0 0,1-3-131 0 0,9-5-125 0 0,-1 0 0 0 0,16-13 0 0 0,19-10-130 0 0,-27 19-128 0 0,1 2 0 0 0,1 0 0 0 0,0 1 1 0 0,0 0-1 0 0,31-4 0 0 0,-41 9-11 0 0,0 1 0 0 0,0 0 0 0 0,1 0 0 0 0,-1 1 0 0 0,0 1 0 0 0,1 0 0 0 0,-1 0 0 0 0,0 1 1 0 0,0 0-1 0 0,0 1 0 0 0,0 0 0 0 0,0 1 0 0 0,10 5 0 0 0,-18-8 0 0 0,0-1-1 0 0,0 1 1 0 0,0 0-1 0 0,-1 0 1 0 0,1 0 0 0 0,0 0-1 0 0,-1 0 1 0 0,1 1 0 0 0,-1-1-1 0 0,0 0 1 0 0,1 1 0 0 0,-1-1-1 0 0,0 1 1 0 0,0-1-1 0 0,0 1 1 0 0,0 0 0 0 0,0 0-1 0 0,0-1 1 0 0,0 1 0 0 0,-1 0-1 0 0,1 0 1 0 0,-1 0-1 0 0,1 0 1 0 0,-1 0 0 0 0,0-1-1 0 0,1 1 1 0 0,-1 0 0 0 0,0 0-1 0 0,0 0 1 0 0,-1 0 0 0 0,1 0-1 0 0,0 0 1 0 0,-1 0-1 0 0,1 0 1 0 0,-1 0 0 0 0,1 0-1 0 0,-1-1 1 0 0,0 1 0 0 0,0 0-1 0 0,0 0 1 0 0,0-1 0 0 0,0 1-1 0 0,-1 1 1 0 0,-4 4 8 0 0,0-1-1 0 0,0 1 1 0 0,0-1 0 0 0,-1 0 0 0 0,1-1 0 0 0,-1 1-1 0 0,-1-1 1 0 0,-9 5 0 0 0,-3-1-155 0 0,1 0 0 0 0,-2-2 0 0 0,-37 10 0 0 0,43-13-1151 0 0,-1-2 1 0 0,-31 2-1 0 0,27-7-1219 0 0,16 1 1964 0 0,3 1 243 0 0,0 1 0 0 0,-1 0 0 0 0,1-1 0 0 0,0 0-1 0 0,0 1 1 0 0,0-1 0 0 0,0 0 0 0 0,1 1 0 0 0,-1-1-1 0 0,0 0 1 0 0,0 0 0 0 0,0 0 0 0 0,0 0 0 0 0,1 0 0 0 0,-1 0-1 0 0,1 0 1 0 0,-1 0 0 0 0,0 0 0 0 0,1 0 0 0 0,0 0 0 0 0,-1 0-1 0 0,1-1 1 0 0,0 1 0 0 0,-1 0 0 0 0,1 0 0 0 0,0-3-1 0 0</inkml:trace>
</inkml:ink>
</file>

<file path=ppt/ink/ink3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08.901"/>
    </inkml:context>
    <inkml:brush xml:id="br0">
      <inkml:brushProperty name="width" value="0.1" units="cm"/>
      <inkml:brushProperty name="height" value="0.1" units="cm"/>
      <inkml:brushProperty name="color" value="#008C3A"/>
    </inkml:brush>
  </inkml:definitions>
  <inkml:trace contextRef="#ctx0" brushRef="#br0">80 299 2068 0 0,'5'-2'383'0'0,"0"-1"-1"0"0,0 1 1 0 0,1 0 0 0 0,-1 0-1 0 0,0 1 1 0 0,1-1-1 0 0,0 1 1 0 0,-1 0-1 0 0,1 1 1 0 0,-1-1 0 0 0,1 1-1 0 0,0 0 1 0 0,-1 1-1 0 0,1-1 1 0 0,0 1 0 0 0,-1 0-1 0 0,1 1 1 0 0,-1-1-1 0 0,0 1 1 0 0,1 0-1 0 0,-1 1 1 0 0,0-1 0 0 0,0 1-1 0 0,0 0 1 0 0,-1 0-1 0 0,1 0 1 0 0,4 5 0 0 0,0 1-101 0 0,1 0 0 0 0,-2 0 0 0 0,1 1 0 0 0,-1 0 1 0 0,-1 0-1 0 0,0 1 0 0 0,0 0 0 0 0,8 20 0 0 0,7 33-778 0 0,-8 1-4182 0 0</inkml:trace>
  <inkml:trace contextRef="#ctx0" brushRef="#br0" timeOffset="1">87 167 1680 0 0,'-9'-19'1824'0'0,"0"0"-220"0"0,3 3-387 0 0,-3 1-197 0 0,1 1-208 0 0,1 0-152 0 0,1 1-140 0 0,-1 3-120 0 0,1-2-96 0 0,1 5 144 0 0,-3-9-472 0 0,1 4-1040 0 0</inkml:trace>
</inkml:ink>
</file>

<file path=ppt/ink/ink3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09.305"/>
    </inkml:context>
    <inkml:brush xml:id="br0">
      <inkml:brushProperty name="width" value="0.1" units="cm"/>
      <inkml:brushProperty name="height" value="0.1" units="cm"/>
      <inkml:brushProperty name="color" value="#008C3A"/>
    </inkml:brush>
  </inkml:definitions>
  <inkml:trace contextRef="#ctx0" brushRef="#br0">1 1 1012 0 0,'11'3'950'0'0,"-1"1"-1"0"0,1 0 1 0 0,-1 1-1 0 0,0 1 1 0 0,0-1-1 0 0,0 2 1 0 0,-1-1-1 0 0,10 9 1 0 0,65 69 2586 0 0,-67-66-2739 0 0,36 40 1296 0 0,57 81-1 0 0,-42-30-2375 0 0,-50-75-2310 0 0,17 47-1 0 0,-31-66-2913 0 0</inkml:trace>
</inkml:ink>
</file>

<file path=ppt/ink/ink3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09.632"/>
    </inkml:context>
    <inkml:brush xml:id="br0">
      <inkml:brushProperty name="width" value="0.1" units="cm"/>
      <inkml:brushProperty name="height" value="0.1" units="cm"/>
      <inkml:brushProperty name="color" value="#008C3A"/>
    </inkml:brush>
  </inkml:definitions>
  <inkml:trace contextRef="#ctx0" brushRef="#br0">1 414 1040 0 0,'5'-17'3911'0'0,"13"-26"0"0"0,-18 42-3864 0 0,1 0 97 0 0,-1 0 0 0 0,1 0 0 0 0,0 0 0 0 0,0 0 0 0 0,0 0 0 0 0,0 0 0 0 0,0 0 0 0 0,0 1 0 0 0,0-1 0 0 0,0 0-1 0 0,0 1 1 0 0,1-1 0 0 0,-1 1 0 0 0,0-1 0 0 0,0 1 0 0 0,1-1 0 0 0,-1 1 0 0 0,0 0 0 0 0,0-1 0 0 0,1 1 0 0 0,-1 0 0 0 0,0 0 0 0 0,1 0 0 0 0,-1 0 0 0 0,0 1 0 0 0,1-1 0 0 0,-1 0 0 0 0,0 0 0 0 0,3 1 0 0 0,10 7 302 0 0,0 1-1 0 0,0 0 1 0 0,0 1 0 0 0,-1 0 0 0 0,-1 1-1 0 0,0 0 1 0 0,0 1 0 0 0,-1 0-1 0 0,9 15 1 0 0,-5-7-489 0 0,-1 1 0 0 0,-1 0 0 0 0,-2 1 0 0 0,0 0 1 0 0,13 37-1 0 0,-13-16-2153 0 0,-6-16-2030 0 0,-3-17 1147 0 0</inkml:trace>
  <inkml:trace contextRef="#ctx0" brushRef="#br0" timeOffset="1">182 148 2360 0 0,'-46'-77'9060'0'0,"5"8"-4593"0"0,40 67-4494 0 0</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9:13.429"/>
    </inkml:context>
    <inkml:brush xml:id="br0">
      <inkml:brushProperty name="width" value="0.08571" units="cm"/>
      <inkml:brushProperty name="height" value="0.08571" units="cm"/>
      <inkml:brushProperty name="color" value="#00A0D7"/>
    </inkml:brush>
  </inkml:definitions>
  <inkml:trace contextRef="#ctx0" brushRef="#br0">55 2 13379,'-28'-1'5577,"2"1"-5307,28 1 180,2 1-270,36 2-180,-4 0-537,22 2 357,-5 0-180,7 1-179,4-2-3173,3 1 2902,2 0-269,3-1-585,0-1 315,1 1-1169,1-2-1440,0 0 3958,0-1 0,-2 0 0,0-2 0</inkml:trace>
</inkml:ink>
</file>

<file path=ppt/ink/ink3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10.003"/>
    </inkml:context>
    <inkml:brush xml:id="br0">
      <inkml:brushProperty name="width" value="0.1" units="cm"/>
      <inkml:brushProperty name="height" value="0.1" units="cm"/>
      <inkml:brushProperty name="color" value="#008C3A"/>
    </inkml:brush>
  </inkml:definitions>
  <inkml:trace contextRef="#ctx0" brushRef="#br0">0 5 1488 0 0,'4'-3'1789'0'0,"-3"3"-1491"0"0,-1 0 0 0 0,1 0 0 0 0,0-1 0 0 0,0 1 0 0 0,-1 0 0 0 0,1 0 0 0 0,0-1 0 0 0,0 1 0 0 0,-1 0 0 0 0,1 0 0 0 0,0 0 0 0 0,1 0 0 0 0,3 2 45 0 0,0 1-1 0 0,-1-1 0 0 0,1 1 0 0 0,0 0 0 0 0,-1 0 1 0 0,0 0-1 0 0,1 1 0 0 0,-1-1 0 0 0,-1 1 1 0 0,1 0-1 0 0,4 6 0 0 0,40 58 1713 0 0,-29-39-1343 0 0,36 52 755 0 0,79 160 1 0 0,-119-210-1693 0 0,15 52 0 0 0,-26-72-497 0 0,-1 0-1 0 0,-1 1 0 0 0,0-1 1 0 0,0 1-1 0 0,-1-1 0 0 0,-1 1 1 0 0,0 0-1 0 0,-2 14 0 0 0,-3-9-2524 0 0,-3-3-1108 0 0</inkml:trace>
</inkml:ink>
</file>

<file path=ppt/ink/ink3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10.332"/>
    </inkml:context>
    <inkml:brush xml:id="br0">
      <inkml:brushProperty name="width" value="0.1" units="cm"/>
      <inkml:brushProperty name="height" value="0.1" units="cm"/>
      <inkml:brushProperty name="color" value="#008C3A"/>
    </inkml:brush>
  </inkml:definitions>
  <inkml:trace contextRef="#ctx0" brushRef="#br0">4 363 1484 0 0,'-1'-3'252'0'0,"0"0"-1"0"0,1 0 1 0 0,-1 0-1 0 0,1 0 0 0 0,0-1 1 0 0,0 1-1 0 0,0 0 1 0 0,0 0-1 0 0,0 0 1 0 0,1-1-1 0 0,-1 1 1 0 0,1 0-1 0 0,0 0 1 0 0,0 0-1 0 0,0 0 1 0 0,1 0-1 0 0,-1 0 1 0 0,0 0-1 0 0,1 1 1 0 0,0-1-1 0 0,0 0 0 0 0,0 1 1 0 0,0 0-1 0 0,0-1 1 0 0,0 1-1 0 0,1 0 1 0 0,-1 0-1 0 0,1 0 1 0 0,3-2-1 0 0,9-5 142 0 0,0 0 0 0 0,1 1-1 0 0,0 1 1 0 0,20-6 0 0 0,-16 5-29 0 0,312-120 4211 0 0,-331 128-4532 0 0,28-8 545 0 0,-28 7-576 0 0,0 1 0 0 0,-1 0 0 0 0,1 0 0 0 0,0 0 0 0 0,0 0 0 0 0,-1 0 0 0 0,1 0 0 0 0,0 0 0 0 0,0 1 1 0 0,-1-1-1 0 0,1 0 0 0 0,0 0 0 0 0,0 1 0 0 0,-1-1 0 0 0,1 0 0 0 0,0 1 0 0 0,-1-1 0 0 0,1 0 0 0 0,0 1 0 0 0,-1-1 0 0 0,1 1 0 0 0,-1-1 0 0 0,1 1 0 0 0,-1 0 0 0 0,1-1 0 0 0,-1 1 0 0 0,1-1 0 0 0,-1 1 1 0 0,0 0-1 0 0,1-1 0 0 0,-1 1 0 0 0,0 0 0 0 0,0 0 0 0 0,1-1 0 0 0,-1 1 0 0 0,0 0 0 0 0,0 0 0 0 0,0-1 0 0 0,0 1 0 0 0,0 0 0 0 0,0 0 0 0 0,0 0 0 0 0,0 7 26 0 0,1-1-1 0 0,0 1 1 0 0,1-1 0 0 0,-1 0-1 0 0,1 0 1 0 0,1 0 0 0 0,-1 0-1 0 0,1 0 1 0 0,1 0-1 0 0,-1-1 1 0 0,1 1 0 0 0,0-1-1 0 0,0 0 1 0 0,1 0 0 0 0,0 0-1 0 0,0-1 1 0 0,0 0-1 0 0,1 0 1 0 0,0 0 0 0 0,0-1-1 0 0,0 0 1 0 0,0 0 0 0 0,1 0-1 0 0,-1-1 1 0 0,1 0-1 0 0,0 0 1 0 0,11 3 0 0 0,-13-6-72 0 0,-1 1 0 0 0,1-1 0 0 0,0 0 0 0 0,0 0 0 0 0,0 0 0 0 0,0-1 1 0 0,0 1-1 0 0,0-1 0 0 0,-1-1 0 0 0,1 1 0 0 0,0 0 0 0 0,-1-1 0 0 0,1 0 1 0 0,-1 0-1 0 0,0-1 0 0 0,1 1 0 0 0,-1-1 0 0 0,0 0 0 0 0,7-7 0 0 0,3-4-388 0 0,0 0 0 0 0,-1-1 0 0 0,16-24 0 0 0,-23 31 356 0 0,79-126-1164 0 0,-84 133 1225 0 0,-1 1 0 0 0,0-1 0 0 0,0 1 0 0 0,1-1 0 0 0,-1 1 0 0 0,0-1 0 0 0,1 1 0 0 0,-1-1 0 0 0,0 1 0 0 0,1-1-1 0 0,-1 1 1 0 0,1 0 0 0 0,-1-1 0 0 0,1 1 0 0 0,-1 0 0 0 0,1-1 0 0 0,-1 1 0 0 0,1 0 0 0 0,-1 0 0 0 0,1 0 0 0 0,-1-1 0 0 0,1 1 0 0 0,0 0 0 0 0,-1 0 0 0 0,1 0 0 0 0,-1 0 0 0 0,1 0 0 0 0,-1 0 0 0 0,2 0 0 0 0,-1 1 12 0 0,0-1 1 0 0,-1 1 0 0 0,1-1 0 0 0,0 1 0 0 0,0 0 0 0 0,0-1 0 0 0,-1 1 0 0 0,1 0-1 0 0,0 0 1 0 0,-1 0 0 0 0,1 0 0 0 0,0-1 0 0 0,-1 1 0 0 0,1 2 0 0 0,11 33 502 0 0,23 104 879 0 0,9 44 7 0 0,-40-156-1196 0 0,0 1 0 0 0,-2 0-1 0 0,-1-1 1 0 0,-5 47 0 0 0,3-61-49 0 0,-2 0 0 0 0,0 0 1 0 0,0-1-1 0 0,-1 1 0 0 0,-1-1 0 0 0,-1 1 0 0 0,0-2 0 0 0,-11 21 0 0 0,14-29-85 0 0,0 0-1 0 0,1 0 0 0 0,-1-1 0 0 0,0 1 0 0 0,-1-1 0 0 0,1 1 0 0 0,-1-1 1 0 0,1 0-1 0 0,-1-1 0 0 0,0 1 0 0 0,0 0 0 0 0,0-1 0 0 0,-1 0 1 0 0,1 0-1 0 0,-1 0 0 0 0,1-1 0 0 0,-1 0 0 0 0,1 0 0 0 0,-1 0 1 0 0,0 0-1 0 0,1 0 0 0 0,-1-1 0 0 0,0 0 0 0 0,1 0 0 0 0,-1 0 0 0 0,0-1 1 0 0,0 0-1 0 0,1 0 0 0 0,-7-1 0 0 0,4-1-32 0 0,1 1 0 0 0,-1-1 0 0 0,1 0 0 0 0,-1 0-1 0 0,1 0 1 0 0,0-1 0 0 0,0 0 0 0 0,1-1 0 0 0,-1 1 0 0 0,1-1 0 0 0,0 0 0 0 0,0 0-1 0 0,-5-8 1 0 0,4 4-78 0 0,1 0-1 0 0,0 0 1 0 0,0-1-1 0 0,1 1 1 0 0,0-1-1 0 0,1 0 1 0 0,0 0-1 0 0,-2-14 1 0 0,3 2-934 0 0,0-1 0 0 0,1 0 0 0 0,1 0-1 0 0,2 0 1 0 0,0 1 0 0 0,1-1 0 0 0,10-35 0 0 0,3 9-5360 0 0,-6 27 816 0 0</inkml:trace>
</inkml:ink>
</file>

<file path=ppt/ink/ink3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11.399"/>
    </inkml:context>
    <inkml:brush xml:id="br0">
      <inkml:brushProperty name="width" value="0.1" units="cm"/>
      <inkml:brushProperty name="height" value="0.1" units="cm"/>
      <inkml:brushProperty name="color" value="#008C3A"/>
    </inkml:brush>
  </inkml:definitions>
  <inkml:trace contextRef="#ctx0" brushRef="#br0">1 745 804 0 0,'1'-2'216'0'0,"-1"0"-1"0"0,1 0 1 0 0,0-1-1 0 0,1 1 1 0 0,-1 0-1 0 0,0 0 1 0 0,1 1-1 0 0,-1-1 1 0 0,1 0-1 0 0,-1 0 1 0 0,1 1-1 0 0,0-1 1 0 0,0 1-1 0 0,0-1 1 0 0,0 1-1 0 0,0 0 1 0 0,0 0-1 0 0,0 0 1 0 0,0 0-1 0 0,0 0 1 0 0,1 0-1 0 0,-1 0 1 0 0,0 1-1 0 0,0-1 1 0 0,1 1-1 0 0,-1 0 1 0 0,0 0-1 0 0,1 0 1 0 0,-1 0 0 0 0,1 0-1 0 0,-1 0 1 0 0,4 2-1 0 0,4 0 41 0 0,1 0 1 0 0,-1 1-1 0 0,-1 1 0 0 0,1-1 1 0 0,0 2-1 0 0,-1-1 0 0 0,0 1 1 0 0,0 1-1 0 0,0 0 0 0 0,9 8 1 0 0,8 9 474 0 0,38 42 0 0 0,-46-44-362 0 0,-1 0 0 0 0,0 1 0 0 0,-2 1 0 0 0,21 40 0 0 0,-29-49-13 0 0,-1 0 1 0 0,-1 1 0 0 0,0 0 0 0 0,-1-1 0 0 0,-1 2 0 0 0,0-1-1 0 0,-1 0 1 0 0,0 0 0 0 0,-2 27 0 0 0,0-38-189 0 0,-1 0 0 0 0,1-1 1 0 0,-1 1-1 0 0,0-1 0 0 0,0 1 0 0 0,-3 4 1 0 0,4-7-120 0 0,-1 0 1 0 0,1 0-1 0 0,-1 0 1 0 0,0 0-1 0 0,1 0 1 0 0,-1 0-1 0 0,0 0 1 0 0,1 0 0 0 0,-1 0-1 0 0,0-1 1 0 0,0 1-1 0 0,0 0 1 0 0,0 0-1 0 0,0-1 1 0 0,0 1-1 0 0,0-1 1 0 0,0 1 0 0 0,0-1-1 0 0,0 1 1 0 0,0-1-1 0 0,0 0 1 0 0,0 1-1 0 0,0-1 1 0 0,0 0-1 0 0,-1 0 1 0 0,0 0 0 0 0,-1 0-18 0 0,1 0 0 0 0,-1-1 0 0 0,1 1 0 0 0,-1-1 0 0 0,1 0 0 0 0,0 0 0 0 0,-1 0 0 0 0,1 0 1 0 0,0 0-1 0 0,-1 0 0 0 0,1-1 0 0 0,0 1 0 0 0,0-1 0 0 0,0 1 0 0 0,0-1 0 0 0,1 0 1 0 0,-1 0-1 0 0,-2-3 0 0 0,1 1-3 0 0,1-1 1 0 0,-1 0-1 0 0,1 0 1 0 0,0 0-1 0 0,0 0 1 0 0,0-1-1 0 0,1 1 1 0 0,-2-7-1 0 0,1-3-13 0 0,1 0-1 0 0,1 0 0 0 0,0 0 1 0 0,0-1-1 0 0,6-24 1 0 0,-2 22-92 0 0,0 0 0 0 0,2 1 0 0 0,0 0 0 0 0,1 0-1 0 0,1 1 1 0 0,0-1 0 0 0,2 2 0 0 0,-1-1 0 0 0,2 2 0 0 0,0-1 0 0 0,1 1 0 0 0,0 1 0 0 0,1 0 0 0 0,0 1 0 0 0,1 0 0 0 0,17-10 0 0 0,2 0-338 0 0,1 2 0 0 0,42-20 0 0 0,80-25-657 0 0,-32 13 620 0 0,-115 47 408 0 0,0 0 0 0 0,-1 0 0 0 0,16-13 0 0 0,-24 17 37 0 0,1 1-1 0 0,-1-1 1 0 0,1 0-1 0 0,-1 0 1 0 0,1 1-1 0 0,-1-1 1 0 0,1 0-1 0 0,-1 0 1 0 0,0 0-1 0 0,0 0 1 0 0,1 0-1 0 0,-1 0 1 0 0,0 0-1 0 0,0 0 0 0 0,0 0 1 0 0,0 0-1 0 0,0 0 1 0 0,0 1-1 0 0,0-1 1 0 0,0 0-1 0 0,0 0 1 0 0,-1 0-1 0 0,1 0 1 0 0,0 0-1 0 0,-1 0 1 0 0,1 0-1 0 0,0 0 1 0 0,-1 1-1 0 0,1-1 1 0 0,-1 0-1 0 0,0 0 1 0 0,1 1-1 0 0,-1-1 1 0 0,1 0-1 0 0,-1 0 1 0 0,0 1-1 0 0,0-1 1 0 0,1 1-1 0 0,-1-1 1 0 0,0 1-1 0 0,0-1 1 0 0,0 1-1 0 0,0-1 1 0 0,1 1-1 0 0,-1 0 1 0 0,0 0-1 0 0,0-1 0 0 0,0 1 1 0 0,0 0-1 0 0,0 0 1 0 0,0 0-1 0 0,-1 0 1 0 0,-9 2-10 0 0,1 0 1 0 0,-1 1-1 0 0,1 1 0 0 0,0-1 1 0 0,0 2-1 0 0,0-1 1 0 0,0 1-1 0 0,1 1 0 0 0,0 0 1 0 0,0 0-1 0 0,0 1 0 0 0,1 0 1 0 0,0 0-1 0 0,0 1 1 0 0,-10 14-1 0 0,12-14 32 0 0,1-1-1 0 0,0 1 1 0 0,0 0-1 0 0,1 0 0 0 0,0 1 1 0 0,0-1-1 0 0,1 1 1 0 0,-4 15-1 0 0,6-19 35 0 0,0 1 0 0 0,0 0-1 0 0,1 0 1 0 0,0 0 0 0 0,0-1-1 0 0,1 1 1 0 0,-1 0 0 0 0,1 0 0 0 0,0 0-1 0 0,1-1 1 0 0,0 1 0 0 0,-1-1-1 0 0,2 1 1 0 0,3 7 0 0 0,-4-9-25 0 0,1 0 0 0 0,0 0 0 0 0,0 0 0 0 0,0 0 0 0 0,1-1 0 0 0,-1 1 0 0 0,1-1 0 0 0,0 0 0 0 0,0 0 0 0 0,0 0 0 0 0,0-1 0 0 0,0 1 0 0 0,1-1 0 0 0,-1 0 0 0 0,1 0 0 0 0,-1-1 0 0 0,1 1 0 0 0,0-1 0 0 0,0 0 0 0 0,0 0 0 0 0,-1-1 0 0 0,1 1 0 0 0,0-1 0 0 0,0 0 0 0 0,0 0 0 0 0,0-1 0 0 0,5-1 0 0 0,-3 1-74 0 0,-1 0 0 0 0,1-1 0 0 0,-1 0 0 0 0,1 0 0 0 0,-1-1 0 0 0,0 0 0 0 0,0 0 0 0 0,0 0 0 0 0,0-1 0 0 0,-1 1 0 0 0,1-1 0 0 0,-1-1 0 0 0,0 1 0 0 0,0-1 0 0 0,-1 0 0 0 0,1 0 0 0 0,-1 0 0 0 0,0-1 0 0 0,4-7 0 0 0,-1-4-126 0 0,0-1 1 0 0,-1 1-1 0 0,-1-1 1 0 0,-1 0-1 0 0,0-1 1 0 0,-1 1-1 0 0,-1 0 1 0 0,-1-21-1 0 0,-1 37 103 0 0,7 11-43 0 0,8 8 466 0 0,1-1 0 0 0,0-1 0 0 0,32 24 1 0 0,-39-33-281 0 0,1 0 1 0 0,0 0 0 0 0,0-1-1 0 0,0 0 1 0 0,1-1 0 0 0,-1 0-1 0 0,1-1 1 0 0,0 0 0 0 0,12 2 0 0 0,-19-5-58 0 0,0 1 1 0 0,-1-1-1 0 0,1 0 1 0 0,0 0 0 0 0,0 0-1 0 0,-1-1 1 0 0,1 1 0 0 0,-1-1-1 0 0,1 0 1 0 0,0 0-1 0 0,-1 0 1 0 0,1 0 0 0 0,-1-1-1 0 0,0 0 1 0 0,1 1 0 0 0,5-6-1 0 0,-6 4 0 0 0,0 0 0 0 0,0 0 0 0 0,0-1 0 0 0,0 0 0 0 0,-1 1 0 0 0,1-1 0 0 0,-1 0 0 0 0,0 0 0 0 0,0-1 0 0 0,0 1 0 0 0,2-9 0 0 0,-1-1 0 0 0,-1-1-1 0 0,0 0 0 0 0,-1 0 0 0 0,-1-1 0 0 0,0 1 0 0 0,-4-29 0 0 0,-22-86 307 0 0,-60-186 0 0 0,71 267-70 0 0,13 40 51 0 0,1 10 107 0 0,4 17 127 0 0,32 60 156 0 0,50 80 0 0 0,-1-1-456 0 0,-62-113-244 0 0,62 137-573 0 0,-66-138-1522 0 0,-3 1 1 0 0,13 57-1 0 0,-23-58-4240 0 0,-4-25 495 0 0</inkml:trace>
</inkml:ink>
</file>

<file path=ppt/ink/ink3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11.803"/>
    </inkml:context>
    <inkml:brush xml:id="br0">
      <inkml:brushProperty name="width" value="0.1" units="cm"/>
      <inkml:brushProperty name="height" value="0.1" units="cm"/>
      <inkml:brushProperty name="color" value="#008C3A"/>
    </inkml:brush>
  </inkml:definitions>
  <inkml:trace contextRef="#ctx0" brushRef="#br0">5 338 940 0 0,'-1'-6'271'0'0,"0"1"-1"0"0,0 0 1 0 0,0-1-1 0 0,1 1 1 0 0,0-1-1 0 0,0 1 1 0 0,0-1-1 0 0,1 1 1 0 0,0-1 0 0 0,0 1-1 0 0,0-1 1 0 0,1 1-1 0 0,-1 0 1 0 0,1 0-1 0 0,1 0 1 0 0,-1 0-1 0 0,1 0 1 0 0,0 0-1 0 0,0 1 1 0 0,0-1-1 0 0,0 1 1 0 0,1 0 0 0 0,0 0-1 0 0,0 0 1 0 0,0 0-1 0 0,5-2 1 0 0,36-29 1183 0 0,2 2 0 0 0,1 2 0 0 0,1 2 0 0 0,66-28 0 0 0,-110 55-1271 0 0,1-1 0 0 0,0 1-1 0 0,0 0 1 0 0,-1 0-1 0 0,1 1 1 0 0,0-1-1 0 0,1 1 1 0 0,-1 1 0 0 0,0-1-1 0 0,0 1 1 0 0,0 0-1 0 0,0 0 1 0 0,0 1-1 0 0,1 0 1 0 0,-1 0 0 0 0,0 0-1 0 0,0 1 1 0 0,-1 0-1 0 0,1 0 1 0 0,0 1-1 0 0,-1-1 1 0 0,1 1 0 0 0,-1 0-1 0 0,0 1 1 0 0,0-1-1 0 0,0 1 1 0 0,0 0-1 0 0,6 8 1 0 0,13 12 184 0 0,-1 2-1 0 0,-1 1 1 0 0,21 35 0 0 0,4 14-1050 0 0,-5 0-3562 0 0,-37-67 3384 0 0,4 3-1985 0 0</inkml:trace>
</inkml:ink>
</file>

<file path=ppt/ink/ink3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12.132"/>
    </inkml:context>
    <inkml:brush xml:id="br0">
      <inkml:brushProperty name="width" value="0.1" units="cm"/>
      <inkml:brushProperty name="height" value="0.1" units="cm"/>
      <inkml:brushProperty name="color" value="#008C3A"/>
    </inkml:brush>
  </inkml:definitions>
  <inkml:trace contextRef="#ctx0" brushRef="#br0">221 187 908 0 0,'-10'-18'2201'0'0,"-1"1"0"0"0,0 0 0 0 0,-28-30-1 0 0,29 36-1695 0 0,-1 1-1 0 0,-1 1 1 0 0,1 0-1 0 0,-2 0 1 0 0,1 1-1 0 0,-18-8 1 0 0,-3 2-256 0 0,29 13-507 0 0,1 1-167 0 0,-1 0 307 0 0,-2 1-570 0 0</inkml:trace>
  <inkml:trace contextRef="#ctx0" brushRef="#br0" timeOffset="1">297 67 464 0 0,'4'3'579'0'0,"0"0"-1"0"0,0 0 1 0 0,-1 0-1 0 0,1 1 1 0 0,-1 0-1 0 0,0 0 1 0 0,0-1-1 0 0,0 2 1 0 0,-1-1-1 0 0,1 0 1 0 0,-1 0-1 0 0,0 1 1 0 0,2 5-1 0 0,1 7 757 0 0,0 1 1 0 0,2 23-1 0 0,4 10 117 0 0,-7-37-1144 0 0,1-1 0 0 0,1 0 0 0 0,0 0-1 0 0,1 0 1 0 0,0-1 0 0 0,1 0 0 0 0,0 0-1 0 0,1-1 1 0 0,1 0 0 0 0,-1 0 0 0 0,2-1-1 0 0,16 12 1 0 0,-15-12-176 0 0,1-1 0 0 0,1-1 1 0 0,0 0-1 0 0,0-1 0 0 0,0 0 0 0 0,1-1 0 0 0,0-1 1 0 0,0 0-1 0 0,0-1 0 0 0,1-1 0 0 0,17 2 0 0 0,-27-4-102 0 0,0-1-1 0 0,1 0 0 0 0,-1 0 0 0 0,0-1 0 0 0,0 0 1 0 0,0 0-1 0 0,1 0 0 0 0,-1-1 0 0 0,0 0 0 0 0,-1 0 0 0 0,1-1 1 0 0,6-3-1 0 0,-9 4-21 0 0,0 1 1 0 0,-1-1-1 0 0,1-1 0 0 0,-1 1 1 0 0,1 0-1 0 0,-1 0 0 0 0,0-1 1 0 0,1 0-1 0 0,-2 1 0 0 0,1-1 1 0 0,0 0-1 0 0,0 0 1 0 0,-1 0-1 0 0,1 0 0 0 0,-1 0 1 0 0,0 0-1 0 0,0-1 0 0 0,0 1 1 0 0,-1 0-1 0 0,1 0 0 0 0,-1-1 1 0 0,0 1-1 0 0,0-7 1 0 0,0 3-23 0 0,-1-1 1 0 0,-1 0-1 0 0,1 1 1 0 0,-1-1-1 0 0,0 1 1 0 0,-1-1-1 0 0,0 1 1 0 0,0 0-1 0 0,-1 0 1 0 0,1 0-1 0 0,-10-11 1 0 0,6 10 49 0 0,0-1 1 0 0,-1 1-1 0 0,0 0 1 0 0,-1 1-1 0 0,0 0 1 0 0,0 1-1 0 0,-16-10 1 0 0,10 9-382 0 0,1 0 0 0 0,-1 1 0 0 0,-1 0 0 0 0,-29-6-1 0 0,30 10-689 0 0,1 0 0 0 0,-1 0-1 0 0,0 1 1 0 0,0 1 0 0 0,-16 2-1 0 0,26-2 393 0 0,-1 1-221 0 0,-18 8-7606 0 0</inkml:trace>
</inkml:ink>
</file>

<file path=ppt/ink/ink3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12.782"/>
    </inkml:context>
    <inkml:brush xml:id="br0">
      <inkml:brushProperty name="width" value="0.1" units="cm"/>
      <inkml:brushProperty name="height" value="0.1" units="cm"/>
      <inkml:brushProperty name="color" value="#008C3A"/>
    </inkml:brush>
  </inkml:definitions>
  <inkml:trace contextRef="#ctx0" brushRef="#br0">207 39 1976 0 0,'0'-2'1648'0'0,"0"0"-1394"0"0,-1 0 1 0 0,1 0-1 0 0,0 0 0 0 0,-1 0 0 0 0,0 0 0 0 0,1 0 0 0 0,-1 0 0 0 0,0 0 0 0 0,0 0 0 0 0,0 1 0 0 0,0-1 0 0 0,-1 0 1 0 0,1 1-1 0 0,0-1 0 0 0,-1 1 0 0 0,1-1 0 0 0,-1 1 0 0 0,-2-2 0 0 0,2 2 312 0 0,-3 1-92 0 0,-12 1-62 0 0,15 0-358 0 0,1-1 0 0 0,-1 1-1 0 0,1-1 1 0 0,0 1 0 0 0,-1 0-1 0 0,1 0 1 0 0,-1-1 0 0 0,1 1 0 0 0,0 0-1 0 0,0 0 1 0 0,-1 0 0 0 0,1 1-1 0 0,0-1 1 0 0,0 0 0 0 0,0 0-1 0 0,0 1 1 0 0,0-1 0 0 0,-1 3 0 0 0,2-3 39 0 0,-2 2-26 0 0,1 1-1 0 0,0-1 0 0 0,0 0 1 0 0,0 1-1 0 0,0-1 0 0 0,0 0 0 0 0,1 1 1 0 0,0-1-1 0 0,0 1 0 0 0,0-1 1 0 0,0 1-1 0 0,0-1 0 0 0,1 1 1 0 0,-1-1-1 0 0,1 1 0 0 0,0-1 1 0 0,0 0-1 0 0,0 0 0 0 0,1 1 0 0 0,2 5 1 0 0,3 2 87 0 0,-1 1 0 0 0,2-1 1 0 0,-1 0-1 0 0,11 10 1 0 0,129 128 1246 0 0,-142-143-1366 0 0,1 0 63 0 0,-1 0 1 0 0,0 0 0 0 0,0 0 0 0 0,-1 1 0 0 0,0 0-1 0 0,6 13 1 0 0,-10-19-78 0 0,0 0-1 0 0,0 0 1 0 0,0 0 0 0 0,0 0-1 0 0,0 0 1 0 0,0 0 0 0 0,0 0 0 0 0,0 0-1 0 0,-1 0 1 0 0,1 0 0 0 0,0 0-1 0 0,-1 0 1 0 0,1 0 0 0 0,-1 0-1 0 0,1 0 1 0 0,-1 0 0 0 0,1 0-1 0 0,-1 0 1 0 0,0 0 0 0 0,0 0-1 0 0,1-1 1 0 0,-1 1 0 0 0,0 0 0 0 0,0-1-1 0 0,0 1 1 0 0,0 0 0 0 0,0-1-1 0 0,0 1 1 0 0,0-1 0 0 0,0 1-1 0 0,0-1 1 0 0,0 0 0 0 0,0 1-1 0 0,0-1 1 0 0,0 0 0 0 0,0 0-1 0 0,0 0 1 0 0,0 0 0 0 0,0 0-1 0 0,0 0 1 0 0,-2 0 0 0 0,-8-2 49 0 0,0-1 0 0 0,0-1 0 0 0,0 0 1 0 0,1 0-1 0 0,-18-10 0 0 0,-29-10-1349 0 0,55 23 1013 0 0,-17 3-712 0 0,0 2-91 0 0,-2 3 258 0 0,16-23-5855 0 0,6 13 6423 0 0,1-3 0 0 0,1-7 2127 0 0,-5 0 2011 0 0,2 14-3829 0 0,-5 1 181 0 0,1 1 1 0 0,0 1 0 0 0,0-1 0 0 0,0 1 0 0 0,0-1-1 0 0,0 1 1 0 0,1 0 0 0 0,0 1 0 0 0,0-1 0 0 0,0 0-1 0 0,0 1 1 0 0,1 0 0 0 0,-3 7 0 0 0,-4 12 212 0 0,-9 39 0 0 0,10-35-268 0 0,-13 66 95 0 0,7-28-1918 0 0,-5-1-5039 0 0,12-44 1617 0 0</inkml:trace>
</inkml:ink>
</file>

<file path=ppt/ink/ink3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14.284"/>
    </inkml:context>
    <inkml:brush xml:id="br0">
      <inkml:brushProperty name="width" value="0.1" units="cm"/>
      <inkml:brushProperty name="height" value="0.1" units="cm"/>
      <inkml:brushProperty name="color" value="#008C3A"/>
    </inkml:brush>
  </inkml:definitions>
  <inkml:trace contextRef="#ctx0" brushRef="#br0">220 276 1184 0 0,'0'-19'1181'0'0,"-1"-1"0"0"0,-1 1-1 0 0,-1 0 1 0 0,-8-28 0 0 0,9 39-958 0 0,0 0 0 0 0,-1 1-1 0 0,0-1 1 0 0,-1 0 0 0 0,0 1 0 0 0,0 0 0 0 0,0 0 0 0 0,-1 0 0 0 0,0 0 0 0 0,0 1 0 0 0,-1 0 0 0 0,-12-11 0 0 0,17 17-196 0 0,0-1 0 0 0,-1 0 0 0 0,1 0 0 0 0,0 0 0 0 0,-1 1 0 0 0,1-1 1 0 0,0 1-1 0 0,-1-1 0 0 0,1 1 0 0 0,-1-1 0 0 0,1 1 0 0 0,-1 0 0 0 0,1 0 1 0 0,-1 0-1 0 0,1 0 0 0 0,-1 0 0 0 0,0 0 0 0 0,1 0 0 0 0,-1 0 0 0 0,1 1 0 0 0,-2-1 1 0 0,0 2 18 0 0,0-1 0 0 0,1 0 0 0 0,-1 1 0 0 0,1 0 1 0 0,-1-1-1 0 0,1 1 0 0 0,0 0 0 0 0,0 0 0 0 0,-1 0 1 0 0,-1 3-1 0 0,-3 5 65 0 0,0 0 0 0 0,1 1 1 0 0,0-1-1 0 0,-5 15 0 0 0,3-7-29 0 0,2 0 0 0 0,0 1 0 0 0,0 0-1 0 0,2 0 1 0 0,1 0 0 0 0,0 1 0 0 0,1-1 0 0 0,1 1 0 0 0,1-1-1 0 0,4 29 1 0 0,-3-35-40 0 0,2-1-1 0 0,0 0 1 0 0,0 0-1 0 0,1 0 1 0 0,0-1-1 0 0,1 1 1 0 0,1-1-1 0 0,0 0 1 0 0,0 0-1 0 0,1-1 1 0 0,0 0-1 0 0,1 0 1 0 0,0 0-1 0 0,1-1 1 0 0,0-1 0 0 0,0 1-1 0 0,16 10 1 0 0,-17-14-9 0 0,0-1 1 0 0,-1 1 0 0 0,1-2-1 0 0,1 1 1 0 0,-1-1 0 0 0,0 0 0 0 0,1 0-1 0 0,0-1 1 0 0,-1-1 0 0 0,1 1-1 0 0,0-1 1 0 0,16-1 0 0 0,-20 0-22 0 0,0-1-1 0 0,0 1 1 0 0,-1-1 0 0 0,1 0 0 0 0,-1-1-1 0 0,1 1 1 0 0,-1-1 0 0 0,1 0 0 0 0,-1 0-1 0 0,0-1 1 0 0,0 1 0 0 0,0-1 0 0 0,0 1 0 0 0,0-1-1 0 0,-1-1 1 0 0,1 1 0 0 0,-1 0 0 0 0,0-1-1 0 0,0 0 1 0 0,0 0 0 0 0,-1 0 0 0 0,1 0-1 0 0,-1 0 1 0 0,0 0 0 0 0,3-8 0 0 0,-1-3-3 0 0,0 1 1 0 0,-1 0 0 0 0,-1-1 0 0 0,0 0-1 0 0,-1 1 1 0 0,-1-25 0 0 0,-2 1-86 0 0,-11-50 0 0 0,11 75-15 0 0,3 20 2 0 0,7 24 9 0 0,15 13 644 0 0,2-1-1 0 0,1-1 0 0 0,60 69 1 0 0,-66-85 1687 0 0,-7-34-1612 0 0,-11 4-585 0 0,-1 0 1 0 0,1 0-1 0 0,-1-1 1 0 0,0 1-1 0 0,0 0 0 0 0,-1 0 1 0 0,1-1-1 0 0,-1 1 0 0 0,0 0 1 0 0,-1-6-1 0 0,2-3 16 0 0,-1 0-54 0 0,11-130-174 0 0,-8 125 96 0 0,0 0 0 0 0,1 0 0 0 0,0 0 0 0 0,2 1 1 0 0,13-29-1 0 0,-17 42 38 0 0,0 0 0 0 0,1 0 1 0 0,-1 1-1 0 0,1-1 0 0 0,0 1 0 0 0,6-6 1 0 0,-7 8 17 0 0,0 1 0 0 0,0 0 0 0 0,0-1 0 0 0,-1 1 0 0 0,1 0 0 0 0,0 0 0 0 0,0 0 0 0 0,0 0 0 0 0,0 1 0 0 0,-1-1 0 0 0,1 0 0 0 0,0 1 0 0 0,0-1 0 0 0,0 1 0 0 0,-1 0 0 0 0,1-1 0 0 0,0 1 0 0 0,1 1 0 0 0,10 7-17 0 0,-1 1-1 0 0,0 0 0 0 0,0 1 1 0 0,-1 0-1 0 0,-1 0 0 0 0,13 17 1 0 0,3 4 7 0 0,-14-18 15 0 0,82 86 195 0 0,-82-89-42 0 0,0-1-1 0 0,1 0 1 0 0,0-1 0 0 0,1 0-1 0 0,0-1 1 0 0,20 9 0 0 0,-29-15-108 0 0,-1-1 0 0 0,1 1 0 0 0,-1-1 0 0 0,1 0 0 0 0,0 0 0 0 0,-1-1 0 0 0,1 1 0 0 0,0-1 0 0 0,0 0 0 0 0,0-1 0 0 0,-1 1 0 0 0,1-1 0 0 0,0 0 0 0 0,-1 0 0 0 0,1 0 0 0 0,-1-1 0 0 0,1 1 0 0 0,-1-1 0 0 0,0 0 0 0 0,1-1 0 0 0,-1 1 0 0 0,4-4 0 0 0,-2 1-23 0 0,1-1 0 0 0,-1 1 1 0 0,-1-2-1 0 0,1 1 1 0 0,-1-1-1 0 0,0 0 1 0 0,0 0-1 0 0,-1 0 0 0 0,0 0 1 0 0,0-1-1 0 0,4-13 1 0 0,0-5-20 0 0,-2 0 0 0 0,0 0 1 0 0,-2-1-1 0 0,-1 1 0 0 0,-1-1 0 0 0,-2 0 1 0 0,0 0-1 0 0,-2 1 0 0 0,-1-1 1 0 0,-9-38-1 0 0,11 62-10 0 0,0-1 1 0 0,0 1-1 0 0,0 0 1 0 0,-1-1-1 0 0,1 1 1 0 0,-1 0-1 0 0,0 0 1 0 0,0 0-1 0 0,0 0 1 0 0,0 1-1 0 0,0-1 0 0 0,-1 0 1 0 0,1 1-1 0 0,-1 0 1 0 0,-5-4-1 0 0,6 5 4 0 0,1 0-1 0 0,-1 1 1 0 0,1 0-1 0 0,0-1 1 0 0,-1 1 0 0 0,1 0-1 0 0,-1 0 1 0 0,1 0-1 0 0,-1 0 1 0 0,1 0-1 0 0,-1 0 1 0 0,1 0-1 0 0,0 1 1 0 0,-1-1-1 0 0,1 0 1 0 0,-1 1 0 0 0,1-1-1 0 0,0 1 1 0 0,-1 0-1 0 0,1-1 1 0 0,0 1-1 0 0,0 0 1 0 0,0 0-1 0 0,-1 0 1 0 0,1-1-1 0 0,0 1 1 0 0,-1 2-1 0 0,-2 0-4 0 0,1 1 0 0 0,-1 0 0 0 0,1 0 0 0 0,0 0-1 0 0,0 0 1 0 0,-3 6 0 0 0,4-6 5 0 0,0 0-1 0 0,0 1 1 0 0,0 0 0 0 0,1-1 0 0 0,0 1 0 0 0,0 0-1 0 0,0 0 1 0 0,0 0 0 0 0,1 0 0 0 0,0-1 0 0 0,0 1-1 0 0,0 0 1 0 0,0 0 0 0 0,1 0 0 0 0,0 0 0 0 0,3 8-1 0 0,-2-6 19 0 0,1-1 0 0 0,1 1 0 0 0,0-1-1 0 0,-1 0 1 0 0,2 0 0 0 0,-1 0 0 0 0,1-1 0 0 0,0 0-1 0 0,0 0 1 0 0,8 6 0 0 0,7 4-115 0 0,2-1 0 0 0,-1-1 0 0 0,2-2 0 0 0,0 0 0 0 0,34 11 0 0 0,54 12-3547 0 0,-96-31 813 0 0,-1 0 0 0 0,29 0 0 0 0</inkml:trace>
</inkml:ink>
</file>

<file path=ppt/ink/ink3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18.786"/>
    </inkml:context>
    <inkml:brush xml:id="br0">
      <inkml:brushProperty name="width" value="0.1" units="cm"/>
      <inkml:brushProperty name="height" value="0.1" units="cm"/>
      <inkml:brushProperty name="color" value="#008C3A"/>
    </inkml:brush>
  </inkml:definitions>
  <inkml:trace contextRef="#ctx0" brushRef="#br0">30 221 844 0 0,'-5'-9'1150'0'0,"0"0"0"0"0,1-1-1 0 0,0 0 1 0 0,1 0 0 0 0,0 0-1 0 0,-3-17 1 0 0,6 25-682 0 0,5 2-49 0 0,-3 0-336 0 0,1 0 0 0 0,-1 0 0 0 0,0 0 0 0 0,0 0 0 0 0,0 0 0 0 0,0 0 0 0 0,0 1 0 0 0,0-1 0 0 0,0 1 0 0 0,0 0 0 0 0,0-1 1 0 0,-1 1-1 0 0,3 1 0 0 0,7 6 164 0 0,-1-1 0 0 0,0 2 0 0 0,0-1 0 0 0,-1 1 0 0 0,12 16-1 0 0,34 53 892 0 0,-23-23-58 0 0,-3 2-1 0 0,-2 1 1 0 0,34 109 0 0 0,-57-151 117 0 0,-4-15-1185 0 0,0-1 0 0 0,0 0 0 0 0,0 0 0 0 0,0 0 0 0 0,0 0 0 0 0,0 0 0 0 0,0 0 0 0 0,0 0 0 0 0,0 0 0 0 0,-1 0 0 0 0,1 0 0 0 0,0 0 0 0 0,0 0-1 0 0,0 0 1 0 0,0 1 0 0 0,0-1 0 0 0,0 0 0 0 0,0 0 0 0 0,0 0 0 0 0,0 0 0 0 0,0 0 0 0 0,0 0 0 0 0,-1 0 0 0 0,1 0 0 0 0,0 0 0 0 0,0 0 0 0 0,0 0 0 0 0,0 0 0 0 0,0 0 0 0 0,0 0 0 0 0,0 0 0 0 0,0 0 0 0 0,0 0 0 0 0,-1 0 0 0 0,1 0 0 0 0,0 0 0 0 0,0 0 0 0 0,0 0 0 0 0,0 0 0 0 0,0-1 0 0 0,0 1 0 0 0,0 0 0 0 0,0 0 0 0 0,0 0 0 0 0,0 0 0 0 0,0 0-1 0 0,0 0 1 0 0,-1 0 0 0 0,1 0 0 0 0,0 0 0 0 0,0 0 0 0 0,0 0 0 0 0,0 0 0 0 0,0 0 0 0 0,0-1 0 0 0,0 1 0 0 0,0 0 0 0 0,0 0 0 0 0,0 0 0 0 0,0 0 0 0 0,0 0 0 0 0,0 0 0 0 0,0 0 0 0 0,0 0 0 0 0,-14-26 363 0 0,3-6-289 0 0,-10-50 0 0 0,19 70-95 0 0,0 1 0 0 0,1 0 0 0 0,0-1 0 0 0,1 1 1 0 0,0-1-1 0 0,1 0 0 0 0,0 1 0 0 0,4-15 0 0 0,-4 24 2 0 0,-1 0 1 0 0,1 0-1 0 0,-1 0 1 0 0,1 0-1 0 0,0 0 1 0 0,0 1-1 0 0,-1-1 1 0 0,1 0-1 0 0,1 0 1 0 0,-1 1-1 0 0,0-1 1 0 0,0 0 0 0 0,1 1-1 0 0,-1-1 1 0 0,0 1-1 0 0,1 0 1 0 0,0-1-1 0 0,-1 1 1 0 0,1 0-1 0 0,0 0 1 0 0,0 0-1 0 0,-1 0 1 0 0,1 0-1 0 0,0 0 1 0 0,0 1-1 0 0,0-1 1 0 0,0 1-1 0 0,0-1 1 0 0,0 1-1 0 0,0 0 1 0 0,0 0-1 0 0,0 0 1 0 0,0 0-1 0 0,1 0 1 0 0,1 1-1 0 0,3 0-8 0 0,-1 1-1 0 0,1 0 0 0 0,-1 0 0 0 0,0 1 0 0 0,1 0 1 0 0,-1 0-1 0 0,-1 1 0 0 0,1-1 0 0 0,9 9 0 0 0,2 4 71 0 0,-2 1 0 0 0,0 0-1 0 0,14 21 1 0 0,-20-25 1278 0 0,-20-39-1110 0 0,7 13-195 0 0,1-1 0 0 0,1 1 0 0 0,0-1 0 0 0,1 0 1 0 0,0 0-1 0 0,1 1 0 0 0,1-1 0 0 0,0 0 0 0 0,4-14 1 0 0,-4 23-25 0 0,0 0 0 0 0,1 1 1 0 0,0-1-1 0 0,0 0 0 0 0,0 0 1 0 0,0 1-1 0 0,1-1 0 0 0,0 1 0 0 0,0 0 1 0 0,0 0-1 0 0,0 0 0 0 0,1 0 1 0 0,-1 1-1 0 0,1-1 0 0 0,0 1 1 0 0,0 0-1 0 0,0 0 0 0 0,1 0 1 0 0,-1 1-1 0 0,1-1 0 0 0,-1 1 0 0 0,1 0 1 0 0,0 1-1 0 0,0-1 0 0 0,0 1 1 0 0,0 0-1 0 0,7-1 0 0 0,1 1-11 0 0,0 0-1 0 0,-1 1 1 0 0,1 1-1 0 0,0 0 0 0 0,0 1 1 0 0,-1 0-1 0 0,1 0 1 0 0,-1 2-1 0 0,0-1 0 0 0,0 2 1 0 0,20 9-1 0 0,-13-3 11 0 0,0 0-1 0 0,-1 1 1 0 0,0 1-1 0 0,-1 0 0 0 0,-1 1 1 0 0,15 17-1 0 0,39 42-130 0 0,-68-71 124 0 0,0-3-272 0 0,1 0 216 0 0,-1 0 1 0 0,0 0 0 0 0,-1-1 0 0 0,1 1 0 0 0,0 0-1 0 0,0-1 1 0 0,0 1 0 0 0,-1-1 0 0 0,1 0 0 0 0,-1 0-1 0 0,1 1 1 0 0,-1-1 0 0 0,0 0 0 0 0,0 0 0 0 0,0 0-1 0 0,0 0 1 0 0,0-1 0 0 0,0 1 0 0 0,0 0 0 0 0,-1 0-1 0 0,1-3 1 0 0,3-11-464 0 0,3-31 0 0 0,-5 33 332 0 0,3-29-273 0 0,3-11-201 0 0,0-61-1 0 0,-14 143 614 0 0,7-22 110 0 0,1-1 1 0 0,-1 0 0 0 0,1 0 0 0 0,0 0 0 0 0,1 0-1 0 0,-1 0 1 0 0,1-1 0 0 0,0 1 0 0 0,0-1 0 0 0,0 1 0 0 0,1-1-1 0 0,0 0 1 0 0,-1 0 0 0 0,2-1 0 0 0,-1 1 0 0 0,0-1-1 0 0,0 0 1 0 0,1 0 0 0 0,10 4 0 0 0,0 0 73 0 0,1 0 0 0 0,0-2 0 0 0,0 0 0 0 0,29 5 0 0 0,-40-9-114 0 0,0 0 1 0 0,-1-1-1 0 0,1 1 1 0 0,0-1-1 0 0,-1 0 1 0 0,1-1-1 0 0,0 1 1 0 0,-1-1-1 0 0,1 0 1 0 0,0 0-1 0 0,-1 0 1 0 0,1-1-1 0 0,-1 1 1 0 0,0-1-1 0 0,0 0 1 0 0,1-1-1 0 0,-1 1 1 0 0,0-1-1 0 0,-1 0 1 0 0,1 0-1 0 0,3-3 1 0 0,-4 3-13 0 0,-1 0 0 0 0,0 0 0 0 0,0 0 1 0 0,0 0-1 0 0,-1 0 0 0 0,1 0 1 0 0,-1-1-1 0 0,1 1 0 0 0,-1 0 0 0 0,0-1 1 0 0,0 1-1 0 0,-1-1 0 0 0,1 1 1 0 0,-1-1-1 0 0,1 0 0 0 0,-1 1 1 0 0,-1-1-1 0 0,1 0 0 0 0,0 1 0 0 0,-1-1 1 0 0,1 1-1 0 0,-1-1 0 0 0,0 1 1 0 0,-1-1-1 0 0,1 1 0 0 0,-3-5 0 0 0,1 1 0 0 0,-1 1-1 0 0,0 0 0 0 0,0 0 0 0 0,-1 0 0 0 0,1 1 0 0 0,-1-1 0 0 0,0 1 0 0 0,-1 0 0 0 0,1 1 0 0 0,-11-7 0 0 0,6 5-35 0 0,0 1 0 0 0,0 0 0 0 0,-1 0 0 0 0,0 1 0 0 0,0 1-1 0 0,-12-3 1 0 0,-5 1-755 0 0,-1 2-1 0 0,0 1 1 0 0,0 1-1 0 0,-42 4 0 0 0,25 5-1208 0 0,13-2-1068 0 0,10-4-3069 0 0</inkml:trace>
</inkml:ink>
</file>

<file path=ppt/ink/ink3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19.201"/>
    </inkml:context>
    <inkml:brush xml:id="br0">
      <inkml:brushProperty name="width" value="0.1" units="cm"/>
      <inkml:brushProperty name="height" value="0.1" units="cm"/>
      <inkml:brushProperty name="color" value="#008C3A"/>
    </inkml:brush>
  </inkml:definitions>
  <inkml:trace contextRef="#ctx0" brushRef="#br0">1 365 3288 0 0,'40'-13'1913'0'0,"49"-10"-1"0"0,-72 20-1440 0 0,1 0 1 0 0,-1 2-1 0 0,0 0 1 0 0,1 1-1 0 0,29 4 1 0 0,-18 1 68 0 0,1 1 0 0 0,-1 1 1 0 0,0 2-1 0 0,54 24 0 0 0,-69-26-347 0 0,0 0 0 0 0,-1 1-1 0 0,1 1 1 0 0,-2 0 0 0 0,1 0-1 0 0,-1 2 1 0 0,0-1 0 0 0,-1 2 0 0 0,-1-1-1 0 0,0 1 1 0 0,10 16 0 0 0,-17-23-24 0 0,-1-1 0 0 0,0 0 0 0 0,0 1 0 0 0,0-1 0 0 0,2 8 0 0 0,-4-10-102 0 0,0 0 1 0 0,1 0-1 0 0,-1-1 1 0 0,0 1-1 0 0,0 0 1 0 0,0-1-1 0 0,0 1 1 0 0,0 0-1 0 0,-1-1 1 0 0,1 1-1 0 0,0 0 1 0 0,-1-1-1 0 0,0 1 1 0 0,1 0-1 0 0,-1-1 1 0 0,0 1-1 0 0,-1 2 1 0 0,1-2 269 0 0,-2-4-300 0 0,1 1-17 0 0,0 1-1 0 0,-1-1 1 0 0,1 0 0 0 0,0 0 0 0 0,0-1 0 0 0,0 1-1 0 0,0 0 1 0 0,1-1 0 0 0,-1 1 0 0 0,0-1-1 0 0,0 0 1 0 0,1 1 0 0 0,-1-1 0 0 0,1 0 0 0 0,0 0-1 0 0,0 0 1 0 0,-1 0 0 0 0,1 0 0 0 0,0 0-1 0 0,1-1 1 0 0,-2-2 0 0 0,0-1-16 0 0,0-1 1 0 0,1 0-1 0 0,0 0 1 0 0,0 0-1 0 0,1 0 1 0 0,0 0-1 0 0,0 0 0 0 0,0 0 1 0 0,1 0-1 0 0,0 0 1 0 0,0 0-1 0 0,1 0 1 0 0,0 1-1 0 0,0-1 0 0 0,1 0 1 0 0,0 1-1 0 0,0 0 1 0 0,0-1-1 0 0,8-9 0 0 0,-1 2-16 0 0,1 0 0 0 0,0 1-1 0 0,1 0 1 0 0,0 1-1 0 0,1 1 1 0 0,0 0-1 0 0,16-10 1 0 0,79-38 24 0 0,-78 45 3 0 0,-2-2 1 0 0,0 0-1 0 0,49-39 0 0 0,-71 49-11 0 0,-1 1 0 0 0,0 0 0 0 0,0-1 0 0 0,0 0 0 0 0,0 0 0 0 0,6-13 0 0 0,-10 15-9 0 0,1 0-1 0 0,0 0 1 0 0,-1 0 0 0 0,0 0-1 0 0,0 0 1 0 0,0-1-1 0 0,-1 1 1 0 0,1 0-1 0 0,-1 0 1 0 0,0-1 0 0 0,0 1-1 0 0,-2-8 1 0 0,2 11 0 0 0,0 0 0 0 0,0 0 1 0 0,-1 0-1 0 0,1 0 1 0 0,0 1-1 0 0,-1-1 1 0 0,1 0-1 0 0,-1 0 0 0 0,1 0 1 0 0,-1 1-1 0 0,0-1 1 0 0,1 0-1 0 0,-1 1 0 0 0,0-1 1 0 0,1 0-1 0 0,-1 1 1 0 0,0-1-1 0 0,0 1 0 0 0,1-1 1 0 0,-1 1-1 0 0,0 0 1 0 0,0-1-1 0 0,0 1 1 0 0,0 0-1 0 0,1 0 0 0 0,-1-1 1 0 0,0 1-1 0 0,0 0 1 0 0,0 0-1 0 0,0 0 0 0 0,0 0 1 0 0,0 0-1 0 0,-1 0 1 0 0,-27 7-47 0 0,23-5 60 0 0,2 1 0 0 0,-1 0 1 0 0,0 0-1 0 0,0 0 0 0 0,1 1 1 0 0,0 0-1 0 0,0-1 0 0 0,0 1 1 0 0,0 1-1 0 0,1-1 0 0 0,-1 0 1 0 0,1 1-1 0 0,0 0 0 0 0,0 0 0 0 0,1 0 1 0 0,-1 0-1 0 0,1 0 0 0 0,1 0 1 0 0,-1 1-1 0 0,-1 5 0 0 0,2-2 43 0 0,-1-1-1 0 0,1 1 0 0 0,1-1 1 0 0,0 0-1 0 0,0 1 0 0 0,0-1 1 0 0,1 1-1 0 0,0-1 0 0 0,1 0 0 0 0,0 1 1 0 0,0-1-1 0 0,5 10 0 0 0,0-5-25 0 0,1 0 0 0 0,0 0 0 0 0,0-1 0 0 0,1 0 0 0 0,1-1 0 0 0,0 0 0 0 0,1 0 0 0 0,15 11 0 0 0,-6-7-1409 0 0,25 16 0 0 0,19 3-7204 0 0</inkml:trace>
</inkml:ink>
</file>

<file path=ppt/ink/ink3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19.633"/>
    </inkml:context>
    <inkml:brush xml:id="br0">
      <inkml:brushProperty name="width" value="0.1" units="cm"/>
      <inkml:brushProperty name="height" value="0.1" units="cm"/>
      <inkml:brushProperty name="color" value="#008C3A"/>
    </inkml:brush>
  </inkml:definitions>
  <inkml:trace contextRef="#ctx0" brushRef="#br0">0 1 52 0 0,'0'0'5975'0'0,"10"6"-3229"0"0,-7-2-2385 0 0,-1-1-1 0 0,0 1 1 0 0,0-1 0 0 0,0 1 0 0 0,0 0 0 0 0,-1 0 0 0 0,3 8-1 0 0,3 8 604 0 0,76 143 2780 0 0,-34-70-3679 0 0,-5 1-3896 0 0,-37-71-1627 0 0</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9:13.666"/>
    </inkml:context>
    <inkml:brush xml:id="br0">
      <inkml:brushProperty name="width" value="0.08571" units="cm"/>
      <inkml:brushProperty name="height" value="0.08571" units="cm"/>
      <inkml:brushProperty name="color" value="#00A0D7"/>
    </inkml:brush>
  </inkml:definitions>
  <inkml:trace contextRef="#ctx0" brushRef="#br0">0 35 14819,'31'9'2428,"-1"-2"-1888,-9-6-180,7 0-1,2-1-269,5-1-989,20-1-2159,9-3 269,1-1-1708,-2-2 4418,-19 1 0,0-4 1,1-2-1</inkml:trace>
</inkml:ink>
</file>

<file path=ppt/ink/ink3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20.019"/>
    </inkml:context>
    <inkml:brush xml:id="br0">
      <inkml:brushProperty name="width" value="0.1" units="cm"/>
      <inkml:brushProperty name="height" value="0.1" units="cm"/>
      <inkml:brushProperty name="color" value="#008C3A"/>
    </inkml:brush>
  </inkml:definitions>
  <inkml:trace contextRef="#ctx0" brushRef="#br0">43 156 592 0 0,'-6'-21'1824'0'0,"-1"3"-496"0"0,-1 5-264 0 0,5-1-259 0 0,-1 2-157 0 0,0 1-208 0 0,0 1-308 0 0,-3-7-652 0 0,11 1-449 0 0,9 3-1151 0 0,0 3 1300 0 0</inkml:trace>
</inkml:ink>
</file>

<file path=ppt/ink/ink3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20.405"/>
    </inkml:context>
    <inkml:brush xml:id="br0">
      <inkml:brushProperty name="width" value="0.1" units="cm"/>
      <inkml:brushProperty name="height" value="0.1" units="cm"/>
      <inkml:brushProperty name="color" value="#008C3A"/>
    </inkml:brush>
  </inkml:definitions>
  <inkml:trace contextRef="#ctx0" brushRef="#br0">1 43 744 0 0,'46'15'1790'0'0,"-1"1"0"0"0,-1 2 0 0 0,83 48 1 0 0,-62-26 459 0 0,104 87-1 0 0,-166-125-2195 0 0,4 3 445 0 0,0 1 0 0 0,-1 0-1 0 0,1 0 1 0 0,-1 1 0 0 0,0-1-1 0 0,-1 1 1 0 0,10 15 0 0 0,-14-19 120 0 0,-1-3-551 0 0,0 0 0 0 0,0 1 0 0 0,0-1 0 0 0,0 1 0 0 0,0-1 1 0 0,0 0-1 0 0,0 1 0 0 0,0-1 0 0 0,0 0 0 0 0,0 1 0 0 0,0-1 0 0 0,0 1 0 0 0,0-1 0 0 0,0 0 0 0 0,0 1 1 0 0,0-1-1 0 0,0 0 0 0 0,-1 1 0 0 0,1-1 0 0 0,0 0 0 0 0,0 1 0 0 0,0-1 0 0 0,-1 0 0 0 0,1 1 1 0 0,0-1-1 0 0,-1 1 0 0 0,-2-4-42 0 0,-1 0 1 0 0,1 0-1 0 0,0 0 1 0 0,0-1-1 0 0,0 1 1 0 0,0-1 0 0 0,1 0-1 0 0,-1 0 1 0 0,1 0-1 0 0,0 0 1 0 0,0 0-1 0 0,1 0 1 0 0,-1 0-1 0 0,1-1 1 0 0,0 1 0 0 0,0 0-1 0 0,0-1 1 0 0,1 1-1 0 0,-1-1 1 0 0,1 1-1 0 0,0-1 1 0 0,0 1-1 0 0,1-1 1 0 0,1-4 0 0 0,-2 3-31 0 0,1 0 0 0 0,1 0 1 0 0,-1 0-1 0 0,1 0 1 0 0,0 1-1 0 0,0-1 0 0 0,1 0 1 0 0,0 1-1 0 0,0 0 1 0 0,0 0-1 0 0,0 0 0 0 0,1 0 1 0 0,0 0-1 0 0,0 1 1 0 0,0-1-1 0 0,1 1 0 0 0,-1 0 1 0 0,6-3-1 0 0,-3 3-5 0 0,0 1-1 0 0,-1 0 1 0 0,1 1 0 0 0,1 0-1 0 0,-1 0 1 0 0,0 0 0 0 0,1 1-1 0 0,-1 0 1 0 0,0 0 0 0 0,1 1-1 0 0,-1 0 1 0 0,1 0 0 0 0,-1 1-1 0 0,1 0 1 0 0,8 2 0 0 0,-7-1 10 0 0,-2-1-4 0 0,0 1 0 0 0,1 0 0 0 0,-1 0 0 0 0,0 1 0 0 0,0 0 0 0 0,-1 0 0 0 0,1 1 0 0 0,0 0 0 0 0,-1 0 0 0 0,0 0 0 0 0,0 1 0 0 0,9 9 0 0 0,-5-3 56 0 0,-8-9-44 0 0,-2-1 15 0 0,0-1-1 0 0,0 0 1 0 0,0 1-1 0 0,0-1 1 0 0,0 1-1 0 0,0-1 1 0 0,0 1-1 0 0,0-1 1 0 0,0 1-1 0 0,0-1 1 0 0,0 1-1 0 0,0-1 1 0 0,0 1-1 0 0,0-1 1 0 0,0 1-1 0 0,0-1 1 0 0,-1 1-1 0 0,1-1 1 0 0,0 1-1 0 0,0-1 1 0 0,0 0-1 0 0,-1 1 1 0 0,1-1-1 0 0,-1 1 1 0 0,0-1 7 0 0,-1 0 1 0 0,0 0-1 0 0,1 0 1 0 0,-1 0-1 0 0,0 0 1 0 0,1 0-1 0 0,-1-1 1 0 0,1 1-1 0 0,-1-1 1 0 0,1 1-1 0 0,-1-1 1 0 0,1 1-1 0 0,-1-1 1 0 0,1 0-1 0 0,-1 0 1 0 0,1 0-1 0 0,0 0 1 0 0,-1 0-1 0 0,1 0 1 0 0,-1-1-1 0 0,-1-2 24 0 0,0 1-1 0 0,0-1 1 0 0,1 0-1 0 0,0 0 1 0 0,0 0 0 0 0,0 0-1 0 0,-2-6 1 0 0,0 0 50 0 0,2-1 0 0 0,-1 1 1 0 0,2 0-1 0 0,-1-1 0 0 0,1 1 0 0 0,1-13 1 0 0,0 21-96 0 0,1-9 66 0 0,0 0-1 0 0,0 0 1 0 0,1 0 0 0 0,3-12-1 0 0,-4 20-69 0 0,1 0-1 0 0,-1 0 0 0 0,0-1 0 0 0,1 1 1 0 0,0 0-1 0 0,0 0 0 0 0,0 1 0 0 0,0-1 1 0 0,0 0-1 0 0,0 1 0 0 0,1-1 1 0 0,-1 1-1 0 0,1 0 0 0 0,0 0 0 0 0,0 0 1 0 0,0 0-1 0 0,0 0 0 0 0,5-2 0 0 0,-5 3-7 0 0,0 0 0 0 0,1 0 0 0 0,-1 0 0 0 0,0 0 0 0 0,1 1-1 0 0,-1-1 1 0 0,1 1 0 0 0,-1 0 0 0 0,1 0 0 0 0,-1 0 0 0 0,1 1-1 0 0,-1-1 1 0 0,1 1 0 0 0,-1 0 0 0 0,0 0 0 0 0,1 0 0 0 0,2 2-1 0 0,0 0 27 0 0,0 0-1 0 0,0 1 0 0 0,-1-1 0 0 0,0 1 0 0 0,0 1 0 0 0,0-1 0 0 0,0 1 1 0 0,6 9-1 0 0,-3-3-315 0 0,0 0 0 0 0,-1 1 0 0 0,0 0 0 0 0,-1 1 0 0 0,0-1 0 0 0,-1 1 1 0 0,-1 0-1 0 0,5 21 0 0 0,-5-13-893 0 0,-1-6-587 0 0,0-1-1 0 0,0 18 0 0 0,2-16-458 0 0,16-13-6461 0 0</inkml:trace>
</inkml:ink>
</file>

<file path=ppt/ink/ink3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20.746"/>
    </inkml:context>
    <inkml:brush xml:id="br0">
      <inkml:brushProperty name="width" value="0.1" units="cm"/>
      <inkml:brushProperty name="height" value="0.1" units="cm"/>
      <inkml:brushProperty name="color" value="#008C3A"/>
    </inkml:brush>
  </inkml:definitions>
  <inkml:trace contextRef="#ctx0" brushRef="#br0">1 452 1552 0 0,'4'-8'542'0'0,"2"0"1"0"0,-1 0-1 0 0,1 1 1 0 0,0 0-1 0 0,1 0 0 0 0,0 1 1 0 0,0-1-1 0 0,0 1 0 0 0,1 1 1 0 0,8-5-1 0 0,-12 7-372 0 0,1 1 1 0 0,0 0-1 0 0,-1 1 1 0 0,1-1-1 0 0,0 1 0 0 0,-1 0 1 0 0,1 0-1 0 0,0 0 1 0 0,0 1-1 0 0,0 0 0 0 0,0 0 1 0 0,0 0-1 0 0,0 1 1 0 0,0-1-1 0 0,-1 1 0 0 0,1 0 1 0 0,0 1-1 0 0,0-1 1 0 0,-1 1-1 0 0,10 4 0 0 0,5 5 378 0 0,-1 1-1 0 0,0 0 1 0 0,-1 1-1 0 0,0 1 0 0 0,-1 1 1 0 0,20 23-1 0 0,2 8 1000 0 0,34 55 0 0 0,-58-81-1086 0 0,-1 2 1 0 0,-2 0-1 0 0,0 0 0 0 0,8 27 0 0 0,-18-47-318 0 0,0 1 0 0 0,-1-1 0 0 0,1 1 0 0 0,-1 0 1 0 0,0-1-1 0 0,0 1 0 0 0,0 0 0 0 0,-1 3 0 0 0,1-5-120 0 0,0 0-1 0 0,0-1 1 0 0,0 1 0 0 0,0 0-1 0 0,-1 0 1 0 0,1-1 0 0 0,0 1-1 0 0,0 0 1 0 0,-1-1-1 0 0,1 1 1 0 0,-1 0 0 0 0,1-1-1 0 0,0 1 1 0 0,-1-1 0 0 0,1 1-1 0 0,-1-1 1 0 0,0 1-1 0 0,1-1 1 0 0,-1 1 0 0 0,1-1-1 0 0,-1 1 1 0 0,0-1 0 0 0,1 0-1 0 0,-1 1 1 0 0,0-1-1 0 0,1 0 1 0 0,-1 0 0 0 0,0 1-1 0 0,0-1 1 0 0,1 0 0 0 0,-1 0-1 0 0,0 0 1 0 0,0 0-1 0 0,1 0 1 0 0,-2 0 0 0 0,-5-2 2 0 0,1 1 0 0 0,0-1 0 0 0,0 0 0 0 0,0-1 0 0 0,0 1 0 0 0,0-1 1 0 0,0-1-1 0 0,1 1 0 0 0,0-1 0 0 0,-1 0 0 0 0,2 0 0 0 0,-1 0 0 0 0,0-1 0 0 0,1 1 1 0 0,-6-8-1 0 0,-7-10 5 0 0,1 0 1 0 0,-18-34 0 0 0,15 23-77 0 0,3 0 1 0 0,0-1 0 0 0,3-1-1 0 0,0 0 1 0 0,-7-38-1 0 0,16 53-22 0 0,1 1-1 0 0,1-1 1 0 0,0 0-1 0 0,1 0 1 0 0,2 0-1 0 0,0 0 1 0 0,1 0-1 0 0,0 1 1 0 0,2-1-1 0 0,1 1 1 0 0,7-23-1 0 0,-7 31 32 0 0,1-1 0 0 0,0 1 0 0 0,0 0 0 0 0,1 1 0 0 0,0 0 0 0 0,16-17 0 0 0,-18 21 16 0 0,1 0 0 0 0,0 1 0 0 0,0 0 1 0 0,1 0-1 0 0,-1 0 0 0 0,1 1 0 0 0,0 0 0 0 0,0 0 1 0 0,1 1-1 0 0,-1-1 0 0 0,9-1 0 0 0,10 1-54 0 0,-25 4 70 0 0,0 0 1 0 0,1 0 0 0 0,-1 0-1 0 0,0 0 1 0 0,0 0-1 0 0,0 0 1 0 0,0 1-1 0 0,1-1 1 0 0,-1 0-1 0 0,0 1 1 0 0,0-1-1 0 0,0 0 1 0 0,0 1-1 0 0,0 0 1 0 0,0-1 0 0 0,0 1-1 0 0,0-1 1 0 0,0 1-1 0 0,0 0 1 0 0,0 0-1 0 0,-1 0 1 0 0,1-1-1 0 0,0 1 1 0 0,0 0-1 0 0,-1 0 1 0 0,1 0-1 0 0,-1 0 1 0 0,1 0 0 0 0,0 2-1 0 0,0 0 0 0 0,0-1-1 0 0,0 1 0 0 0,0 0 1 0 0,-1-1-1 0 0,1 1 1 0 0,-1 0-1 0 0,0 0 1 0 0,1-1-1 0 0,-1 1 1 0 0,-1 3-1 0 0,0 1 3 0 0,-1 0 0 0 0,-1 0-1 0 0,1-1 1 0 0,-1 1-1 0 0,0 0 1 0 0,-1-1 0 0 0,-7 11-1 0 0,-35 40 5 0 0,-63 48-244 0 0,55-55-2247 0 0,3 2-4558 0 0</inkml:trace>
  <inkml:trace contextRef="#ctx0" brushRef="#br0" timeOffset="1">391 402 600 0 0,'47'-6'7997'0'0,"74"-17"0"0"0,-119 22-7909 0 0,2 1-353 0 0,13 0-1664 0 0</inkml:trace>
</inkml:ink>
</file>

<file path=ppt/ink/ink3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21.952"/>
    </inkml:context>
    <inkml:brush xml:id="br0">
      <inkml:brushProperty name="width" value="0.1" units="cm"/>
      <inkml:brushProperty name="height" value="0.1" units="cm"/>
      <inkml:brushProperty name="color" value="#008C3A"/>
    </inkml:brush>
  </inkml:definitions>
  <inkml:trace contextRef="#ctx0" brushRef="#br0">130 88 420 0 0,'1'-5'365'0'0,"0"1"0"0"0,0-1 0 0 0,-1 0 0 0 0,1 1 0 0 0,-1-1 0 0 0,0 0 0 0 0,-1 0 0 0 0,1 0 0 0 0,-1 1 0 0 0,0-1 0 0 0,0 0 0 0 0,0 1 0 0 0,-3-8 0 0 0,3 11-331 0 0,0 0 1 0 0,1 0 0 0 0,-1 0-1 0 0,0 0 1 0 0,0 0-1 0 0,1 0 1 0 0,-1 1-1 0 0,0-1 1 0 0,0 0-1 0 0,0 0 1 0 0,0 1 0 0 0,0-1-1 0 0,0 0 1 0 0,0 1-1 0 0,0-1 1 0 0,-1 1-1 0 0,1 0 1 0 0,0-1 0 0 0,0 1-1 0 0,0 0 1 0 0,-3 0-1 0 0,-16-1 152 0 0,19 1-205 0 0,-3 1-9 0 0,-1 1 0 0 0,0-1 1 0 0,1 0-1 0 0,-1 1 0 0 0,1 0 0 0 0,0 0 0 0 0,0 0 0 0 0,0 1 0 0 0,0 0 0 0 0,-5 3 1 0 0,-2 5-2524 0 0,-5 0 1355 0 0</inkml:trace>
</inkml:ink>
</file>

<file path=ppt/ink/ink3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23.305"/>
    </inkml:context>
    <inkml:brush xml:id="br0">
      <inkml:brushProperty name="width" value="0.1" units="cm"/>
      <inkml:brushProperty name="height" value="0.1" units="cm"/>
      <inkml:brushProperty name="color" value="#008C3A"/>
    </inkml:brush>
  </inkml:definitions>
  <inkml:trace contextRef="#ctx0" brushRef="#br0">5 10 136 0 0,'-4'-10'7825'0'0,"21"26"-6815"0"0,0 1 1 0 0,-1 0-1 0 0,27 37 0 0 0,-15-18-569 0 0,205 291 680 0 0,-145-179-8446 0 0,-80-133 3490 0 0</inkml:trace>
</inkml:ink>
</file>

<file path=ppt/ink/ink3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23.799"/>
    </inkml:context>
    <inkml:brush xml:id="br0">
      <inkml:brushProperty name="width" value="0.1" units="cm"/>
      <inkml:brushProperty name="height" value="0.1" units="cm"/>
      <inkml:brushProperty name="color" value="#008C3A"/>
    </inkml:brush>
  </inkml:definitions>
  <inkml:trace contextRef="#ctx0" brushRef="#br0">85 461 128 0 0,'-20'-6'4538'0'0,"-39"-17"0"0"0,58 22-4503 0 0,1 1 1 0 0,0 0 0 0 0,-1 0 0 0 0,1-1 0 0 0,0 1 0 0 0,-1 0 0 0 0,1-1 0 0 0,0 1 0 0 0,0-1 0 0 0,-1 1 0 0 0,1 0 0 0 0,0-1 0 0 0,0 1 0 0 0,-1-1-1 0 0,1 1 1 0 0,0 0 0 0 0,0-1 0 0 0,0 1 0 0 0,0-1 0 0 0,0 1 0 0 0,0-1 0 0 0,0 1 0 0 0,0-1 0 0 0,0 1 0 0 0,0-1 0 0 0,0 1 0 0 0,0 0 0 0 0,0-1-1 0 0,0 1 1 0 0,0-1 0 0 0,1 1 0 0 0,-1-1 0 0 0,0 1 0 0 0,0 0 0 0 0,0-1 0 0 0,1 1 0 0 0,-1-1 0 0 0,0 1 0 0 0,1-1 0 0 0,9-11 247 0 0,-10 12-280 0 0,18-15 232 0 0,0 2 1 0 0,0 0-1 0 0,2 1 0 0 0,27-13 1 0 0,-5 2-46 0 0,54-31 797 0 0,164-122 0 0 0,-254 171-869 0 0,9-8 201 0 0,0 1-1 0 0,1 1 1 0 0,28-16 0 0 0,-42 26-292 0 0,1 0 1 0 0,0 1-1 0 0,-1-1 0 0 0,1 1 1 0 0,0-1-1 0 0,0 1 1 0 0,-1 0-1 0 0,1 0 0 0 0,0 0 1 0 0,-1 0-1 0 0,1 1 1 0 0,0-1-1 0 0,0 1 0 0 0,-1 0 1 0 0,4 0-1 0 0,-1 2 30 0 0,1-1 0 0 0,0 1 0 0 0,-1 0 0 0 0,0 0 0 0 0,8 6 1 0 0,4 5 186 0 0,0 2 0 0 0,-2 0 0 0 0,0 0 0 0 0,24 37 0 0 0,41 79 688 0 0,-60-102 2917 0 0,-20-33-3639 0 0,0-2-144 0 0,-1-12 21 0 0,1 0 1 0 0,1-1-1 0 0,1 1 1 0 0,0 0-1 0 0,1 0 1 0 0,9-29-1 0 0,-8 36-123 0 0,0 0-1 0 0,1 0 0 0 0,0 1 0 0 0,0-1 1 0 0,1 1-1 0 0,0 0 0 0 0,11-11 0 0 0,-13 17 34 0 0,-1-1-1 0 0,1 1 1 0 0,0 0-1 0 0,0 1 1 0 0,0-1-1 0 0,0 1 1 0 0,0 0-1 0 0,1 0 1 0 0,-1 0-1 0 0,1 0 1 0 0,-1 1-1 0 0,1-1 1 0 0,0 1-1 0 0,-1 1 0 0 0,1-1 1 0 0,0 1-1 0 0,0-1 1 0 0,-1 1-1 0 0,6 1 1 0 0,1 1 5 0 0,-1-1 0 0 0,1 2 0 0 0,-1-1 0 0 0,0 1 0 0 0,0 1 0 0 0,0 0 0 0 0,0 0 0 0 0,-1 1 0 0 0,0 0 1 0 0,0 1-1 0 0,0 0 0 0 0,-1 0 0 0 0,10 10 0 0 0,6 8-1329 0 0,-2 2-1 0 0,35 49 1 0 0,-29-36-1626 0 0,-26-36 2511 0 0,1 0 0 0 0,0 1 1 0 0,0-1-1 0 0,0-1 0 0 0,0 1 0 0 0,0 0 0 0 0,1-1 1 0 0,-1 1-1 0 0,1-1 0 0 0,0 0 0 0 0,-1 0 1 0 0,1 0-1 0 0,0-1 0 0 0,0 1 0 0 0,0-1 1 0 0,6 1-1 0 0,-9-2 279 0 0,0 0 0 0 0,0 0 0 0 0,0 0 0 0 0,1 0 0 0 0,-1 0 0 0 0,0 0 0 0 0,0 0 0 0 0,0 0 0 0 0,0-1 0 0 0,0 1 0 0 0,1 0 0 0 0,-1-1 0 0 0,0 1 0 0 0,0-1 0 0 0,0 1 0 0 0,0-1 0 0 0,1-1 0 0 0,1 1-450 0 0,10-7-1987 0 0</inkml:trace>
</inkml:ink>
</file>

<file path=ppt/ink/ink3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24.135"/>
    </inkml:context>
    <inkml:brush xml:id="br0">
      <inkml:brushProperty name="width" value="0.1" units="cm"/>
      <inkml:brushProperty name="height" value="0.1" units="cm"/>
      <inkml:brushProperty name="color" value="#008C3A"/>
    </inkml:brush>
  </inkml:definitions>
  <inkml:trace contextRef="#ctx0" brushRef="#br0">267 75 184 0 0,'-1'-4'383'0'0,"0"0"0"0"0,0 0 0 0 0,0 0 0 0 0,0 1 0 0 0,-1-1 0 0 0,0 0 0 0 0,1 0 0 0 0,-1 1 0 0 0,-1-1 0 0 0,1 1 0 0 0,0 0 0 0 0,-1 0 0 0 0,0-1-1 0 0,0 2 1 0 0,0-1 0 0 0,-4-3 0 0 0,4 4-162 0 0,-1 0 1 0 0,0 1-1 0 0,0-1 0 0 0,0 1 0 0 0,0 0 0 0 0,0 0 0 0 0,0 0 0 0 0,0 1 0 0 0,0-1 0 0 0,-1 1 0 0 0,1 0 0 0 0,0 0 0 0 0,0 0 0 0 0,0 1 1 0 0,-8 1-1 0 0,3 1-56 0 0,1-1 0 0 0,-1 1 1 0 0,0 1-1 0 0,1 0 0 0 0,0 0 1 0 0,0 0-1 0 0,0 1 0 0 0,1 0 1 0 0,-1 1-1 0 0,1 0 0 0 0,1 0 1 0 0,-1 0-1 0 0,1 1 0 0 0,0 0 1 0 0,0 0-1 0 0,1 1 0 0 0,-7 12 1 0 0,9-15-99 0 0,0 0 0 0 0,1 0 0 0 0,0 0 0 0 0,0 0 1 0 0,0 1-1 0 0,0-1 0 0 0,1 1 0 0 0,0-1 0 0 0,0 1 1 0 0,1 0-1 0 0,0-1 0 0 0,0 1 0 0 0,0 0 1 0 0,0-1-1 0 0,1 1 0 0 0,0 0 0 0 0,0-1 0 0 0,0 1 1 0 0,1-1-1 0 0,0 0 0 0 0,0 1 0 0 0,1-1 0 0 0,-1 0 1 0 0,1 0-1 0 0,0-1 0 0 0,0 1 0 0 0,1 0 0 0 0,6 6 1 0 0,-8-8-50 0 0,1-1 1 0 0,-1 0 0 0 0,1 0 0 0 0,-1-1-1 0 0,1 1 1 0 0,0 0 0 0 0,0-1-1 0 0,0 1 1 0 0,0-1 0 0 0,0 0-1 0 0,0 0 1 0 0,0 0 0 0 0,0-1-1 0 0,0 1 1 0 0,0-1 0 0 0,1 0 0 0 0,-1 1-1 0 0,0-1 1 0 0,0-1 0 0 0,1 1-1 0 0,-1 0 1 0 0,0-1 0 0 0,0 0-1 0 0,4-1 1 0 0,-1 0-8 0 0,0-1 1 0 0,-1 1-1 0 0,1-1 1 0 0,-1 0-1 0 0,0-1 0 0 0,0 1 1 0 0,0-1-1 0 0,-1 0 1 0 0,1 0-1 0 0,-1 0 0 0 0,0-1 1 0 0,4-5-1 0 0,0-4-16 0 0,1 0 1 0 0,-2-1-1 0 0,6-16 0 0 0,-7 17-40 0 0,0 0 0 0 0,1 1 0 0 0,11-17 0 0 0,-17 28 23 0 0,3 2-16 0 0,-2 1 42 0 0,1 0-1 0 0,0 0 1 0 0,0 1-1 0 0,-1-1 0 0 0,1 0 1 0 0,-1 1-1 0 0,1 0 1 0 0,-1-1-1 0 0,0 1 1 0 0,0 0-1 0 0,0 0 0 0 0,0 0 1 0 0,0 1-1 0 0,0-1 1 0 0,0 0-1 0 0,-1 1 0 0 0,3 4 1 0 0,18 24 4 0 0,29 40-441 0 0,-14-31-3872 0 0,-22-30-330 0 0</inkml:trace>
</inkml:ink>
</file>

<file path=ppt/ink/ink3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24.463"/>
    </inkml:context>
    <inkml:brush xml:id="br0">
      <inkml:brushProperty name="width" value="0.1" units="cm"/>
      <inkml:brushProperty name="height" value="0.1" units="cm"/>
      <inkml:brushProperty name="color" value="#008C3A"/>
    </inkml:brush>
  </inkml:definitions>
  <inkml:trace contextRef="#ctx0" brushRef="#br0">1 10 1744 0 0,'2'-1'1403'0'0,"7"-7"2168"0"0,-6 10-2498 0 0,0 0-825 0 0,-1 0-1 0 0,1 0 1 0 0,-1 0 0 0 0,0 1 0 0 0,0 0 0 0 0,1-1 0 0 0,-2 1 0 0 0,1 0-1 0 0,0 0 1 0 0,-1 0 0 0 0,1 0 0 0 0,1 5 0 0 0,13 49 2054 0 0,-7-23-1260 0 0,21 76 4646 0 0,-29-113-5484 0 0,8-20 13 0 0,-2 2-128 0 0,1 0-1 0 0,1 0 0 0 0,14-23 1 0 0,-20 39-95 0 0,0 0 0 0 0,1 0 1 0 0,0 0-1 0 0,0 1 0 0 0,0-1 1 0 0,1 1-1 0 0,0 0 0 0 0,-1 0 0 0 0,1 0 1 0 0,1 1-1 0 0,-1 0 0 0 0,0 0 0 0 0,1 0 1 0 0,0 0-1 0 0,-1 1 0 0 0,10-2 1 0 0,-9 3 1 0 0,0 0 1 0 0,0 1 0 0 0,0 0-1 0 0,1 0 1 0 0,-1 0 0 0 0,0 1-1 0 0,0 0 1 0 0,0 0 0 0 0,0 1-1 0 0,0 0 1 0 0,0 0 0 0 0,-1 0-1 0 0,10 5 1 0 0,-2 0 8 0 0,0 1 1 0 0,0 1 0 0 0,-1 0-1 0 0,13 12 1 0 0,-15-13-369 0 0,-1 2 0 0 0,-1-1 0 0 0,0 1-1 0 0,0 1 1 0 0,-1 0 0 0 0,0 0 0 0 0,6 15 0 0 0,-5-10-2948 0 0,-2 1 0 0 0,7 26 1 0 0,-9-26-2153 0 0</inkml:trace>
</inkml:ink>
</file>

<file path=ppt/ink/ink3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25.278"/>
    </inkml:context>
    <inkml:brush xml:id="br0">
      <inkml:brushProperty name="width" value="0.1" units="cm"/>
      <inkml:brushProperty name="height" value="0.1" units="cm"/>
      <inkml:brushProperty name="color" value="#008C3A"/>
    </inkml:brush>
  </inkml:definitions>
  <inkml:trace contextRef="#ctx0" brushRef="#br0">113 344 212 0 0,'-28'-13'8053'0'0,"28"14"-7922"0"0,-1 1 0 0 0,0-1 0 0 0,0 1-1 0 0,1-1 1 0 0,-1 1 0 0 0,1 0 0 0 0,0-1 0 0 0,-1 1 0 0 0,1 0 0 0 0,0-1 0 0 0,0 1 0 0 0,0 0 0 0 0,0-1 0 0 0,0 1 0 0 0,0 0 0 0 0,1 0 0 0 0,-1-1-1 0 0,1 1 1 0 0,0 3 0 0 0,15 40 1618 0 0,-13-37-1470 0 0,27 59 1797 0 0,51 86 1 0 0,-54-105-1617 0 0,-22-39-342 0 0,1 1-1 0 0,-1 0 1 0 0,-1-1 0 0 0,0 2 0 0 0,0-1 0 0 0,-1 0 0 0 0,3 20 0 0 0,-6-29-107 0 0,0 0 0 0 0,0 0 0 0 0,0 0 0 0 0,0 0 1 0 0,0 0-1 0 0,0 0 0 0 0,0 0 0 0 0,0-1 0 0 0,0 1 0 0 0,0 0 0 0 0,-1 0 0 0 0,1 0 0 0 0,0 0 0 0 0,-1 0 0 0 0,1-1 1 0 0,-1 1-1 0 0,1 0 0 0 0,-1 0 0 0 0,1 0 0 0 0,-1-1 0 0 0,0 1 0 0 0,1 0 0 0 0,-1-1 0 0 0,0 1 0 0 0,1-1 1 0 0,-1 1-1 0 0,0-1 0 0 0,0 1 0 0 0,0-1 0 0 0,1 1 0 0 0,-1-1 0 0 0,0 0 0 0 0,0 1 0 0 0,0-1 0 0 0,0 0 1 0 0,0 0-1 0 0,0 0 0 0 0,0 0 0 0 0,0 0 0 0 0,1 0 0 0 0,-1 0 0 0 0,0 0 0 0 0,0 0 0 0 0,0 0 0 0 0,0 0 1 0 0,0-1-1 0 0,-1 1 0 0 0,-3-2 16 0 0,0 1-1 0 0,0-1 1 0 0,0 0 0 0 0,0 0 0 0 0,1-1 0 0 0,-7-4 0 0 0,1-1-8 0 0,0 0 0 0 0,1-1 0 0 0,0 0 1 0 0,1-1-1 0 0,0 0 0 0 0,0 0 0 0 0,-6-13 0 0 0,-40-84-44 0 0,46 90 33 0 0,-6-13-25 0 0,3 0-1 0 0,0-1 1 0 0,2-1-1 0 0,1 0 1 0 0,-3-37-1 0 0,8 46-123 0 0,1 0 0 0 0,2 0 0 0 0,0 1 0 0 0,1-1-1 0 0,1 0 1 0 0,2 0 0 0 0,0 1 0 0 0,10-30 0 0 0,-11 43-113 0 0,1-1 0 0 0,1 1 0 0 0,0 0 0 0 0,0 0 0 0 0,0 0 1 0 0,1 1-1 0 0,1 0 0 0 0,-1 0 0 0 0,14-12 0 0 0,-18 18-45 0 0,1 0 1 0 0,0-1-1 0 0,0 1 0 0 0,-1 0 0 0 0,2 0 1 0 0,-1 1-1 0 0,0-1 0 0 0,0 1 0 0 0,0-1 1 0 0,1 1-1 0 0,-1 0 0 0 0,1 0 0 0 0,-1 1 1 0 0,1-1-1 0 0,-1 1 0 0 0,1 0 1 0 0,-1 0-1 0 0,1 0 0 0 0,-1 0 0 0 0,1 0 1 0 0,0 1-1 0 0,-1 0 0 0 0,0-1 0 0 0,1 1 1 0 0,-1 1-1 0 0,1-1 0 0 0,-1 0 0 0 0,0 1 1 0 0,0 0-1 0 0,0 0 0 0 0,3 2 1 0 0,10 10-3149 0 0</inkml:trace>
</inkml:ink>
</file>

<file path=ppt/ink/ink3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26.251"/>
    </inkml:context>
    <inkml:brush xml:id="br0">
      <inkml:brushProperty name="width" value="0.1" units="cm"/>
      <inkml:brushProperty name="height" value="0.1" units="cm"/>
      <inkml:brushProperty name="color" value="#008C3A"/>
    </inkml:brush>
  </inkml:definitions>
  <inkml:trace contextRef="#ctx0" brushRef="#br0">35 775 808 0 0,'-34'85'9492'0'0,"34"-85"-9465"0"0,0 0 0 0 0,0 1 0 0 0,0-1 0 0 0,0 0 0 0 0,0 0 0 0 0,0 1 1 0 0,0-1-1 0 0,0 0 0 0 0,0 1 0 0 0,0-1 0 0 0,0 0 0 0 0,0 0 0 0 0,0 1 0 0 0,0-1 1 0 0,0 0-1 0 0,0 0 0 0 0,0 1 0 0 0,0-1 0 0 0,1 0 0 0 0,-1 0 0 0 0,0 1 0 0 0,0-1 1 0 0,0 0-1 0 0,0 0 0 0 0,0 0 0 0 0,1 1 0 0 0,-1-1 0 0 0,0 0 0 0 0,0 0 1 0 0,0 0-1 0 0,1 0 0 0 0,-1 1 0 0 0,0-1 0 0 0,0 0 0 0 0,1 0 0 0 0,-1 0 0 0 0,0 0 1 0 0,0 0-1 0 0,1 0 0 0 0,-1 0 0 0 0,0 0 0 0 0,0 0 0 0 0,1 0 0 0 0,-1 0 0 0 0,0 0 1 0 0,1 0-1 0 0,-1 0 0 0 0,0 0 0 0 0,0 0 0 0 0,1 0 0 0 0,-1 0 0 0 0,0 0 1 0 0,0 0-1 0 0,1 0 0 0 0,13-2 332 0 0,-14 2-352 0 0,64-19 314 0 0,0-2-1 0 0,-2-4 0 0 0,72-38 0 0 0,-101 43 447 0 0,-1-2-1 0 0,-1-1 0 0 0,45-42 1 0 0,-75 64-748 0 0,0 0 1 0 0,0 1 0 0 0,0-1-1 0 0,0 0 1 0 0,0 1-1 0 0,0-1 1 0 0,0 1-1 0 0,0-1 1 0 0,0 1-1 0 0,0-1 1 0 0,0 1 0 0 0,0 0-1 0 0,0 0 1 0 0,0 0-1 0 0,0-1 1 0 0,0 1-1 0 0,1 0 1 0 0,-1 0 0 0 0,0 0-1 0 0,0 1 1 0 0,0-1-1 0 0,0 0 1 0 0,0 0-1 0 0,0 1 1 0 0,1-1-1 0 0,-1 0 1 0 0,0 1 0 0 0,0-1-1 0 0,0 1 1 0 0,0 0-1 0 0,0-1 1 0 0,-1 1-1 0 0,1 0 1 0 0,0-1 0 0 0,0 1-1 0 0,0 0 1 0 0,0 0-1 0 0,-1 0 1 0 0,2 1-1 0 0,4 6 122 0 0,-1 0 0 0 0,0 0-1 0 0,8 16 1 0 0,-7-11 13 0 0,5 5 136 0 0,2-1 0 0 0,27 30 0 0 0,-15-18 78 0 0,-24-27-355 0 0,0-1 0 0 0,0 1-1 0 0,0-1 1 0 0,1 0 0 0 0,-1 1-1 0 0,0-1 1 0 0,1 0 0 0 0,-1 0-1 0 0,1 0 1 0 0,-1 0 0 0 0,1 0-1 0 0,-1 0 1 0 0,1 0 0 0 0,0-1-1 0 0,-1 1 1 0 0,1 0-1 0 0,0-1 1 0 0,0 0 0 0 0,0 1-1 0 0,-1-1 1 0 0,1 0 0 0 0,0 0-1 0 0,0 0 1 0 0,0 0 0 0 0,-1 0-1 0 0,1 0 1 0 0,0-1 0 0 0,0 1-1 0 0,0 0 1 0 0,-1-1 0 0 0,1 0-1 0 0,0 1 1 0 0,-1-1 0 0 0,1 0-1 0 0,0 0 1 0 0,-1 0-1 0 0,1 0 1 0 0,-1 0 0 0 0,1 0-1 0 0,-1 0 1 0 0,0-1 0 0 0,0 1-1 0 0,3-3 1 0 0,2-4-122 0 0,1 0 0 0 0,-2-1 0 0 0,1 0-1 0 0,-1 0 1 0 0,0 0 0 0 0,3-11 0 0 0,2-7-153 0 0,8-19-212 0 0,-18 45 460 0 0,1 1 0 0 0,-1-1 0 0 0,1 0 0 0 0,-1 1 0 0 0,1-1 0 0 0,-1 1 0 0 0,1-1 0 0 0,0 1 0 0 0,-1-1 0 0 0,1 1-1 0 0,0-1 1 0 0,-1 1 0 0 0,1-1 0 0 0,0 1 0 0 0,0 0 0 0 0,-1-1 0 0 0,1 1 0 0 0,0 0 0 0 0,0 0 0 0 0,0 0 0 0 0,-1 0 0 0 0,1 0 0 0 0,0 0 0 0 0,0 0 0 0 0,0 0 0 0 0,-1 0 0 0 0,1 0 0 0 0,0 0 0 0 0,0 0 0 0 0,0 0 0 0 0,-1 1-1 0 0,1-1 1 0 0,0 0 0 0 0,0 1 0 0 0,-1-1 0 0 0,2 1 0 0 0,32 22-3 0 0,-21-12 23 0 0,-4-6 23 0 0,0 1 0 0 0,0-1 0 0 0,1-1 0 0 0,-1 0-1 0 0,1 0 1 0 0,0-1 0 0 0,1 0 0 0 0,-1-1 0 0 0,0 0 0 0 0,1-1 0 0 0,-1 0 0 0 0,1 0 0 0 0,-1-1 0 0 0,1-1 0 0 0,17-2 0 0 0,-21 1-18 0 0,0 1 1 0 0,0-1-1 0 0,0-1 0 0 0,0 1 1 0 0,0-1-1 0 0,-1 0 0 0 0,1-1 0 0 0,-1 1 1 0 0,0-1-1 0 0,0-1 0 0 0,0 1 0 0 0,-1-1 1 0 0,1 0-1 0 0,-1 0 0 0 0,0-1 1 0 0,-1 1-1 0 0,1-1 0 0 0,-1 0 0 0 0,0-1 1 0 0,-1 1-1 0 0,1-1 0 0 0,-1 1 0 0 0,2-9 1 0 0,-1 1-101 0 0,-1-1 1 0 0,-1 1 0 0 0,0 0 0 0 0,-1-1 0 0 0,0 1-1 0 0,-1-1 1 0 0,-1 1 0 0 0,-5-27 0 0 0,-4-10-221 0 0,-20-55 1 0 0,15 57 195 0 0,2 2-26 0 0,-3-10-48 0 0,-28-67 1 0 0,43 122 772 0 0,3 4-193 0 0,30 84 1118 0 0,-7-18-861 0 0,70 144 407 0 0,-18-42-611 0 0,-43-75-323 0 0,-21-56-307 0 0,-12-36 105 0 0,0 0 0 0 0,0 1 0 0 0,-1-1 0 0 0,0 0 0 0 0,1 0 0 0 0,-1 1 1 0 0,0-1-1 0 0,-1 0 0 0 0,1 1 0 0 0,-1 3 0 0 0,0-6 37 0 0,1 0 0 0 0,0 0 0 0 0,-1 0 1 0 0,1 0-1 0 0,-1 0 0 0 0,1 0 0 0 0,-1 0 0 0 0,1 0 0 0 0,-1-1 0 0 0,0 1 1 0 0,1 0-1 0 0,-1 0 0 0 0,0 0 0 0 0,0-1 0 0 0,0 1 0 0 0,1 0 0 0 0,-1-1 1 0 0,0 1-1 0 0,0-1 0 0 0,0 1 0 0 0,0-1 0 0 0,0 0 0 0 0,0 1 1 0 0,0-1-1 0 0,0 0 0 0 0,0 0 0 0 0,0 1 0 0 0,0-1 0 0 0,0 0 0 0 0,0 0 1 0 0,0 0-1 0 0,-1 0 0 0 0,1 0 0 0 0,0-1 0 0 0,0 1 0 0 0,0 0 0 0 0,0 0 1 0 0,0-1-1 0 0,0 1 0 0 0,0-1 0 0 0,0 1 0 0 0,-1-1 0 0 0,-7-4-52 0 0,1 1 0 0 0,-1-1-1 0 0,1-1 1 0 0,0 1-1 0 0,0-1 1 0 0,1-1-1 0 0,-1 1 1 0 0,1-1 0 0 0,1-1-1 0 0,-10-12 1 0 0,12 15 65 0 0,1 0 1 0 0,0 0 0 0 0,0 0 0 0 0,0 0-1 0 0,0 0 1 0 0,1 0 0 0 0,0-1-1 0 0,0 1 1 0 0,0-1 0 0 0,1 0 0 0 0,0 1-1 0 0,0-1 1 0 0,0 0 0 0 0,1 0-1 0 0,0 0 1 0 0,0 0 0 0 0,0 1-1 0 0,1-1 1 0 0,0 0 0 0 0,2-5 0 0 0,-3 9 20 0 0,1 1 0 0 0,0-1 0 0 0,0 1 0 0 0,0 0 0 0 0,0-1 0 0 0,0 1 0 0 0,0 0 0 0 0,0 0 0 0 0,0 0 1 0 0,1 0-1 0 0,-1 0 0 0 0,0 0 0 0 0,1 0 0 0 0,-1 0 0 0 0,1 0 0 0 0,-1 1 0 0 0,1-1 0 0 0,-1 0 1 0 0,1 1-1 0 0,-1 0 0 0 0,1-1 0 0 0,0 1 0 0 0,-1 0 0 0 0,1 0 0 0 0,2 0 0 0 0,4 0-8 0 0,0 0-1 0 0,0 1 0 0 0,12 2 0 0 0,-14-2 31 0 0,41 8-1 0 0,-9-2 58 0 0,72 6-1 0 0,-99-13-56 0 0,1 0 0 0 0,-1-1-1 0 0,0 0 1 0 0,0 0 0 0 0,0-1-1 0 0,0-1 1 0 0,-1 0 0 0 0,1 0-1 0 0,0-1 1 0 0,-1-1 0 0 0,10-5 0 0 0,-15 7-11 0 0,0-1 1 0 0,0 0 0 0 0,0 0 0 0 0,0 0 0 0 0,-1-1-1 0 0,0 0 1 0 0,0 0 0 0 0,0 0 0 0 0,-1 0 0 0 0,1 0-1 0 0,-1-1 1 0 0,3-9 0 0 0,2-5 312 0 0,-2 0 0 0 0,6-29 1 0 0,-2 6 1039 0 0,-9 40-1240 0 0,0 3-102 0 0,0-1 0 0 0,0 1 1 0 0,0 0-1 0 0,0 0 0 0 0,0 0 0 0 0,0-1 1 0 0,0 1-1 0 0,0 0 0 0 0,0 0 0 0 0,1 0 1 0 0,-1 1-1 0 0,0-1 0 0 0,0 0 0 0 0,0 0 1 0 0,0 1-1 0 0,0-1 0 0 0,0 0 0 0 0,0 1 1 0 0,0-1-1 0 0,0 1 0 0 0,0-1 0 0 0,0 1 1 0 0,-1 0-1 0 0,1-1 0 0 0,0 1 0 0 0,0 0 1 0 0,0 0-1 0 0,-1 0 0 0 0,1-1 0 0 0,0 1 1 0 0,-1 0-1 0 0,1 0 0 0 0,0 1 0 0 0,16 21-263 0 0,0 1-1 0 0,15 30 0 0 0,-16-18-3098 0 0,-3 2-3772 0 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9:18.788"/>
    </inkml:context>
    <inkml:brush xml:id="br0">
      <inkml:brushProperty name="width" value="0.08571" units="cm"/>
      <inkml:brushProperty name="height" value="0.08571" units="cm"/>
      <inkml:brushProperty name="color" value="#00A0D7"/>
    </inkml:brush>
  </inkml:definitions>
  <inkml:trace contextRef="#ctx0" brushRef="#br0">398 52 11850,'-26'-12'2609,"0"0"-1980,8 6-269,0 0 0,0 1-180,1 1-90,1-1 0,-1 3-90,3 5 0,2 6 0,4 9 90,4-1 0,-1 4-90,3-4 90,-1 4-90,0 2 90,0 2 0,0 2-90,0 2 89,0 3-89,0 2 0,0 1 90,-1 0-90,2 2 90,-1 1-90,0 2 0,-1 1 0,1 2 90,0-3-90,-1 1 0,0-1 0,1-2 0,-1 2 90,-1 15-90,0-13 0,-2 13 90,3-19-90,0 0 90,1 0 0,0 0-90,-1-1 90,1 1-90,1 0 90,-1-1-90,0 2 0,0-1 90,0 0 180,-1 17-90,1-12-225,-1 14 135,1-18 0,0 2-1,1-1 1,-1 3-90,0-2 90,1 2-90,-1-3 0,1 1 90,0 0-90,-1 18 0,1-14 90,-1 13-90,2-18 0,-1 1 0,0-1 0,1 1 0,0-1 0,0 0 0,0 0 0,1 0 0,-1-1 0,0 17 0,0-13 0,0 12 0,1-17 0,-1 0 0,0 0 0,0 0 0,0 0 0,1-1 90,-2-1-180,2 1 180,-2-2-90,0 13 0,1-12 0,0 8 0,-1-14 0,2-1 225,-2 0-225,1-1 0,0 0 0,-1-1 0,1 0 0,0-1 0,0 0 0,0 0 0,0-1 0,0 8 0,0-7 0,0 6 0,1-9 0,0-1 0,0 1 0,0 1 0,1 1 0,0-1 0,-1 0 90,2 1-90,-1-2 0,2 13 0,-2-9 0,2 9 90,-1-9 90,0 0-90,0 1 90,0 0-90,0 2 0,0 0 0,0 3-90,1 0 90,-1 1 0,1 15 0,0-10 89,0 12 1,-1-14-90,0 2 90,1-1 0,-1 2-90,0 1 180,0-1-90,0 4 180,0 1-1,1 3 361,0 23-988,-1-16 718,1 18 0,-1-22-90,0 0-359,-1 1 449,1-1-90,-1-1-91,1 0 91,-2-1 0,2-1-90,-2-3 180,1 17-360,-1-18 0,0 13 0,0-19-1,0-3 1,0-2 0,0-3-90,0-1-90,1-2 601,-1-3-781,1-2 116,0-2-1376,0-1-1168,3 2-1709,4-6 449,9-6-3058,0-10 7016,6-11 0,-3-6 0,2-5 0</inkml:trace>
</inkml:ink>
</file>

<file path=ppt/ink/ink3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26.578"/>
    </inkml:context>
    <inkml:brush xml:id="br0">
      <inkml:brushProperty name="width" value="0.1" units="cm"/>
      <inkml:brushProperty name="height" value="0.1" units="cm"/>
      <inkml:brushProperty name="color" value="#008C3A"/>
    </inkml:brush>
  </inkml:definitions>
  <inkml:trace contextRef="#ctx0" brushRef="#br0">72 181 1436 0 0,'-17'-26'1687'0'0,"2"0"0"0"0,-19-42 0 0 0,33 66-1684 0 0,1 1 1 0 0,-1-1 0 0 0,0 1-1 0 0,1-1 1 0 0,-1 1 0 0 0,1-1-1 0 0,-1 0 1 0 0,1 1 0 0 0,0-1 0 0 0,0 1-1 0 0,0-1 1 0 0,0 0 0 0 0,0 1-1 0 0,0-1 1 0 0,0 0 0 0 0,1 1-1 0 0,-1-1 1 0 0,1 0 0 0 0,-1 1 0 0 0,1-1-1 0 0,-1 1 1 0 0,3-4 0 0 0,-2 4-3 0 0,1 0 1 0 0,-1-1 0 0 0,1 1 0 0 0,-1 0-1 0 0,1 0 1 0 0,0 0 0 0 0,0 0 0 0 0,0 0 0 0 0,0 0-1 0 0,0 1 1 0 0,0-1 0 0 0,0 0 0 0 0,0 1-1 0 0,0 0 1 0 0,3-1 0 0 0,6 1 78 0 0,-1 0-1 0 0,1 1 1 0 0,0 0 0 0 0,-1 0-1 0 0,18 5 1 0 0,10 6 510 0 0,-1 2 1 0 0,52 27-1 0 0,67 46 1006 0 0,-126-69-1251 0 0,178 117 2624 0 0,-100-62 893 0 0,-107-72-3727 0 0,0 0 0 0 0,0-1 0 0 0,0 1 0 0 0,0 0 0 0 0,0 0 0 0 0,0-1 0 0 0,0 1 0 0 0,1-1 0 0 0,-1 1 0 0 0,0-1 0 0 0,0 1 0 0 0,0-1 0 0 0,1 0 0 0 0,-1 0 0 0 0,0 1 0 0 0,1-1 0 0 0,-1 0 0 0 0,0 0 0 0 0,0 0 0 0 0,1 0 0 0 0,-1-1 1 0 0,0 1-1 0 0,1 0 0 0 0,-1 0 0 0 0,0-1 0 0 0,0 1 0 0 0,0-1 0 0 0,2 0 0 0 0,-1-1-76 0 0,-1 0 0 0 0,1 0 1 0 0,-1 0-1 0 0,0 0 0 0 0,0 0 0 0 0,0 0 1 0 0,0 0-1 0 0,0-1 0 0 0,0 1 1 0 0,-1 0-1 0 0,1 0 0 0 0,-1-1 1 0 0,0 1-1 0 0,1 0 0 0 0,-1-4 0 0 0,-1-15-61 0 0,0 1 0 0 0,-1-1 0 0 0,-1 1-1 0 0,-11-39 1 0 0,1 4-993 0 0,-10-35-3573 0 0,7 31-4386 0 0,11 41 3391 0 0</inkml:trace>
</inkml:ink>
</file>

<file path=ppt/ink/ink3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26.912"/>
    </inkml:context>
    <inkml:brush xml:id="br0">
      <inkml:brushProperty name="width" value="0.1" units="cm"/>
      <inkml:brushProperty name="height" value="0.1" units="cm"/>
      <inkml:brushProperty name="color" value="#008C3A"/>
    </inkml:brush>
  </inkml:definitions>
  <inkml:trace contextRef="#ctx0" brushRef="#br0">105 165 1440 0 0,'11'3'1191'0'0,"0"1"0"0"0,0 1 0 0 0,0 0 0 0 0,-1 0 0 0 0,0 1-1 0 0,0 0 1 0 0,14 13 0 0 0,60 60 1965 0 0,-61-56-2570 0 0,3 3 127 0 0,36 48 1 0 0,-51-59-1637 0 0,-1 1 1 0 0,0 0-1 0 0,-1 1 1 0 0,13 34-1 0 0,-19-31-4140 0 0</inkml:trace>
  <inkml:trace contextRef="#ctx0" brushRef="#br0" timeOffset="1">133 180 1656 0 0,'-69'-92'7499'0'0,"12"15"-4882"0"0,51 66-3017 0 0</inkml:trace>
</inkml:ink>
</file>

<file path=ppt/ink/ink3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28.269"/>
    </inkml:context>
    <inkml:brush xml:id="br0">
      <inkml:brushProperty name="width" value="0.1" units="cm"/>
      <inkml:brushProperty name="height" value="0.1" units="cm"/>
      <inkml:brushProperty name="color" value="#008C3A"/>
    </inkml:brush>
  </inkml:definitions>
  <inkml:trace contextRef="#ctx0" brushRef="#br0">22 563 372 0 0,'-21'-21'7948'0'0,"29"34"-6388"0"0,44 58 1345 0 0,-23-32-1266 0 0,39 69-1 0 0,-57-87-1312 0 0,0 1-1 0 0,-2 1 1 0 0,0-1-1 0 0,-1 1 1 0 0,5 33-1 0 0,-11-47-247 0 0,-1 1 1 0 0,0-1-1 0 0,-1 0 0 0 0,0 1 1 0 0,0-1-1 0 0,-1 1 1 0 0,-1-1-1 0 0,1 0 0 0 0,-1 1 1 0 0,-1-1-1 0 0,0 0 0 0 0,0-1 1 0 0,-1 1-1 0 0,0 0 0 0 0,0-1 1 0 0,-11 15-1 0 0,14-22-65 0 0,0 1 0 0 0,-1 0 0 0 0,0-1 0 0 0,1 1 1 0 0,-1-1-1 0 0,0 1 0 0 0,1-1 0 0 0,-1 0 0 0 0,0 0 0 0 0,0 0 0 0 0,0 0 0 0 0,0 0 0 0 0,0 0 0 0 0,0-1 1 0 0,0 1-1 0 0,-1 0 0 0 0,1-1 0 0 0,0 0 0 0 0,0 1 0 0 0,0-1 0 0 0,-1 0 0 0 0,1 0 0 0 0,0-1 0 0 0,0 1 1 0 0,0 0-1 0 0,-1-1 0 0 0,1 1 0 0 0,0-1 0 0 0,0 0 0 0 0,-4-1 0 0 0,2-1-24 0 0,1 0 1 0 0,-1 0-1 0 0,1-1 0 0 0,-1 1 1 0 0,1-1-1 0 0,0 0 0 0 0,0 1 1 0 0,1-1-1 0 0,-1-1 0 0 0,1 1 0 0 0,0 0 1 0 0,0-1-1 0 0,0 1 0 0 0,1-1 1 0 0,-1 1-1 0 0,1-1 0 0 0,0 0 1 0 0,1 1-1 0 0,-1-6 0 0 0,1 8-4 0 0,1 1-1 0 0,0-1 1 0 0,0 1 0 0 0,0 0-1 0 0,0 0 1 0 0,0-1 0 0 0,0 1-1 0 0,0 0 1 0 0,0 0-1 0 0,1 0 1 0 0,-1 0 0 0 0,0 0-1 0 0,1 1 1 0 0,-1-1 0 0 0,0 0-1 0 0,3 0 1 0 0,-2 0 8 0 0,0 1 0 0 0,0-1 1 0 0,0 1-1 0 0,0 0 1 0 0,0 0-1 0 0,0 0 0 0 0,0 0 1 0 0,0 0-1 0 0,0 0 0 0 0,-1 0 1 0 0,1 1-1 0 0,0-1 0 0 0,0 1 1 0 0,3 1-1 0 0,2 0-23 0 0,78 21-73 0 0,13 4-96 0 0,-87-25 167 0 0,1 0-1 0 0,0-1 1 0 0,-1-1-1 0 0,1 1 1 0 0,0-2-1 0 0,16-2 1 0 0,-23 2-33 0 0,1-1 0 0 0,-1 1-1 0 0,0-1 1 0 0,1 0 0 0 0,-1-1 0 0 0,0 0-1 0 0,-1 1 1 0 0,1-1 0 0 0,0-1 0 0 0,-1 1-1 0 0,0-1 1 0 0,0 0 0 0 0,0 0 0 0 0,0 0-1 0 0,0 0 1 0 0,-1-1 0 0 0,0 1 0 0 0,0-1-1 0 0,0 0 1 0 0,-1 0 0 0 0,1 0 0 0 0,1-8 0 0 0,4-9-130 0 0,-2-1 1 0 0,-1-1-1 0 0,5-43 1 0 0,-8 52 341 0 0,-3 14-135 0 0,1 1 0 0 0,0 0 0 0 0,0 0 0 0 0,0-1-1 0 0,0 1 1 0 0,0 0 0 0 0,0-1 0 0 0,0 1 0 0 0,0 0 0 0 0,1-1 0 0 0,-1 1 0 0 0,0 0-1 0 0,0 0 1 0 0,0-1 0 0 0,0 1 0 0 0,0 0 0 0 0,0-1 0 0 0,0 1 0 0 0,1 0-1 0 0,-1 0 1 0 0,0 0 0 0 0,0-1 0 0 0,0 1 0 0 0,1 0 0 0 0,-1 0 0 0 0,0-1-1 0 0,0 1 1 0 0,1 0 0 0 0,-1 0 0 0 0,0 0 0 0 0,0 0 0 0 0,1 0 0 0 0,7 6 343 0 0,7 23 172 0 0,-12-22-417 0 0,2 2-33 0 0,1 0 1 0 0,0 0-1 0 0,1-1 0 0 0,0 0 1 0 0,0 0-1 0 0,1 0 1 0 0,-1-1-1 0 0,2 0 1 0 0,-1-1-1 0 0,1 1 1 0 0,0-2-1 0 0,0 1 0 0 0,1-1 1 0 0,-1-1-1 0 0,1 0 1 0 0,0 0-1 0 0,1-1 1 0 0,18 4-1 0 0,-23-7-63 0 0,1 1-1 0 0,0-1 1 0 0,-1-1-1 0 0,1 1 1 0 0,-1-1-1 0 0,1 0 1 0 0,-1-1-1 0 0,0 1 1 0 0,1-1-1 0 0,-1-1 1 0 0,0 1-1 0 0,0-1 1 0 0,0 0-1 0 0,-1 0 1 0 0,1-1-1 0 0,-1 1 1 0 0,1-1-1 0 0,-1-1 1 0 0,-1 1 0 0 0,1-1-1 0 0,0 1 1 0 0,-1-1-1 0 0,5-8 1 0 0,-1 1-65 0 0,-1-1-1 0 0,0 0 1 0 0,-1 0 0 0 0,-1 0 0 0 0,0-1 0 0 0,0 0 0 0 0,-2 0 0 0 0,0 0 0 0 0,2-19 0 0 0,4-53-254 0 0,-9 86 302 0 0,0 0-1 0 0,0-1 1 0 0,0 1-1 0 0,0 0 1 0 0,1 0-1 0 0,-1 0 1 0 0,0-1-1 0 0,0 1 1 0 0,0 0-1 0 0,0 0 1 0 0,0-1-1 0 0,0 1 1 0 0,0 0-1 0 0,0 0 1 0 0,0-1-1 0 0,0 1 1 0 0,0 0-1 0 0,0 0 1 0 0,0-1-1 0 0,0 1 1 0 0,0 0-1 0 0,0 0 1 0 0,0-1-1 0 0,0 1 1 0 0,0 0-1 0 0,0 0 1 0 0,0 0-1 0 0,0-1 1 0 0,0 1-1 0 0,0 0 1 0 0,-1 0-1 0 0,1-1 1 0 0,0 1-1 0 0,0 0 0 0 0,0 0 1 0 0,0 0-1 0 0,0 0 1 0 0,-1-1-1 0 0,1 1 1 0 0,0 0-1 0 0,0 0 1 0 0,0 0-1 0 0,-1 0 1 0 0,1 0-1 0 0,0-1 1 0 0,0 1-1 0 0,-1 0 1 0 0,1 0-1 0 0,0 0 1 0 0,0 0-1 0 0,-1 0 1 0 0,1 0-1 0 0,0 0 1 0 0,-1 0-1 0 0,1 0 4 0 0,-1 1-1 0 0,1-1 1 0 0,0 0 0 0 0,-1 1-1 0 0,1-1 1 0 0,-1 0-1 0 0,1 1 1 0 0,0-1 0 0 0,-1 0-1 0 0,1 1 1 0 0,0-1-1 0 0,0 1 1 0 0,-1-1-1 0 0,1 1 1 0 0,0-1 0 0 0,0 1-1 0 0,0-1 1 0 0,0 1-1 0 0,-1-1 1 0 0,1 1 0 0 0,0-1-1 0 0,0 1 1 0 0,0-1-1 0 0,0 1 1 0 0,0-1 0 0 0,0 1-1 0 0,1 0 1 0 0,1 15 43 0 0,1 0 0 0 0,2 0 0 0 0,-1 0 0 0 0,8 16 0 0 0,-8-23-12 0 0,0-1-1 0 0,0 1 1 0 0,1-1 0 0 0,1 0-1 0 0,-1 0 1 0 0,1-1 0 0 0,0 0-1 0 0,13 12 1 0 0,-15-16-18 0 0,1 0 1 0 0,-1 0-1 0 0,0-1 0 0 0,1 0 0 0 0,-1 0 1 0 0,1 0-1 0 0,0-1 0 0 0,-1 1 0 0 0,1-1 1 0 0,0 0-1 0 0,0-1 0 0 0,0 1 0 0 0,0-1 1 0 0,0 0-1 0 0,0 0 0 0 0,0 0 0 0 0,0-1 1 0 0,-1 0-1 0 0,1 0 0 0 0,5-1 0 0 0,-2-1-6 0 0,0 0-1 0 0,0 0 0 0 0,0 0 1 0 0,0-1-1 0 0,-1 0 1 0 0,0-1-1 0 0,0 0 0 0 0,0 0 1 0 0,0 0-1 0 0,-1-1 0 0 0,6-7 1 0 0,0 0-53 0 0,-2-2 0 0 0,0 1 0 0 0,0-1 0 0 0,-2-1 0 0 0,0 0 0 0 0,0 0 0 0 0,-2-1 0 0 0,0 1 0 0 0,-1-1 0 0 0,0-1 0 0 0,-2 1 0 0 0,3-28 0 0 0,-5 41 23 0 0,-1 0 0 0 0,0 1 0 0 0,0-1 0 0 0,-1 0-1 0 0,1 0 1 0 0,-1 1 0 0 0,0-1 0 0 0,0 1 0 0 0,-2-6-1 0 0,2 7 8 0 0,-18 1-59 0 0,15 2 70 0 0,0 1-1 0 0,1-1 1 0 0,-1 1 0 0 0,1 0-1 0 0,-1-1 1 0 0,1 2-1 0 0,0-1 1 0 0,0 0 0 0 0,0 1-1 0 0,0-1 1 0 0,0 1-1 0 0,1 0 1 0 0,-5 5 0 0 0,6-7 31 0 0,1-1-46 0 0,0 1 0 0 0,0-1 0 0 0,-1 0-1 0 0,1 0 1 0 0,0 0 0 0 0,0 1 0 0 0,-1-1-1 0 0,1 0 1 0 0,0 0 0 0 0,0 1 0 0 0,0-1-1 0 0,0 0 1 0 0,-1 0 0 0 0,1 1 0 0 0,0-1-1 0 0,0 0 1 0 0,0 0 0 0 0,0 1-1 0 0,0-1 1 0 0,0 0 0 0 0,0 1 0 0 0,0-1-1 0 0,0 0 1 0 0,0 1 0 0 0,0-1 0 0 0,0 0-1 0 0,0 0 1 0 0,0 1 0 0 0,0-1 0 0 0,0 0-1 0 0,0 1 1 0 0,0-1 0 0 0,0 1 0 0 0,4-2-139 0 0,0 0 1 0 0,0 0-1 0 0,0 0 1 0 0,0-1-1 0 0,0 0 1 0 0,0 1 0 0 0,4-4-1 0 0,-6 3-24 0 0,0 1 25 0 0,11-4-194 0 0,-13 5 344 0 0,0 0 0 0 0,0 0 0 0 0,1 0 0 0 0,-1 0 1 0 0,0 0-1 0 0,1 0 0 0 0,-1 0 0 0 0,0 0 0 0 0,1 0 0 0 0,-1 0 0 0 0,0 0 0 0 0,1 0 1 0 0,-1 0-1 0 0,0 0 0 0 0,0 0 0 0 0,1 0 0 0 0,-1 0 0 0 0,0 1 0 0 0,1-1 0 0 0,-1 0 1 0 0,0 0-1 0 0,0 0 0 0 0,1 1 0 0 0,-1-1 0 0 0,0 0 0 0 0,0 0 0 0 0,0 0 0 0 0,1 1 0 0 0,-1-1 1 0 0,0 0-1 0 0,0 1 0 0 0,0-1 0 0 0,0 0 0 0 0,0 0 0 0 0,1 1 0 0 0,-1-1 0 0 0,0 0 1 0 0,0 1-1 0 0,0-1 0 0 0,0 0 0 0 0,0 1 0 0 0,2 12 131 0 0,0-1 0 0 0,1 1-1 0 0,1-1 1 0 0,5 14 0 0 0,-7-21 25 0 0,0-1 0 0 0,1 1 0 0 0,0-1 0 0 0,-1 0 0 0 0,1 0 0 0 0,1 0 0 0 0,-1 0 0 0 0,1 0 0 0 0,-1-1 0 0 0,1 1 0 0 0,0-1 0 0 0,0 0 0 0 0,8 4 0 0 0,-6-5-80 0 0,0 1-1 0 0,1-1 1 0 0,-1 0 0 0 0,1-1-1 0 0,-1 0 1 0 0,1 0-1 0 0,-1 0 1 0 0,1-1-1 0 0,0 0 1 0 0,-1 0-1 0 0,1-1 1 0 0,0 0 0 0 0,-1 0-1 0 0,1 0 1 0 0,-1-1-1 0 0,1 0 1 0 0,-1 0-1 0 0,0 0 1 0 0,0-1-1 0 0,10-6 1 0 0,-7 4-59 0 0,0-1-1 0 0,-1 1 1 0 0,0-2 0 0 0,0 1-1 0 0,0-1 1 0 0,-1 0 0 0 0,0-1-1 0 0,0 0 1 0 0,-1 0 0 0 0,0 0-1 0 0,0-1 1 0 0,7-15 0 0 0,-8 11-30 0 0,-1-1 0 0 0,-1 1-1 0 0,-1 0 1 0 0,1-1 0 0 0,-2 0 0 0 0,0 1 0 0 0,-1-1 0 0 0,-2-25 0 0 0,-5-9-122 0 0,-12-51 1 0 0,15 84 129 0 0,-1-8-33 0 0,-1-10 14 0 0,-2 0 1 0 0,-1 0-1 0 0,-1 1 0 0 0,-27-55 1 0 0,34 82 18 0 0,0 1 1 0 0,0 0-1 0 0,0 0 0 0 0,-1 0 1 0 0,1 0-1 0 0,-1 0 1 0 0,0 1-1 0 0,-7-6 0 0 0,9 9 15 0 0,1-1 0 0 0,0 1 0 0 0,0 0 0 0 0,-1-1 0 0 0,1 1 0 0 0,0 0 0 0 0,-1 0 0 0 0,1 0 0 0 0,0 0 0 0 0,0 0 0 0 0,-1 0 0 0 0,1 0 0 0 0,0 1 0 0 0,-1-1 0 0 0,1 0 0 0 0,0 1 0 0 0,0-1 0 0 0,-2 1 0 0 0,1 0 9 0 0,-2 0 17 0 0,1 1 0 0 0,-1-1 0 0 0,1 1 0 0 0,0 0 0 0 0,0 0 0 0 0,0 0-1 0 0,0 1 1 0 0,0-1 0 0 0,0 0 0 0 0,1 1 0 0 0,-1 0 0 0 0,1 0 0 0 0,-1 0 0 0 0,1 0 0 0 0,0 0 0 0 0,0 0-1 0 0,-2 6 1 0 0,1-2 40 0 0,0 0-1 0 0,1 1 1 0 0,-1-1-1 0 0,1 1 1 0 0,1 0-1 0 0,0-1 1 0 0,-1 10-1 0 0,2-3 37 0 0,0 0 0 0 0,1 1 0 0 0,1-1 0 0 0,1 0 0 0 0,-1 0 0 0 0,2 0 0 0 0,10 25 0 0 0,-6-20 58 0 0,2 1-1 0 0,1-1 1 0 0,0-1-1 0 0,23 28 1 0 0,-4-12-563 0 0,2-2 1 0 0,1 0-1 0 0,1-3 0 0 0,51 35 1 0 0,-72-55-918 0 0,1-1 0 0 0,27 13 1 0 0,-35-18-249 0 0,1 0 0 0 0,0-1 0 0 0,0-1 0 0 0,12 3 0 0 0</inkml:trace>
</inkml:ink>
</file>

<file path=ppt/ink/ink3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29.084"/>
    </inkml:context>
    <inkml:brush xml:id="br0">
      <inkml:brushProperty name="width" value="0.1" units="cm"/>
      <inkml:brushProperty name="height" value="0.1" units="cm"/>
      <inkml:brushProperty name="color" value="#008C3A"/>
    </inkml:brush>
  </inkml:definitions>
  <inkml:trace contextRef="#ctx0" brushRef="#br0">26 65 1052 0 0,'-13'-22'6811'0'0,"13"21"-6776"0"0,0 1 1 0 0,0 0-1 0 0,0 0 0 0 0,0 0 0 0 0,0 0 0 0 0,-1-1 0 0 0,1 1 0 0 0,0 0 0 0 0,0 0 0 0 0,0 0 0 0 0,-1 0 0 0 0,1 0 0 0 0,0 0 0 0 0,0 0 1 0 0,0 0-1 0 0,-1-1 0 0 0,1 1 0 0 0,0 0 0 0 0,0 0 0 0 0,0 0 0 0 0,-1 0 0 0 0,1 0 0 0 0,0 0 0 0 0,0 0 0 0 0,-1 0 0 0 0,1 0 1 0 0,0 0-1 0 0,0 1 0 0 0,0-1 0 0 0,-1 0 0 0 0,1 0 0 0 0,0 0 0 0 0,0 0 0 0 0,0 0 0 0 0,-1 0 0 0 0,1 0 0 0 0,0 0 0 0 0,0 1 0 0 0,0-1 1 0 0,-1 0-1 0 0,1 0 0 0 0,0 0 0 0 0,0 0 0 0 0,0 1 0 0 0,0-1 0 0 0,0 0 0 0 0,-4 17 665 0 0,3-13-584 0 0,1 0 1 0 0,0 0 0 0 0,1-1-1 0 0,-1 1 1 0 0,1 0-1 0 0,-1 0 1 0 0,1 0 0 0 0,0-1-1 0 0,2 5 1 0 0,-2-6-69 0 0,0-1 1 0 0,0 0-1 0 0,0 1 1 0 0,0-1-1 0 0,0 0 1 0 0,0 1-1 0 0,0-1 1 0 0,0 0-1 0 0,1 0 0 0 0,-1 0 1 0 0,0 0-1 0 0,1 0 1 0 0,-1 0-1 0 0,1 0 1 0 0,-1-1-1 0 0,1 1 1 0 0,-1-1-1 0 0,1 1 1 0 0,-1-1-1 0 0,1 1 1 0 0,0-1-1 0 0,-1 0 1 0 0,1 0-1 0 0,0 0 1 0 0,-1 0-1 0 0,1 0 1 0 0,0 0-1 0 0,-1 0 0 0 0,1 0 1 0 0,0-1-1 0 0,-1 1 1 0 0,1-1-1 0 0,1 0 1 0 0,6-4-8 0 0,0 0 1 0 0,0 0-1 0 0,-1-1 0 0 0,0-1 1 0 0,0 0-1 0 0,0 0 0 0 0,-1 0 1 0 0,0-1-1 0 0,6-8 0 0 0,28-28-171 0 0,-40 42 115 0 0,0 2 0 0 0,1 0 1 0 0,-1 0-1 0 0,0-1 0 0 0,0 1 1 0 0,0 0-1 0 0,0 0 1 0 0,1 1-1 0 0,-1-1 0 0 0,0 0 1 0 0,0 0-1 0 0,0 0 1 0 0,0 1-1 0 0,0-1 0 0 0,0 1 1 0 0,1-1-1 0 0,-1 1 1 0 0,0-1-1 0 0,0 1 0 0 0,0 0 1 0 0,-1-1-1 0 0,1 1 1 0 0,0 0-1 0 0,0 0 0 0 0,0-1 1 0 0,0 1-1 0 0,-1 0 1 0 0,1 0-1 0 0,0 0 0 0 0,-1 0 1 0 0,1 0-1 0 0,0 2 1 0 0,18 33-1985 0 0,-1-1-3026 0 0,-11-24 1626 0 0</inkml:trace>
</inkml:ink>
</file>

<file path=ppt/ink/ink3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29.850"/>
    </inkml:context>
    <inkml:brush xml:id="br0">
      <inkml:brushProperty name="width" value="0.1" units="cm"/>
      <inkml:brushProperty name="height" value="0.1" units="cm"/>
      <inkml:brushProperty name="color" value="#008C3A"/>
    </inkml:brush>
  </inkml:definitions>
  <inkml:trace contextRef="#ctx0" brushRef="#br0">6 204 1584 0 0,'-6'-9'5747'0'0,"17"44"-4180"0"0,2-1 1 0 0,20 38-1 0 0,-15-31-757 0 0,46 93 1172 0 0,-21-45 267 0 0,54 157-1 0 0,-96-243-2095 0 0,0-1-1 0 0,-1 1 1 0 0,1 0 0 0 0,-1-1 0 0 0,1 1 0 0 0,-1 0 0 0 0,0-1-1 0 0,-1 6 1 0 0,1-7-109 0 0,0 0 0 0 0,-1 0 1 0 0,1 0-1 0 0,0 0 0 0 0,-1 0 0 0 0,1 0 0 0 0,-1 0 0 0 0,1 0 0 0 0,-1 0 1 0 0,0 0-1 0 0,1 0 0 0 0,-1 0 0 0 0,0-1 0 0 0,0 1 0 0 0,1 0 0 0 0,-1 0 0 0 0,0-1 1 0 0,0 1-1 0 0,0-1 0 0 0,-2 2 0 0 0,2-2-26 0 0,0 1-1 0 0,0-1 1 0 0,-1 0 0 0 0,1 0-1 0 0,0 0 1 0 0,0 0 0 0 0,0 0-1 0 0,-1 0 1 0 0,1 0 0 0 0,0-1-1 0 0,0 1 1 0 0,0 0 0 0 0,-1 0-1 0 0,1-1 1 0 0,0 1 0 0 0,0-1-1 0 0,0 1 1 0 0,0-1 0 0 0,-2-1-1 0 0,-18-15 43 0 0,19 16-36 0 0,-8-10-6 0 0,0 0 1 0 0,1 0 0 0 0,0-1-1 0 0,1-1 1 0 0,0 1-1 0 0,1-1 1 0 0,0 0 0 0 0,-9-26-1 0 0,4 0-108 0 0,-16-77 1 0 0,22 80-76 0 0,2-1 0 0 0,1 0 0 0 0,2 1 1 0 0,5-60-1 0 0,-1 71 98 0 0,1 0 0 0 0,1 0 0 0 0,2 1-1 0 0,0 0 1 0 0,1 0 0 0 0,1 1 0 0 0,20-36 0 0 0,-22 48 38 0 0,0 0 0 0 0,1 1 0 0 0,0 0 0 0 0,1 0 0 0 0,14-13 0 0 0,-19 20 18 0 0,0-1 0 0 0,1 1 1 0 0,-1 0-1 0 0,1 0 0 0 0,0 0 0 0 0,0 1 1 0 0,0-1-1 0 0,0 1 0 0 0,0 0 0 0 0,0 1 1 0 0,1-1-1 0 0,-1 1 0 0 0,0 0 0 0 0,1 1 1 0 0,6-1-1 0 0,-8 1 4 0 0,-1 1 0 0 0,0-1 0 0 0,1 1 0 0 0,-1 0 0 0 0,0 0 0 0 0,1 0 0 0 0,-1 1 0 0 0,0-1 0 0 0,0 1 0 0 0,0-1 0 0 0,0 1 0 0 0,0 0 0 0 0,-1 0 0 0 0,1 1 0 0 0,0-1 0 0 0,-1 0 0 0 0,0 1 0 0 0,1 0 0 0 0,-1-1 1 0 0,0 1-1 0 0,-1 0 0 0 0,3 5 0 0 0,-1-3 0 0 0,-1 0 0 0 0,0 0 0 0 0,0 0 0 0 0,-1 1 0 0 0,1-1 1 0 0,-1 1-1 0 0,0 0 0 0 0,-1-1 0 0 0,1 1 0 0 0,-1 0 0 0 0,-1-1 0 0 0,0 11 1 0 0,-4 2 50 0 0,0-1 1 0 0,-1-1 0 0 0,-1 1-1 0 0,0-1 1 0 0,-1 0 0 0 0,-1-1-1 0 0,0 0 1 0 0,-1 0 0 0 0,-1-1-1 0 0,-23 24 1 0 0,1-6-1148 0 0,-1-1-1 0 0,-2-2 1 0 0,-39 25 0 0 0,47-37-3104 0 0</inkml:trace>
</inkml:ink>
</file>

<file path=ppt/ink/ink3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30.298"/>
    </inkml:context>
    <inkml:brush xml:id="br0">
      <inkml:brushProperty name="width" value="0.1" units="cm"/>
      <inkml:brushProperty name="height" value="0.1" units="cm"/>
      <inkml:brushProperty name="color" value="#008C3A"/>
    </inkml:brush>
  </inkml:definitions>
  <inkml:trace contextRef="#ctx0" brushRef="#br0">0 211 1608 0 0,'11'-4'512'0'0,"0"1"0"0"0,0-1 0 0 0,0 2 0 0 0,0 0-1 0 0,0 0 1 0 0,0 1 0 0 0,1 0 0 0 0,-1 1 0 0 0,1 0 0 0 0,-1 1 0 0 0,0 0-1 0 0,14 4 1 0 0,-16-3-292 0 0,-1 0-1 0 0,1 0 1 0 0,0 1-1 0 0,-1 1 0 0 0,0-1 1 0 0,0 1-1 0 0,0 1 1 0 0,0-1-1 0 0,0 1 1 0 0,-1 1-1 0 0,0-1 0 0 0,0 1 1 0 0,-1 1-1 0 0,0-1 1 0 0,10 14-1 0 0,-12-13-2 0 0,-1 0-1 0 0,0 0 1 0 0,-1 1 0 0 0,1-1-1 0 0,-1 1 1 0 0,-1-1 0 0 0,0 1-1 0 0,0 0 1 0 0,0 0-1 0 0,-1-1 1 0 0,-1 14 0 0 0,1-6 378 0 0,0-15-561 0 0,0 0-1 0 0,1 0 1 0 0,-1 0 0 0 0,0 0-1 0 0,1 0 1 0 0,-1 0-1 0 0,0 0 1 0 0,1 0 0 0 0,-1 0-1 0 0,0 0 1 0 0,0 0 0 0 0,1 0-1 0 0,-1-1 1 0 0,0 1-1 0 0,1 0 1 0 0,-1 0 0 0 0,0 0-1 0 0,0 0 1 0 0,1 0 0 0 0,-1-1-1 0 0,0 1 1 0 0,0 0-1 0 0,1 0 1 0 0,-1 0 0 0 0,0-1-1 0 0,0 1 1 0 0,0 0 0 0 0,1 0-1 0 0,-1-1 1 0 0,0 1 0 0 0,0 0-1 0 0,0 0 1 0 0,0-1-1 0 0,0 1 1 0 0,1-1 0 0 0,19-21 34 0 0,22-29-496 0 0,40-51-42 0 0,51-69 468 0 0,-130 167 49 0 0,0-1 0 0 0,0 1-1 0 0,0 1 1 0 0,1-1-1 0 0,-1 0 1 0 0,1 1 0 0 0,0 0-1 0 0,5-4 1 0 0,-8 6 37 0 0,7 17 330 0 0,-1 11-168 0 0,-5-17-125 0 0,1 1 0 0 0,0-1-1 0 0,1 0 1 0 0,0 0 0 0 0,0 0 0 0 0,1 0-1 0 0,6 8 1 0 0,-2-5 104 0 0,1-1 0 0 0,1-1 1 0 0,0 0-1 0 0,1 0 0 0 0,21 15 1 0 0,-24-20-132 0 0,0-1-1 0 0,0 0 1 0 0,1 0 0 0 0,0-1 0 0 0,0 0 0 0 0,0 0 0 0 0,0-1 0 0 0,0-1 0 0 0,12 2 0 0 0,-20-3-65 0 0,1-1 1 0 0,0 1-1 0 0,0-1 0 0 0,0 0 1 0 0,0 0-1 0 0,0-1 0 0 0,0 1 1 0 0,0 0-1 0 0,-1-1 0 0 0,1 0 1 0 0,0 1-1 0 0,0-1 1 0 0,0 0-1 0 0,-1-1 0 0 0,1 1 1 0 0,-1 0-1 0 0,1-1 0 0 0,-1 1 1 0 0,1-1-1 0 0,-1 0 1 0 0,0 0-1 0 0,0 0 0 0 0,0 0 1 0 0,0 0-1 0 0,0-1 0 0 0,-1 1 1 0 0,1 0-1 0 0,1-4 0 0 0,-1 2-13 0 0,0-1-1 0 0,-1 1 1 0 0,0-1-1 0 0,0 0 0 0 0,0 1 1 0 0,-1-1-1 0 0,1 0 1 0 0,-1 1-1 0 0,0-1 0 0 0,-1 0 1 0 0,1 1-1 0 0,-1-1 1 0 0,0 0-1 0 0,0 1 0 0 0,0-1 1 0 0,-3-5-1 0 0,0 1-43 0 0,0 1 0 0 0,-1-1-1 0 0,0 1 1 0 0,0-1 0 0 0,-1 2-1 0 0,0-1 1 0 0,0 0 0 0 0,-1 1 0 0 0,0 1-1 0 0,0-1 1 0 0,-1 1 0 0 0,0 0-1 0 0,0 1 1 0 0,0-1 0 0 0,-1 2 0 0 0,0-1-1 0 0,-11-3 1 0 0,7 3-490 0 0,-1 1 1 0 0,-1 0-1 0 0,1 1 1 0 0,-22-3-1 0 0,20 5-953 0 0,-1 1-1 0 0,1 0 0 0 0,-29 4 1 0 0,38-3 881 0 0,1-1-373 0 0,-3 2-2647 0 0,-11 3-721 0 0</inkml:trace>
</inkml:ink>
</file>

<file path=ppt/ink/ink3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30.699"/>
    </inkml:context>
    <inkml:brush xml:id="br0">
      <inkml:brushProperty name="width" value="0.1" units="cm"/>
      <inkml:brushProperty name="height" value="0.1" units="cm"/>
      <inkml:brushProperty name="color" value="#008C3A"/>
    </inkml:brush>
  </inkml:definitions>
  <inkml:trace contextRef="#ctx0" brushRef="#br0">0 1 1776 0 0,'7'0'495'0'0,"0"0"-1"0"0,0 1 1 0 0,1-1 0 0 0,-1 2-1 0 0,0-1 1 0 0,0 1-1 0 0,-1 0 1 0 0,1 0 0 0 0,0 1-1 0 0,-1 0 1 0 0,1 0 0 0 0,-1 0-1 0 0,0 1 1 0 0,0 0-1 0 0,0 0 1 0 0,-1 1 0 0 0,9 8-1 0 0,7 9 744 0 0,-1 0-1 0 0,31 45 0 0 0,-26-30 149 0 0,27 54 0 0 0,-41-71-769 0 0,-2 1 0 0 0,-1 1 0 0 0,0 0 0 0 0,6 31 0 0 0,-15-41 250 0 0,-4-10-124 0 0,4-2-725 0 0,0-1 0 0 0,1 1 0 0 0,-1-1 1 0 0,0 1-1 0 0,1-1 0 0 0,-1 1 0 0 0,0-1 1 0 0,1 0-1 0 0,-1 1 0 0 0,1-1 0 0 0,-1 0 0 0 0,1 0 1 0 0,-1 1-1 0 0,1-1 0 0 0,0 0 0 0 0,-1 0 1 0 0,1 0-1 0 0,0 1 0 0 0,0-1 0 0 0,0 0 0 0 0,-1-1 1 0 0,1-7 6 0 0,0 1 1 0 0,1 0 0 0 0,0-1-1 0 0,0 1 1 0 0,1 0 0 0 0,0-1-1 0 0,0 1 1 0 0,1 0 0 0 0,0 1-1 0 0,0-1 1 0 0,1 0 0 0 0,0 1-1 0 0,1 0 1 0 0,-1 0-1 0 0,1 0 1 0 0,1 1 0 0 0,7-9-1 0 0,-5 7-32 0 0,0 1-1 0 0,0 0 1 0 0,1 0-1 0 0,0 0 0 0 0,0 1 1 0 0,0 1-1 0 0,1 0 0 0 0,0 0 1 0 0,0 1-1 0 0,0 0 1 0 0,0 0-1 0 0,22-3 0 0 0,-23 6 2 0 0,1 1 1 0 0,0 0-1 0 0,0 0 0 0 0,0 1 0 0 0,-1 0 0 0 0,1 1 0 0 0,0 0 0 0 0,12 5 0 0 0,-19-6 4 0 0,1 0 0 0 0,-1 0 1 0 0,0 0-1 0 0,0 0 0 0 0,0 1 0 0 0,0 0 0 0 0,0-1 1 0 0,0 1-1 0 0,0 1 0 0 0,0-1 0 0 0,-1 0 1 0 0,1 0-1 0 0,-1 1 0 0 0,0 0 0 0 0,0-1 0 0 0,0 1 1 0 0,0 0-1 0 0,0 0 0 0 0,-1 0 0 0 0,1 0 1 0 0,-1 0-1 0 0,0 0 0 0 0,1 1 0 0 0,-2-1 0 0 0,1 0 1 0 0,0 1-1 0 0,0 3 0 0 0,-2-3 47 0 0,0 1 0 0 0,1 0 0 0 0,-1-1 0 0 0,-1 0 0 0 0,1 1-1 0 0,-1-1 1 0 0,0 0 0 0 0,0 0 0 0 0,0 0 0 0 0,0 0 0 0 0,-1 0 0 0 0,0 0 0 0 0,1-1 0 0 0,-1 1-1 0 0,-1-1 1 0 0,1 0 0 0 0,0 0 0 0 0,-7 4 0 0 0,-3 3 72 0 0,0-1-1 0 0,-1-1 0 0 0,-29 13 1 0 0,1-6-859 0 0,0-1 0 0 0,-49 8 0 0 0,84-21 297 0 0,3 0-309 0 0,0-1 0 0 0,1 1 1 0 0,-1-1-1 0 0,0 0 0 0 0,0-1 0 0 0,0 1 1 0 0,0-1-1 0 0,0 1 0 0 0,0-1 0 0 0,-4-2 1 0 0</inkml:trace>
</inkml:ink>
</file>

<file path=ppt/ink/ink3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31.050"/>
    </inkml:context>
    <inkml:brush xml:id="br0">
      <inkml:brushProperty name="width" value="0.1" units="cm"/>
      <inkml:brushProperty name="height" value="0.1" units="cm"/>
      <inkml:brushProperty name="color" value="#008C3A"/>
    </inkml:brush>
  </inkml:definitions>
  <inkml:trace contextRef="#ctx0" brushRef="#br0">619 120 792 0 0,'68'-41'7944'0'0,"59"-31"3968"0"0,-124 71-12026 0 0,-1 0 1 0 0,1 0 0 0 0,-1 0-1 0 0,0 0 1 0 0,1 0-1 0 0,-1 1 1 0 0,1 0-1 0 0,0-1 1 0 0,-1 1-1 0 0,1 0 1 0 0,-1 0-1 0 0,1 0 1 0 0,-1 1-1 0 0,1-1 1 0 0,-1 1 0 0 0,1-1-1 0 0,-1 1 1 0 0,1 0-1 0 0,-1 0 1 0 0,1 0-1 0 0,2 2 1 0 0,-3-2-500 0 0,-1 0 1 0 0,1 0-1 0 0,-1 1 0 0 0,4 3-1837 0 0,-3-3 1838 0 0,-1-1-1 0 0,0 1 1 0 0,0 0-1 0 0,-1 0 0 0 0,1-1 1 0 0,0 1-1 0 0,0 2 1 0 0</inkml:trace>
  <inkml:trace contextRef="#ctx0" brushRef="#br0" timeOffset="1">52 912 580 0 0,'-15'14'2921'0'0,"-17"21"3453"0"0,32-35-6282 0 0,-1 1-1 0 0,1-1 1 0 0,0 1 0 0 0,-1-1-1 0 0,1 1 1 0 0,0-1 0 0 0,-1 1-1 0 0,1 0 1 0 0,0-1 0 0 0,0 1-1 0 0,-1-1 1 0 0,1 1 0 0 0,0 0-1 0 0,0-1 1 0 0,0 1 0 0 0,0 0-1 0 0,0-1 1 0 0,0 1 0 0 0,0 0-1 0 0,0-1 1 0 0,0 1 0 0 0,0-1-1 0 0,1 1 1 0 0,-1 0 0 0 0,0-1 0 0 0,0 1-1 0 0,0-1 1 0 0,1 1 0 0 0,-1 0-1 0 0,0-1 1 0 0,1 1 0 0 0,-1-1-1 0 0,1 1 1 0 0,-1-1 0 0 0,0 1-1 0 0,1-1 1 0 0,-1 0 0 0 0,1 1-1 0 0,-1-1 1 0 0,1 1 0 0 0,-1-1-1 0 0,1 0 1 0 0,0 0 0 0 0,0 1-1 0 0,27 7 539 0 0,-26-8-435 0 0,18 2-60 0 0,-1 0 0 0 0,1-1 0 0 0,22-3 0 0 0,24-4-4199 0 0,-42 4 630 0 0,-6 0-2029 0 0</inkml:trace>
</inkml:ink>
</file>

<file path=ppt/ink/ink3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31.394"/>
    </inkml:context>
    <inkml:brush xml:id="br0">
      <inkml:brushProperty name="width" value="0.1" units="cm"/>
      <inkml:brushProperty name="height" value="0.1" units="cm"/>
      <inkml:brushProperty name="color" value="#008C3A"/>
    </inkml:brush>
  </inkml:definitions>
  <inkml:trace contextRef="#ctx0" brushRef="#br0">3 190 376 0 0,'-2'22'12329'0'0,"3"-22"-12182"0"0,12-3-251 0 0,299-97 7187 0 0,-164 48-5906 0 0,-89 31-822 0 0,7-1-1030 0 0,-26 9-3129 0 0</inkml:trace>
</inkml:ink>
</file>

<file path=ppt/ink/ink3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37.083"/>
    </inkml:context>
    <inkml:brush xml:id="br0">
      <inkml:brushProperty name="width" value="0.1" units="cm"/>
      <inkml:brushProperty name="height" value="0.1" units="cm"/>
      <inkml:brushProperty name="color" value="#008C3A"/>
    </inkml:brush>
  </inkml:definitions>
  <inkml:trace contextRef="#ctx0" brushRef="#br0">10 498 276 0 0,'-10'-6'11168'0'0,"10"5"-10995"0"0,8-8 1947 0 0,27-11-3132 0 0,-17 10 1635 0 0,748-419-154 0 0,-720 408-446 0 0,-39 19 7 0 0,-30 15-14 0 0,-471 224 111 0 0,391-189-126 0 0,69-33-8 0 0,-126 56-15 0 0,157-70 11 0 0,4-4-1388 0 0,-1 2 1297 0 0,1 1-1 0 0,-1 0 1 0 0,0-1 0 0 0,0 1-1 0 0,1-1 1 0 0,-1 1-1 0 0,0 0 1 0 0,1-1 0 0 0,-1 1-1 0 0,0-1 1 0 0,1 1-1 0 0,-1 0 1 0 0,0-1 0 0 0,1 1-1 0 0,-1 0 1 0 0,1 0-1 0 0,-1 0 1 0 0,1-1 0 0 0,30-5-4994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07:42:48.058"/>
    </inkml:context>
    <inkml:brush xml:id="br0">
      <inkml:brushProperty name="width" value="0.08571" units="cm"/>
      <inkml:brushProperty name="height" value="0.08571" units="cm"/>
      <inkml:brushProperty name="color" value="#E71224"/>
    </inkml:brush>
  </inkml:definitions>
  <inkml:trace contextRef="#ctx0" brushRef="#br0">89 29 9781,'-21'-18'2879,"-2"8"-2519,9 16-91,1 5 1,4 8-90,5 0 0,1 2-90,1 4 90,2 1 0,2 3 0,2 2-90,1 3 90,2 2-91,1 0 1,2 2 0,0-2 90,5 13-180,-3-14 180,3 8 0,-5-17 90,0-2 0,0-3 0,-1-2 179,0-2 1,-1-2-90,0-2 449,0-2-269,4-2-270,1-6-90,1-3 0,1-7 0,-4-5 0,1-4-90,0-4-1,0-5 1,0-3 0,0-4 0,0-3-90,-1-2 0,1 0 0,-2 0 0,1-2 0,-1 5 0,-1-1-90,-2 5-179,1 1-91,-2 3-270,0 3-90,-1 3-1168,-2 3-181,2-3-5037,-2 5 7106,3-2 0,-5 10 0,3 2 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9:20.041"/>
    </inkml:context>
    <inkml:brush xml:id="br0">
      <inkml:brushProperty name="width" value="0.08571" units="cm"/>
      <inkml:brushProperty name="height" value="0.08571" units="cm"/>
      <inkml:brushProperty name="color" value="#00A0D7"/>
    </inkml:brush>
  </inkml:definitions>
  <inkml:trace contextRef="#ctx0" brushRef="#br0">93 45 12030,'-7'-23'3148,"7"8"-2968,13 9 0,4 9-90,-1 4 0,-1 2 0,-4 0 0,0 3 0,1 1 0,-2 2 0,0 2-90,0 2 90,-1 2-90,0 3 90,-1 3 0,-2 1-90,0 3 90,-1 1-90,-1 1 90,-1 1-90,-1 2 89,-1 0-89,0 1 90,0 0-90,-1 1 90,-1 0-90,0 0 0,0 0 90,-1 0-90,-2 17 0,1-13-326,-2 14 326,1-15 90,0-2 0,-1 2-90,0-2 90,-1 2-90,1 0 90,-1 0-90,0 0 0,1 0 90,-5 17-90,4-13-340,-3 14 430,4-20-90,-1 1 0,2-4 0,-1 3 90,2-3-90,-1 2 0,1-1 0,0 0 0,1 1 0,0-1 0,0 1 0,-1 17 0,1-12 15,-1 13-15,1-18 0,0 1 0,0-1 0,0 0 0,0 1 90,-1 2-90,1-1 90,-1 3-90,1-4 0,-1 2 0,1-2 90,-1 20-90,1-15 0,-1 15 81,1-19 9,0-1-90,1 0 0,-1 1 90,0-2-90,1 1 0,0 0 90,0 15-90,0-12 0,-1 12 0,2-17-54,-1-1 54,1 0 90,-1 0-90,1-1 0,0 0 0,0 0 0,0 1 90,1-1-90,-1 1 0,0-1 0,1 17 0,-1-11 0,2 12 0,-2-16 90,2 1-90,-1 0 0,0 1 0,1 0 0,0 3 90,0 0-90,0 3 90,0-1 0,1 1-1,0 0 1,0 1 0,0 0 0,1 0-30,1 0 30,0 2 0,1 3 0,0 1 0,2 4-567,-2 0 657,2 0-1,0 0 1,-1 0-90,0 0 90,2 19-90,-2-18 0,0 15 90,-3-22-90,0 0 90,-2-1-90,-1 1 90,0 0 0,-2-1-1,-1 0 1,-1 1 180,-1-1 90,-3 21-180,0-16-90,-2 15 89,1-22 1,-1 2-186,-1-3 186,0 2-180,-1-5 90,0-1-90,-1-2 33,0-2-33,1-4-270,-4 10-270,3-14-89,-1 7-91,5-16 37,2-4-2466,0-2-6772,-2-2 9556,-1-11 0,3 3 0,1-10 1</inkml:trace>
</inkml:ink>
</file>

<file path=ppt/ink/ink4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37.438"/>
    </inkml:context>
    <inkml:brush xml:id="br0">
      <inkml:brushProperty name="width" value="0.1" units="cm"/>
      <inkml:brushProperty name="height" value="0.1" units="cm"/>
      <inkml:brushProperty name="color" value="#008C3A"/>
    </inkml:brush>
  </inkml:definitions>
  <inkml:trace contextRef="#ctx0" brushRef="#br0">3 10 488 0 0,'-2'-2'2437'0'0,"2"1"-2286"0"0,0 1-1 0 0,0 0 0 0 0,0-1 0 0 0,0 1 0 0 0,0-1 0 0 0,0 1 1 0 0,0 0-1 0 0,0-1 0 0 0,0 1 0 0 0,0 0 0 0 0,1-2 751 0 0,-1 1-750 0 0,10 6 277 0 0,-1 0 0 0 0,1 1 0 0 0,-1 1 0 0 0,-1-1 0 0 0,1 1 0 0 0,-1 1 0 0 0,0-1 1 0 0,6 10-1 0 0,15 12 309 0 0,314 306 3317 0 0,-325-317-3962 0 0,65 72 624 0 0,-82-89-904 0 0</inkml:trace>
</inkml:ink>
</file>

<file path=ppt/ink/ink4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01T05:17:59.862"/>
    </inkml:context>
    <inkml:brush xml:id="br0">
      <inkml:brushProperty name="width" value="0.1" units="cm"/>
      <inkml:brushProperty name="height" value="0.1" units="cm"/>
      <inkml:brushProperty name="color" value="#008C3A"/>
    </inkml:brush>
  </inkml:definitions>
  <inkml:trace contextRef="#ctx0" brushRef="#br0">39 523 832 0 0,'-7'-153'6892'0'0,"-2"166"-6619"0"0,3 5-173 0 0,1 1 0 0 0,1 0-1 0 0,1 1 1 0 0,0-1-1 0 0,2 1 1 0 0,0-1-1 0 0,1 1 1 0 0,1 0 0 0 0,1-1-1 0 0,7 29 1 0 0,-8-44-47 0 0,1 0 0 0 0,0-1 0 0 0,0 1 0 0 0,0-1 1 0 0,1 1-1 0 0,-1-1 0 0 0,1 0 0 0 0,0 0 0 0 0,0 0 0 0 0,0 0 1 0 0,0-1-1 0 0,0 1 0 0 0,0-1 0 0 0,1 0 0 0 0,0 0 0 0 0,-1 0 1 0 0,1 0-1 0 0,0-1 0 0 0,0 1 0 0 0,-1-1 0 0 0,1 0 0 0 0,5 1 1 0 0,12 2 12 0 0,0-1 1 0 0,0-1-1 0 0,22-1 1 0 0,-32-1-37 0 0,538-20 232 0 0,-371 8-240 0 0,-49 4-13 0 0,447-23 44 0 0,93 13-51 0 0,-500 6 464 0 0,-145 9-214 0 0,-1-2 0 0 0,0 0 0 0 0,0-2 1 0 0,0 0-1 0 0,24-12 0 0 0,-42 17-200 0 0,-1-1-1 0 0,0 1 1 0 0,1-1 0 0 0,-1 0-1 0 0,0 0 1 0 0,-1-1-1 0 0,1 1 1 0 0,-1-1-1 0 0,1 0 1 0 0,-1 1 0 0 0,0-1-1 0 0,4-9 1 0 0,-3 6 7 0 0,-1-1 0 0 0,-1 0 0 0 0,1 1 0 0 0,-1-1 0 0 0,0 0-1 0 0,-1 0 1 0 0,1-11 0 0 0,-2-9 157 0 0,-1-1-1 0 0,-1 0 0 0 0,-9-42 0 0 0,7 48-22 0 0,-4-25 251 0 0,-4-16 37 0 0,-19-63 1 0 0,30 125-915 0 0,-1 12-3161 0 0,0 15-1687 0 0,0-8 451 0 0</inkml:trace>
</inkml:ink>
</file>

<file path=ppt/ink/ink40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290.03943" units="1/cm"/>
          <inkml:channelProperty channel="Y" name="resolution" value="2064.71338" units="1/cm"/>
          <inkml:channelProperty channel="F" name="resolution" value="0" units="1/dev"/>
          <inkml:channelProperty channel="T" name="resolution" value="1" units="1/dev"/>
        </inkml:channelProperties>
      </inkml:inkSource>
      <inkml:timestamp xml:id="ts0" timeString="2021-12-19T05:28:04.459"/>
    </inkml:context>
    <inkml:brush xml:id="br0">
      <inkml:brushProperty name="width" value="0.05292" units="cm"/>
      <inkml:brushProperty name="height" value="0.05292" units="cm"/>
      <inkml:brushProperty name="color" value="#FF0000"/>
    </inkml:brush>
  </inkml:definitions>
  <inkml:trace contextRef="#ctx0" brushRef="#br0">20441 4696 198 0,'0'0'177'0,"3"-7"-28"0,-3 7-18 0,0 0-34 15,0-8-20-15,0 8-17 0,0 0-13 0,0 0-8 16,0-7-13-16,0 7-5 0,0 0-6 0,0 0-3 15,-5-5 2-15,5 5-8 0,-12 1-35 0,1 0-40 16,-6 3-59-16,-1 1-137 0,-7 2 82 0</inkml:trace>
  <inkml:trace contextRef="#ctx0" brushRef="#br0" timeOffset="56853.08">4021 3548 249 0,'48'14'217'0,"-1"-4"-39"16,-1 2-35-16,2 0-22 0,0 0-28 0,-1 1-9 16,-1-1-18-16,0 1-10 0,-4 0-17 0,2-2-4 15,-6 3-14-15,3-1-2 0,-1 0-25 0,-3 0-32 16,0 2-37-16,-8-2-32 0,-1-1 14 0,-1 2-37 15,-4 1-19-15,-4-2-80 0,-2-1 73 0</inkml:trace>
</inkml:ink>
</file>

<file path=ppt/ink/ink4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21T07:00:16.006"/>
    </inkml:context>
    <inkml:brush xml:id="br0">
      <inkml:brushProperty name="width" value="0.17143" units="cm"/>
      <inkml:brushProperty name="height" value="0.17143" units="cm"/>
      <inkml:brushProperty name="color" value="#AE198D"/>
      <inkml:brushProperty name="inkEffects" value="galaxy"/>
      <inkml:brushProperty name="anchorX" value="-374532.90625"/>
      <inkml:brushProperty name="anchorY" value="-123508.50781"/>
      <inkml:brushProperty name="scaleFactor" value="0.5"/>
    </inkml:brush>
  </inkml:definitions>
  <inkml:trace contextRef="#ctx0" brushRef="#br0">1 0 15088,'26'5'-90,"-3"-1"-1439,7-1 360,-10 0-990,9 1 2159,0 2 0,-16-3 0,5 0 0</inkml:trace>
</inkml:ink>
</file>

<file path=ppt/ink/ink4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10T08:52:18.753"/>
    </inkml:context>
    <inkml:brush xml:id="br0">
      <inkml:brushProperty name="width" value="0.08571" units="cm"/>
      <inkml:brushProperty name="height" value="0.08571" units="cm"/>
    </inkml:brush>
  </inkml:definitions>
  <inkml:trace contextRef="#ctx0" brushRef="#br0">47 5 9242,'-22'-2'5666,"0"0"-5486,20 2 180,3 0-270,44 11 0,-11-3 0,27 10 0,-14-3-90,6 2 90,7 4-369,4 1 279,9 3-1066,1 0 1156,3 1-2888,1-1 2798,2 0 0,0 0-497,1 0 497,2-1 0,-1-2-90,0 0 90,-1-3-90,1-2 90,-1 0-90,0-2 90,0-1 0,1-2-594,-6-1 504,0-2 90,-4-2-45,-19-3 1,0 0 44,30 2-45,-28-3 0,-1 0 45,28-1-90,-3 1 90,4-1 0,-6 0-90,1 1 90,-2-1 0,-2 0 0,-1-1 0,-3 1 0,23 1 0,-23-2 0,15 2 90,-33-2 0,-4 1 0,-1-1-1280,-2 0 1190,-3 1 529,-3 0-439,-1 0 281,-2-1-281,-1 0 600,0 1-600,-1-2 0,13 0 90,-13 0-90,10-1 0,-18 1 0,-2-1-90,-3 1 1252,-3-1-6109,1 0 908,-15-2 3949,-5 1 0,-24-2 0,-5 1 0</inkml:trace>
</inkml:ink>
</file>

<file path=ppt/ink/ink4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10T08:51:29.306"/>
    </inkml:context>
    <inkml:brush xml:id="br0">
      <inkml:brushProperty name="width" value="0.08571" units="cm"/>
      <inkml:brushProperty name="height" value="0.08571" units="cm"/>
    </inkml:brush>
  </inkml:definitions>
  <inkml:trace contextRef="#ctx0" brushRef="#br0">23 55 10141,'-4'-24'-1079,"-1"2"1079,-1 18 0,3-1 0,-1 9 0</inkml:trace>
</inkml:ink>
</file>

<file path=ppt/ink/ink4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10T08:51:29.579"/>
    </inkml:context>
    <inkml:brush xml:id="br0">
      <inkml:brushProperty name="width" value="0.08571" units="cm"/>
      <inkml:brushProperty name="height" value="0.08571" units="cm"/>
    </inkml:brush>
  </inkml:definitions>
  <inkml:trace contextRef="#ctx0" brushRef="#br0">0 0 13289,'19'19'-630,"-6"-7"1,-10-7-1</inkml:trace>
</inkml:ink>
</file>

<file path=ppt/ink/ink4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10T08:50:38.018"/>
    </inkml:context>
    <inkml:brush xml:id="br0">
      <inkml:brushProperty name="width" value="0.08571" units="cm"/>
      <inkml:brushProperty name="height" value="0.08571" units="cm"/>
    </inkml:brush>
  </inkml:definitions>
  <inkml:trace contextRef="#ctx0" brushRef="#br0">1 73 14639,'6'-22'1169,"3"4"-1529,17 11-90,2 3-359,8 0-540,5 2-900,6-1-989,6 1 2228,1 0 1,3-2 0,0 0 0</inkml:trace>
</inkml:ink>
</file>

<file path=ppt/ink/ink4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3:02:38.037"/>
    </inkml:context>
    <inkml:brush xml:id="br0">
      <inkml:brushProperty name="width" value="0.05" units="cm"/>
      <inkml:brushProperty name="height" value="0.05" units="cm"/>
      <inkml:brushProperty name="color" value="#E71224"/>
    </inkml:brush>
  </inkml:definitions>
  <inkml:trace contextRef="#ctx0" brushRef="#br0">1065 58 24575,'-14'-4'0,"-12"-1"0,3 2 0,-10-1 0,11 2 0,-3 0 0,-16 0 0,-8-1 0,-26 0 0,2 0 0,1-2 0,-11-1 0,22 0 0,-10 1 0,25 2 0,11 2 0,0 0 0,9 3 0,2-1 0,6 2 0,7-1 0,4 0 0,0 0 0,2-1 0,2 1 0,1-1 0,0 0 0,0 0 0,-3 2 0,-1 1 0,-1 1 0,-2 4 0,1-1 0,-1 3 0,1-1 0,1 3 0,0-1 0,-2 4 0,0 1 0,1-2 0,0 3 0,0 3 0,0 2 0,-4 15 0,-1 16 0,3-2 0,-1 12 0,5-19 0,3 10 0,0 10 0,3-10 0,0 2 0,0-25 0,0-3 0,0-4 0,0-4 0,0 2 0,0-7 0,0 3 0,0-6 0,0-4 0,0-2 0,1 2 0,1 2 0,0 9 0,1 2 0,1 7 0,0 7 0,1-5 0,-1 3 0,-2-13 0,1 0 0,2 1 0,0-2 0,0-1 0,-2-9 0,-1-3 0,-1-2 0,0-2 0,0-2 0,5-1 0,1-1 0,16 0-6784,23 0 6784,3 1-177,21-1 177,-14 0 0,43-7-776,-45 3 1,1 0 775,5 0 0,2 0 0,5 1 0,3 0 0,11 2 0,3 1 0,7 0 0,3 0 0,-20 1 0,2 0 0,1 0-1322,7-1 1,1 1-1,-4-1 1322,12 0 0,-2 0 0,-21 1 0,2 0 0,-6 0 1687,5 0 1,-6 0-1688,-4 1 0,-4 1 0,42 1 0,-38-1 0,3-1 87,-14-1-87,3 2 0,-18-2 0,-16 0 1486,-11 0-1486,-4-2 6415,-1 0-6415,1-2 1003,1-2-1003,-1 2 111,1-2-111,-2 2 0,4-5 0,0-1 0,1-2 0,0-1 0,0-3 0,0-3 0,0-3 0,-2 2 0,-2-6 0,1-10 0,-2 2 0,0-11 0,-2 12 0,-1-2 0,0-4 0,0 11 0,-1-7 0,0 11 0,-3-11 0,1 13 0,-1-7 0,0 12 0,0-2 0,-1 2 0,1 3 0,1 0 0,-2-6 0,-1 3 0,0-6 0,0 6 0,-2 2 0,-1 0 0,1 7 0,-9-5 0,2 2 0,-14-6 0,-10-6 0,5 5 0,-6-3 0,12 7 0,-2 1 0,1 1 0,-10 1 0,-21-5 0,3 1 0,-17-2 0,18 4 0,-18 3 0,-24-1-586,7 1 586,36 3 0,1-1 0,-21-4 0,-1 0 0,6 1-2126,20 5 2126,2 0 0,9 1 0,-5-1 0,4-1 0,8 0 130,18 2 1,5 1 0,8 3-1</inkml:trace>
</inkml:ink>
</file>

<file path=ppt/ink/ink4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3:03:23.865"/>
    </inkml:context>
    <inkml:brush xml:id="br0">
      <inkml:brushProperty name="width" value="0.05" units="cm"/>
      <inkml:brushProperty name="height" value="0.05" units="cm"/>
    </inkml:brush>
  </inkml:definitions>
  <inkml:trace contextRef="#ctx0" brushRef="#br0">1138 119 24575,'-19'1'0,"1"0"0,-14 0 0,7 0 0,-26 1 0,-2-1 0,-2 0 0,-9-1 0,-9-1 0,3-1 0,-24 1 0,22 1 0,8 0 0,-1 0 0,23 0 0,-2 0 0,17 0 0,7 1 0,-3 1 0,4 0 0,-4 1 0,6-2 0,3 0 0,1 0 0,5 1 0,-1 1 0,3-1 0,-4 0 0,1-2 0,0 2 0,-1-1 0,4 1 0,0-1 0,1 0 0,1 0 0,1-1 0,-1 0 0,1 0 0,1 0 0,0 1 0,2 0 0,0 0 0,0 1 0,0 0 0,-1 8 0,0 2 0,-2 13 0,0 0 0,0 15 0,-1 21 0,1-3 0,-2 25 0,1-17-4076,-2 10 4076,1-5 0,1-13 0,2 3 0,2 1 0,0 7 0,1 13 0,2 8 0,1-19 0,1 3 0,-2-29 0,0-11 0,-1-6 0,-1-9 0,-1-1 0,0-8 0,0 0 4076,0-5-4076,1-3 0,-1-1 0,2-1 0,0 0 0,3 0 0,1 0 0,8 1 0,2 1 0,13 2 0,2 0 0,17-1 0,6 0 0,11 0-533,14 0 533,-28-4 0,3 1-851,-1-1 0,2-1 851,17-2 0,5-1 0,16 0 0,1 1 0,-17 0 0,4 1 0,5 0 0,7 0 0,-9 0 0,-17 1 0,0-1 0,12 0 0,9 0 0,0 1 0,1 0 0,-1 0 0,-3 0-783,-16 1 1,-3-1 0,3 1 782,23 0 0,5 1 0,-14-1 0,-23-1 0,-6 0 0,12 0 0,0 0 0,-13 1 0,-2-1 0,43 1-88,-12 1 88,-6 2 0,4-1 422,-24 1-422,4-1 1514,-31-1-1514,3 0 0,2 0 0,-9 0 2620,-2-1-2620,-15 1 114,-4-1-114,-1-1 0,-2 0 0,-1 0 0,2-6 0,0-1 0,1-3 0,2-6 0,-1 2 0,1-11 0,0 2 0,-1-11 0,0 1 0,-1 3 0,0-2 0,-1-4 0,1-7 0,-2-17 0,0 4 0,0-5 0,-1-23 0,0 13 0,0-14 0,0 27 0,0 3 0,-1-15 0,-1 9 0,1-14 0,0 21 0,-2 5 0,0 0 0,-1 13 0,1 4 0,1 17 0,0 5 0,1 7 0,0 0 0,-1 4 0,1-1 0,-2 2 0,-2 1 0,-2 0 0,-7-2 0,-1-1 0,-7 0 0,-5 0 0,5 2 0,-6 0 0,8 0 0,-1 1 0,1 0 0,2 0 0,-6-1 0,-14 0 0,-8 0 0,-12 0 0,5 0 0,-17 2 0,21 0 0,-3 1-584,-43 3 584,31-2 0,1 0 0,-33 2 0,37-3 0,-2 0-1009,-10-1 1,0 1 1008,13-1 0,1 0 0,-7 0 0,5 0 0,-10-1-287,-7 1 287,-14 0 0,12-1-5828,-16 2 5828,29-1 208,0 1-208,8 0 1350,14-1-1350,0 0 0,16 0 217,-4 0-217,11-1 6707,-1 0-6707,-5-1 0,4 0 234,-1 0-234,7-1 0,0 1 0,-7 0 0,-1 0 0,1 0 0,5 0 0,7 0 0,2 0 0,1 0 0,3 0 0,0 1 0,0-1 0,1 1 0,0-1 0,2 0 0,1 0 0,0 0 0,0 0 0,-2 0 0,-1 0 0,1-1 0,-9 1 0,-2-1 0,-5 0 0,6 1 0,7 0 0</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9:21.391"/>
    </inkml:context>
    <inkml:brush xml:id="br0">
      <inkml:brushProperty name="width" value="0.08571" units="cm"/>
      <inkml:brushProperty name="height" value="0.08571" units="cm"/>
      <inkml:brushProperty name="color" value="#00A0D7"/>
    </inkml:brush>
  </inkml:definitions>
  <inkml:trace contextRef="#ctx0" brushRef="#br0">275 60 9152,'-21'-17'2518,"2"1"-2068,5 8-180,1-1 90,0 2-90,-1 5-180,3 4 89,0 9-89,6 2 90,0 3-90,1 0 90,1 2 0,0 4 90,-1 3-90,0 3 90,0 3-1,-1 1-89,1 2 0,-1 4 0,1 2-90,-1 3-160,0 2 160,1-1 270,-4 22-270,3-14 90,-2 15 0,3-19-90,0 0 90,-1 0-90,1 1 90,1 0-90,-1 1-1,1 0-377,0 0 378,1 0 90,-2 23-91,2-17 1,0 17 0,0-23-90,2-1 90,-1-1 0,0 0-90,1 0 90,-1-1 0,1 0 90,-1 18-180,1-17 90,-1 16-90,0-23-133,0 1 133,0 0 90,-1 0-90,0 0 90,0 2-90,1-3 0,-1 2 90,0 0-90,0 2 0,1 0 0,-2 19 0,2-16 0,-1 17 90,1-25-90,0 3 0,2-4 0,-2 1 0,2-1 0,0 0 0,0 0 0,1-1 0,-1 1 90,1 0-90,0 0 0,1 17 0,-1-13 0,1 14 0,-1-19 0,0 2 0,0 1 0,0-2 0,0 3 0,0-3 0,0 1 0,0-1 0,0 0 0,1 18 0,-1-13 0,0 12 0,-1-17 0,-1-1 0,1 1 0,-1-1 0,0 0 0,-1 0 0,1 0 0,0 1 0,-1-1 0,0 0 0,1 0 0,-1 16 90,0-11-90,0 12 0,1-16 0,-1 0 0,1 1 0,-1 3 180,0 1 0,0 2-90,0 1 0,1 0 0,-1 1-90,0 1-669,0 0 758,0 0 1,0 2 90,-1-1-90,0 1 90,0 1-90,-1 0-90,1-1 90,-1 1-257,0-1 257,1 0 0,-1-2 0,1 1-90,-1-2 90,1-1-90,1-3 0,0-2 0,1-3 90,0-2-180,0-2 322,1-3-591,0-2 29,1-4-569,0-2-271,0-4-3067,2-2 4237,2-3 0,-3-7 0,1-1 0</inkml:trace>
</inkml:ink>
</file>

<file path=ppt/ink/ink4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3:03:35.815"/>
    </inkml:context>
    <inkml:brush xml:id="br0">
      <inkml:brushProperty name="width" value="0.05" units="cm"/>
      <inkml:brushProperty name="height" value="0.05" units="cm"/>
    </inkml:brush>
  </inkml:definitions>
  <inkml:trace contextRef="#ctx0" brushRef="#br0">756 1480 24575,'4'1'0,"-1"1"0,0-2 0,1 1 0,1-1 0,1 1 0,-1-1 0,7 2 0,2-1 0,22 0 0,26 0 0,29-1 0,5 1 0,-16-1 0,-13 0 0,2 0-583,14 1 1,16-1-1,-1 0 1,-19 1 582,-23-1 0,-9 0 0,42 0 0,10-1 0,-32-1 0,7 1-899,-4 0 899,-7 0 0,-2 0 0,-26-1 2214,0 1-2214,-6 0 0,-10 0 0,-2 0 0,2-2 1015,-5 1-1015,1-1 0,-8 1 0,5 0 0,6-2 0,1-1 0,7-1 0,-4 1 0,-4 1 0,-3 0 0,-5 2 0,0 0 0,1-3 0,0 0 0,4-3 0,4-4 0,-2 2 0,3-1 0,-10 4 0,6-2 0,7-6 0,-2-1 0,2-4 0,-7 4 0,1-5 0,-1 0 0,-2-1 0,2-2 0,-3-1 0,1-4 0,0-7 0,-3 2 0,1 0 0,3-11 0,-4 8 0,2-14 0,-6 10 0,1-10 0,-1-7 0,-3 11 0,0-13 0,-4 17 0,-2-6 0,-1 3 0,-1-1 0,-1-6 0,1 13 0,1-1 0,2 19 0,1 0 0,0-5 0,0 4 0,-3-8 0,0 9 0,-4-2 0,-3-4 0,2 7 0,0-2 0,5 8 0,-2 2 0,1 2 0,-3 1 0,-1-2 0,2 3 0,-1-1 0,2 5 0,0 1 0,-2 0 0,2 2 0,-1 0 0,1 0 0,-1 1 0,-2-1 0,1 2 0,-1-1 0,3 0 0,-3 2 0,0-1 0,-13 2 0,-8 0 0,1 0 0,-22 2 0,8 0 0,-13 0 0,-19 0 0,13-1 0,-19 0 0,13 0 0,7-1 0,-9 0 0,14-1 0,-13 1 0,13-1 0,3 1 0,7 0 0,5 1 0,-7 0 0,8-2 0,-23 0 0,11-1 0,-9 0 0,-5 1 0,23 0-6784,-13 0 6784,15 0 0,-33-1 0,25 0 0,-4 0 0,-1-1 0,0 0 0,0 0 0,3-1 0,-25-2 0,22 1 0,-2 1-4537,-19 0 4537,9 0 4179,-6 1-4179,23 0 0,1 0 0,-39 1 0,27 0 0,-25 0 0,42 0 0,-19 0 0,19 1 0,-12 0 0,29 1 0,3-1 6607,3 1-6607,-1-1 535,8-2-535,0 0 0,6-1 0,3 2 0,2 0 0,0 3 0,0-1 0,0 5 0,0 2 0,-3 13 0,2 0 0,-4 24 0,3 8 0,1 2 0,1 8 0,2-3 0,-1-10 0,0 16 0,0-17 0,0 9 0,2 10 0,2-18 0,0 2 0,0-22 0,-1-8 0,0-3 0,-2-3 0,1 1 0,-2-4 0,0-2 0,0-8 0,0-1 0,0-2 0,1 0 0,0 2 0,-1 1 0,1 5 0,0 2 0,0 0 0,1 2 0,0-4 0,-1 0 0,0 1 0,1-3 0,0 2 0,0-2 0,0 0 0,0-1 0,1-2 0,-1 0 0,0 0 0,0-1 0,0 0 0,-1 0 0,1-2 0,0 0 0,0-1 0,3 1 0,1 1 0,7 1 0,6 2 0,-1-1 0,15 4 0,-2-2 0,26 3 0,4 0 0,23-1 0,-20-3 0,2 1-372,-5-1 1,0-1 371,12 2 0,-2 1 0,-17-3 0,-4 1 0,42 5 0,-37-5 0,-1-1 0,36 2-3269,-36-4 0,-1 0 3269,22-2 0,-4 0 0,-3-1 0,-25 0 0,2-1 0,-20 0 497,-4 1-497,-3 0 6784,-9 0-6784,-1 0 0,-3 0 0,-1 0 0,-4 1 0,0 3 0,-2 0 0,1 8 0,-3 2 0,1-2 0,1-2 0</inkml:trace>
</inkml:ink>
</file>

<file path=ppt/ink/ink4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3:03:39.112"/>
    </inkml:context>
    <inkml:brush xml:id="br0">
      <inkml:brushProperty name="width" value="0.05" units="cm"/>
      <inkml:brushProperty name="height" value="0.05" units="cm"/>
    </inkml:brush>
  </inkml:definitions>
  <inkml:trace contextRef="#ctx0" brushRef="#br0">487 47 24575,'-12'2'0,"-7"-3"0,2-1 0,-7-1 0,3 0 0,-4 0 0,6 2 0,-3-2 0,8 0 0,0 1 0,-2 0 0,6 1 0,-2 5 0,5 3 0,-6 10 0,-1 3 0,-4 11 0,-10 23 0,5 1-6784,-11 29 6784,4-10 0,4 17-640,12-31 0,3 1 640,3-9 0,1 1-2057,-1 10 1,1-2 2056,0 25 0,2 5-362,4-34 0,1 1 362,0-7 0,1 1 0,0 8 0,0-2 0,0 23 522,2-9-522,-1-10 4012,2-12-4012,0 1 0,-2-19 1158,0-1-1158,-1-15 6574,0-8-6574,0-2 635,0-4-635,1 0 0,2-1 0,0 0 0,4 2 0,0 1 0,5 0 0,7 3 0,-1-1 0,12 3 0,-2-1 0,29 2 0,4 1 0,35 2-3392,-21-5 0,4 0 3392,-6-2 0,1-1 0,17 1 0,-1-1-273,-24-3 0,-1 0 273,8-4 0,4-2 0,-13 2 0,3-1 0,0 0-810,21-2 0,3 1 810,-12 0 0,5 1 0,-5 0 0,11 1 0,-1 0 0,-18-1 0,4 0 0,-2 0-585,-1 0 0,-1-1 0,-3 1 585,15-1 0,-3-1 0,3 1 0,-1 0 0,-6 2 0,1 0 0,8 0 0,3 0 0,9-1 0,-1 0 0,-11 0 0,-4-1 0,-17 0 0,-2 0 0,7-2 0,-1 1 0,-12-1 0,-2 0 2420,3-1 1,-2 1-2421,25-3 0,-30 3 607,-22 2-607,2 2 2139,-8 1-2139,5-1 0,-6 0 3118,2-3-3118,3 0 0,-6 0 0,4-2 0,-9 2 0,3-3 0,0-1 0,-4 1 0,1-2 0,7-6 0,0-2 0,7-7 0,-3-4 0,7-15 0,-6 2 0,7-16 0,-11 11 0,-3 0 0,4-38 0,-11 23 0,4-30 0,-12 20 0,-3 23 0,-1-3-438,-2 2 1,-1-1 437,-1-46 0,-4 19 0,0 28 0,-3-2 0,-3-13 0,0 15 0,-3-3 0,4 18 0,-1 8 0,-1-2 0,-2 2 0,-1 2 0,2 5 0,4 8 875,3 4-875,0-1 0,-2 1 0,1 0 0,-3 0 0,0 1 0,-5-3 0,-6-3 0,2 1 0,-4 0 0,6 6 0,-6-1 0,-10-2 0,3 0 0,-10-1 0,10 3 0,-11 0 0,-10 0 0,7 3 0,-9 0 0,14 3 0,-9-1 0,1 1 0,-9 0 0,-18 0 0,10 1 0,-18 0 0,20 0 0,-11 0-879,23 0 0,-1 1 879,-44 2 0,32-1 0,-1-1 0,14 0 0,1 0 0,-47 0-203,40 0 1,-1 1 202,-3 1 0,0 1 0,8-2 0,1 0-2051,-5 1 0,5-1 2051,5-1 0,0 0 0,5 1 0,-5 0 1335,-7 1-1335,5-1 344,7 0-344,-6 1 0,11-2 4586,-8 0-4586,10-1 0,6 0 0,4 0 0,0 0 0,-9 0 0,4 0 0,-5 0 0,13 0 0,0 0 0,-5 0 0,6 0 0,-14 0 0,6 2 0,-10-1 0,-8 0 0,10 0 0,-5 1 0,13 0 0,-11-1 0,0 0 0,2-1 0,-1 0 0,18 0 0,-4 0 0,8-1 0,2 0 0,-3 2 0,-2 0 0,-1 0 0,-2 0 0,-2 0 0,2 0 0,-3 0 0,7 0 0,1-1 0,1 0 0,2 1 0,-1 1 0,-1 0 0,-3 0 0,-8 2 0,1-1 0,-2-1 0,-3 0 0,9 0 0,1-1 0,7 1 0,3-1 0,4-1 0,-1 1 0,4-1 0,0 0 0,-1 0 0,-6 0 0,-8 1 0,1 0 0,-5 0 0,8-1 0,2 0 0,-9-1 0,6 0 0,-8-1 0,8 1 0,-9 0 0,8 1 0,-6-1 0,9 0 0,1 0 0,2 1 0,0 0 0,8 0 0,0 0 0,2 0 0,0 0 0,1 0 0,0 1 0,-2 2 0,0 0 0,1-1 0,1 0 0</inkml:trace>
</inkml:ink>
</file>

<file path=ppt/ink/ink4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3:03:44.726"/>
    </inkml:context>
    <inkml:brush xml:id="br0">
      <inkml:brushProperty name="width" value="0.05" units="cm"/>
      <inkml:brushProperty name="height" value="0.05" units="cm"/>
    </inkml:brush>
  </inkml:definitions>
  <inkml:trace contextRef="#ctx0" brushRef="#br0">1441 1720 24575,'33'-4'0,"-1"0"0,50-6 0,-14 3-9831,21 0 8341,-17 2 1490,22 2 313,-26-1 0,3 0-313,-1-1 0,2-1-957,17-1 0,-1-1 957,-19 1 0,-3-1 0,-8 0 0,-3 0 0,40-7 0,-10-4 0,-35 10 0,0 0 0,40-4 0,-36 7 0,-2 1 3898,21 3-3898,-10 0-2610,-2-1 2610,-24 1 4537,9-2-4537,-12 0 0,-1 0 0,7 0 0,-8 0 0,5 0 0,-10 0 0,5-2 0,-2 0 6784,14-5-6784,12-4 0,-9 2 0,15-7 0,-18 5 0,0 0 0,1-1 0,-19 5 0,5-1 0,-10 3 0,-1 1 0,1-3 0,-7 3 0,4-6 0,-4 1 0,0 0 0,-3 1 0,-2 2 0,2-9 0,-2 0 0,6-17 0,-2 1 0,5-7 0,6-18 0,-3 8 0,0-16 0,-9 11 0,-6-7 0,-2-20 0,-4-3-3392,1 36 0,-2 1 3392,0-24 0,-2 14 0,-1 20 0,-1 3 0,-2-10 0,2 10 0,0-2 0,1 11 6784,1 9-6784,-1-4 0,2 6 0,-1 0 0,-2 0 0,0 4 0,0 0 0,1 6 0,0 1 0,0 1 0,0 0 0,-1 1 0,2 0 0,-2 1 0,1 1 0,-1 1 0,-1-2 0,0 1 0,-4-1 0,1 0 0,-8 0 0,-11 0 0,-1 0 0,-18 1 0,4 3 0,-21 1 0,1 0 0,-22-1 0,32-1 0,0 0-486,-35 0 486,28 1 0,-1 1 0,-26 2 0,22-1 0,-5 0-2328,-24 2 1,-4 1 2327,11-2 0,-2 2 0,15 1 0,-2 0 0,4 1 0,-10 3 0,2 0 0,-6 2 0,0 0-2541,6-1 1,3 0 2540,11-3 0,1 0 0,-5 1 0,-1 0-1406,8-1 0,-1 0 1406,-5 1 0,0-1-371,1-1 1,3 0 370,11-2 0,3 0 1943,-29 1-1943,30-4 0,0 0 0,-30 0 0,28-1 0,-2 0 0,-33 1 0,14 2 0,-13 2 0,20 0 0,-14-1 0,16-4 4284,12-1-4284,1 0 0,17 0 4884,-5 1-4884,10 1 0,-2 0 0,3 0 2450,-8-1-2450,-11 2 214,6-1-214,-10 1 0,16-1 0,3-1 0,-1-1 0,11 0 0,-1 0 0,10 1 0,5-1 0,3 0 0,4 1 0,0 3 0,1 12 0,0 1 0,0 9 0,1 3 0,0 0 0,1 12 0,2 17 0,0-8 0,1 12 0,-2-20 0,1 7 0,2 17 0,1-4 0,0 6 0,-2-22 0,-2-12 0,2-1 0,-1-10 0,1-1 0,-2-8 0,-1-3 0,-1-1 0,0-3 0,0-1 0,-1-4 0,1 2 0,0-2 0,1 2 0,0 1 0,1 1 0,0 0 0,3 3 0,4 4 0,1 0 0,5 4 0,-1-5 0,4 4 0,6 3 0,-1-2 0,8 6 0,-7-6 0,0-1 0,7 3 0,-6-7 0,14 5 0,-2-4 0,14-2 0,0-1 0,1-2 0,25-1-603,-8-3 603,-19-2 0,1-2 0,39-1 0,-41 0 0,2 0 0,6 0 0,-2-1 0,31-2 0,2-1 0,-40 1 0,-2-1 0,-6 0 0,0 2 0,5-1 0,-13 2 0,0-1 0,-18 0 603,-6 0-603,-4 1 0,-5 0 0,0 1 0,-3-1 0,2 1 0,-2 0 0,2 0 0</inkml:trace>
</inkml:ink>
</file>

<file path=ppt/ink/ink4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3:03:53.108"/>
    </inkml:context>
    <inkml:brush xml:id="br0">
      <inkml:brushProperty name="width" value="0.05" units="cm"/>
      <inkml:brushProperty name="height" value="0.05" units="cm"/>
    </inkml:brush>
  </inkml:definitions>
  <inkml:trace contextRef="#ctx0" brushRef="#br0">1 22 11720,'14'-10'0,"-7"5"4871,2-1-4871,-6 5 2237,2 2-2237,2-1 1264,1 2-1264,2 0 4483,0 1-4483,0 0 0,1 2 0,-2 0 0,2 3 0,1 0 0,-2-1 0,-1 3 0,-6-3 0,2 7 0,5 8 0,0-1 0,2 5 0,-1-8 0,-4 1 0,3 5 0,0-3 0,1 6 0,-2-7 0,-2 3 0,-1-3 0,-2 0 0,0-1 0,0-2 0,-1 5 0,0-5 0,0 5 0,-2 2 0,0-1 0,0 3 0,-1-8 0,1 6 0,0 0 0,0 1 0,-1 1 0,-1-7 0,0 1 0,0 0 0,0-3 0,-1 0 0,0 5 0,0-2 0,0 10 0,0-3 0,-1 5 0,0 5 0,0-10 0,0 4 0,0-12 0,2 3 0,0-2 0,0 0 0,-1 2 0,0-1 0,-1 2 0,1-2 0,0-4 0,0 3 0,0 8 0,0-2 0,-1 4 0,1-9 0,1-1 0,1 1 0,0-4 0,0 3 0,0-6 0,0 0 0,0 0 0,0-4 0,0-2 0,0-3 0,0-1 0,0-1 0,0 1 0,0 1 0,0-1 0,0 2 0,0-2 0,0-1 0,0 2 0,0-1 0,-1 1 0,0-2 0,0 2 0,0 2 0,-1-1 0,0 1 0,-1-3 0,1-1 0,1 0 0,-1-2 0,1 0 0,0 0 0,0 0 0,0 1 0,0 2 0,1-1 0,-1 0 0,1 0 0,0-1 0,-1-1 0,0 1 0,1-1 0,0 1 0,0 0 0,0-1 0,0 0 0,-1 1 0,1-1 0,-2 0 0,0-2 0,0-1 0,0 0 0,0-2 0,0-1 0,1 3 0,1 0 0</inkml:trace>
</inkml:ink>
</file>

<file path=ppt/ink/ink4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3:03:54.627"/>
    </inkml:context>
    <inkml:brush xml:id="br0">
      <inkml:brushProperty name="width" value="0.05" units="cm"/>
      <inkml:brushProperty name="height" value="0.05" units="cm"/>
    </inkml:brush>
  </inkml:definitions>
  <inkml:trace contextRef="#ctx0" brushRef="#br0">159 0 24575,'0'6'0,"-3"1"0,-2 4 0,-1-1 0,-1 2 0,2-2 0,1-1 0,-1 1 0,-1 4 0,1 0 0,-3 7 0,-1 13 0,0 0 0,-1 15 0,3-7 0,1-4 0,-2 12 0,0 1 0,1 1 0,0 0 0,3-16 0,2-7 0,0 3 0,1-5 0,0 0 0,0 1 0,1-4 0,-2 8 0,-1 8 0,1-7 0,0 3 0,2-16 0,0 3 0,0 12 0,0 1 0,0 8 0,-2-10 0,0 1 0,0 3 0,0-8 0,0 7 0,1-10 0,1 2 0,0-3 0,0 0 0,0 5 0,0-3 0,0 3 0,0-12 0,0 0 0,0 4 0,0-3 0,0 4 0,0-6 0,-1 2 0,0 3 0,0-4 0,1 3 0,1-6 0,0 2 0,-1-1 0,1 1 0,-1 1 0,0-7 0,1 1 0,0-6 0,-1-1 0,1-1 0,-1-2 0,0-1 0,-2-1 0,1-4 0,0 2 0,1-2 0</inkml:trace>
</inkml:ink>
</file>

<file path=ppt/ink/ink4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3:04:06.321"/>
    </inkml:context>
    <inkml:brush xml:id="br0">
      <inkml:brushProperty name="width" value="0.05" units="cm"/>
      <inkml:brushProperty name="height" value="0.05" units="cm"/>
    </inkml:brush>
  </inkml:definitions>
  <inkml:trace contextRef="#ctx0" brushRef="#br0">0 0 24575,'4'2'0,"1"0"0,-2 0 0,2 1 0,7 1 0,14 3 0,4-1 0,22 4 0,38-1 0,-28-6 0,4-1-604,3 0 1,1-1 603,6-3 0,-2-1 0,-18 1 0,-2-1 0,44-4 0,-43 3 0,-1 0 0,19-2 0,17 0 0,-28 2 0,-11 1 0,2 1 0,-19 1 0,0 0 0,-13 1 0,-10 0 0,-4 0 1207,-5 0-1207,-1-1 0,-7 1 0,3 0 0,-9 2 0,4 2 0,2-1 0,2 0 0</inkml:trace>
</inkml:ink>
</file>

<file path=ppt/ink/ink4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3:04:07.128"/>
    </inkml:context>
    <inkml:brush xml:id="br0">
      <inkml:brushProperty name="width" value="0.05" units="cm"/>
      <inkml:brushProperty name="height" value="0.05" units="cm"/>
    </inkml:brush>
  </inkml:definitions>
  <inkml:trace contextRef="#ctx0" brushRef="#br0">0 54 24575,'5'1'0,"0"1"0,-1-1 0,4 1 0,2 0 0,17 2 0,6 0 0,38 3 0,-12-3 0,3-1-911,-1-1 1,4-1 910,32 2 0,3-1 0,-14-1 0,-1 0 0,2 1 0,1-1-3091,-2 0 1,-1 0 3090,-7-3 0,0-2 0,15-2 0,5-1-1378,-23 2 0,3-2 1,0 1 1377,1-1 0,0 1 0,0 0-423,-2 1 0,1 1 0,-3 1 423,24-1 0,-5 1-558,-15 2 0,0 0 558,8 0 0,1 0 0,1-1 0,1 1 0,3 0 0,-3 0 0,-16-1 0,-6 1 2951,29-3-2951,-57 0 4414,-16 1-4414,-17 3 2389,-4 0-2389,-5 0 4766,-1 0-4766,-2 4 0,-4 5 0,0 1 0,2-1 0,3-3 0</inkml:trace>
</inkml:ink>
</file>

<file path=ppt/ink/ink4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3:04:08.946"/>
    </inkml:context>
    <inkml:brush xml:id="br0">
      <inkml:brushProperty name="width" value="0.05" units="cm"/>
      <inkml:brushProperty name="height" value="0.05" units="cm"/>
    </inkml:brush>
  </inkml:definitions>
  <inkml:trace contextRef="#ctx0" brushRef="#br0">1165 1495 24575,'19'0'0,"10"-1"0,15 0 0,38-7 0,7-1-4776,3-1 4776,6-1 0,-4 5 539,-43 2 0,5 1-539,36 1 0,10 0 0,-19 1 0,5-2 0,0 1-754,-6 0 1,-1 0 0,1-1 753,9 0 0,1-1 0,-9-1 0,-2 0 0,-4-2 0,5 1 0,3 0 0,-17 0 0,2-1 0,-2 0 0,22-3 0,-1 1 0,3-2 0,-7 1 0,11-5 0,-38 4 0,-14 2 0,-13 1 3200,-2 1-3200,-11-2 0,-2 0 0,-1-9 2758,-1-1-2758,0-6 0,3-12 0,-3 4 0,0-10 0,-6 6 0,-4-6 0,-1-14 0,-1 5 0,-1-12 0,-1 13-6784,0-7 6784,0 4 0,-1 4 0,-2-3 0,-2 7 0,1-4 0,-5-6 0,0 8 0,-2 2 0,-3-5 0,3 15 0,-6-8 0,2 13 6784,-1 5-6784,-4 0 0,6 11 0,-2 2 0,7 6 0,2 3 0,-1 1 0,-2 0 0,-1 1 0,-7-1 0,0 1 0,-3-2 0,-6 0 0,4 1 0,-20 1 0,0 1 0,-45 0 0,25 1 0,-3 0-854,6 0 0,-4 0 854,-32 0 0,-2 0-997,15 1 0,0-2 997,-12 0 0,-5-1-1853,13 0 0,-4-2 1,1 1 1852,12-1 0,1-1 0,-3 2 0,3 0 0,-4 0 0,0 1 0,2 0-517,-16-1 1,2 2-1,3 0 517,10 1 0,1 0 0,4 1 0,-22 0 0,3 0 0,6 1 0,-2-1 0,18 0 0,-4-1 0,3 1 0,-28 1 0,3-1 0,-4 0 0,9 0 0,0-1 880,35 0-880,2 0 1254,13 0-1254,-1 0 0,19 0 5847,9 0-5847,3 0 2829,7 0-2829,1 0 0,3 0 0,0 0 0,0 0 0,1 0 0,-1 2 0,-1 1 0,-4 14 0,-1 3 0,-5 22 0,-3 24 0,3 0-6784,0 18 6784,7-20 0,3 25-4537,2 0 4537,1 1-574,0 8 574,3-9 0,2 8 0,-1-43 0,1 0 0,5 41 0,0-15 0,2 4 0,-1-31 0,1 0 0,-4-22 4253,-3-15-4253,-1-4 6359,-2-9-6359,-1-1 1283,0-1-1283,0-1 0,5-1 0,1 0 0,18-2 0,6-2 0,54-5 0,-22 2 0,4 0-206,-1 0 0,-1 0 206,3 0 0,-5 1 0,6-2 0,-15 3 0,-7 2 0,11 1 0,17 0 0,6-1 0,5-2 0,-11-1 0,-20 1 0,-1 4 0,8 1 0,-11 1 0,-3 0 0,-26 0 412,-12 0-412,-6 0 0,-3 0 0,-7 0 0,2 0 0,-2 0 0,2 0 0,2 0 0,1 0 0</inkml:trace>
</inkml:ink>
</file>

<file path=ppt/ink/ink4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3:04:09.994"/>
    </inkml:context>
    <inkml:brush xml:id="br0">
      <inkml:brushProperty name="width" value="0.05" units="cm"/>
      <inkml:brushProperty name="height" value="0.05" units="cm"/>
    </inkml:brush>
  </inkml:definitions>
  <inkml:trace contextRef="#ctx0" brushRef="#br0">110 0 10676,'-9'27'0,"1"7"5028,-6 20-5028,-1 20 1888,0 5-1888,8-26 0,0 4-107,-1 20 1,1 3 106,3-9 0,0 1 0,0 11 0,0-3 0,2-24 0,1-2 0,1 1 0,1 2 1396,0 11 0,0 0-1396,1-8 0,0-1 0,0 8 0,-1-5 0,-1 15-474,0-19 474,0-11 0,0-18 457,0 0-457,0-11 0,0 0 2051,0-9-2051,0-5 1765,0-6-1765,0-1 605,1-8-605,0-17 0,2-6 0,-1-16 0,1 7 0,1-2 0,0 4 0,0 17 0,-1 7 0</inkml:trace>
</inkml:ink>
</file>

<file path=ppt/ink/ink4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3:04:11.435"/>
    </inkml:context>
    <inkml:brush xml:id="br0">
      <inkml:brushProperty name="width" value="0.05" units="cm"/>
      <inkml:brushProperty name="height" value="0.05" units="cm"/>
    </inkml:brush>
  </inkml:definitions>
  <inkml:trace contextRef="#ctx0" brushRef="#br0">82 299 8191,'14'-8'0,"-2"1"5063,4-1-5063,2 2 0,15-4 0,7-1 0,25-8 0,1-1 0,17-4-1078,-32 11 1,-1 0 1077,28-6 0,17-5 2155,-32 7-2155,27-2 0,-20 8 0,4 0 1691,-2 2 0,3 2-1691,15-3 0,0 2 0,-19 1 0,-3 2 0,5 1 0,0 1-722,-4 0 0,-3 1 722,-9 2 0,-1-1 0,0 1 0,0 0 0,36 0 2519,-41 0 0,1 0-2519,5 0 0,0 0 0,41 0 0,-25 0 0,-12 0 1485,-27 1-1485,2 0 0,-11 0 0,-3 0 2294,-10 0-2294,-8 1 566,-3-1-566,1 6 0,0 6 0,1 2 0,0 9 0,0-1 0,3 12 0,1 0 0,-2 1 0,0 1 0,1 13 0,1 8 0,0 22 0,0-3 0,-3 12 0,-1-30 0,0 2 0,-1-4 0,1-1 0,1-1 0,-2-3 0,1 28 0,-4-23 0,-1-13 0,-2 3 0,1-21 0,0-7 0,-1-2 0,1-8 0,0-1 0,1-5 0,1 0 0,0-1 0,-1-1 0,1 0 0,-6 1 0,-1 0 0,-30 5 0,-9 2 0,1-2 0,-9 2 0,-27 3 0,-6-1-1180,3 0 1,-3 0 1179,17-2 0,-3 1 0,4-1 0,-12 1 0,4 0 0,3-1 0,-1 1-2001,11-2 0,-2 0 0,0-1 2001,-24 3 0,-1-1 0,21-1 0,-2 0 0,3 0-403,-12 2 1,3 0 402,-7 0 0,1 0-953,4-1 0,3-1 953,8-1 0,2 0 0,-2-1 0,5 0 0,-5 2 1224,6-1-1224,6 2 5266,36-5-5266,-12 0 1132,26-3-1132,2-1 3451,3 0-3451,2 0 0,0-1 0,0 0 0,-1 0 0,0 1 0,1-1 0,0 2 0</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9:23.254"/>
    </inkml:context>
    <inkml:brush xml:id="br0">
      <inkml:brushProperty name="width" value="0.08571" units="cm"/>
      <inkml:brushProperty name="height" value="0.08571" units="cm"/>
      <inkml:brushProperty name="color" value="#00A0D7"/>
    </inkml:brush>
  </inkml:definitions>
  <inkml:trace contextRef="#ctx0" brushRef="#br0">148 0 14099,'-13'27'1979,"0"-1"-1529,5-7-1,-1 3-179,0 1 90,-1 3-180,1 0 0,0 1-90,1 1 0,0-1 0,0 0 0,2-1-1,-1 9-178,1-10-91,1 6-180,1-11-809,1-3-810,-1 2 1979,0-3 0,2-5 0,-1-5 0</inkml:trace>
</inkml:ink>
</file>

<file path=ppt/ink/ink4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21T07:01:24.696"/>
    </inkml:context>
    <inkml:brush xml:id="br0">
      <inkml:brushProperty name="width" value="0.1" units="cm"/>
      <inkml:brushProperty name="height" value="0.1" units="cm"/>
      <inkml:brushProperty name="color" value="#AE198D"/>
      <inkml:brushProperty name="inkEffects" value="galaxy"/>
      <inkml:brushProperty name="anchorX" value="0"/>
      <inkml:brushProperty name="anchorY" value="0"/>
      <inkml:brushProperty name="scaleFactor" value="0.5"/>
    </inkml:brush>
  </inkml:definitions>
  <inkml:trace contextRef="#ctx0" brushRef="#br0">894 7 8191,'-9'-3'0,"2"0"5063,3 3-5063,1 0 2818,-7 0-2818,1 0 1719,0 0-1719,-5 0 6784,10 0-6784,-15 0 0,15 0 0,-15 0 0,16 0 0,-15 0 0,5 0 0,-8 0 0,-6 0 0,3 0 0,-4 0 0,6 0 0,-6 0 0,6 0 0,-10 0 0,8 0 0,-9 0 0,9 0 0,-24 0 0,14 0 0,-10 0 0,16 0 0,12 0 0,-12 0 0,11 0 0,-20 0 0,18 0 0,-20 0 0,22 0 0,-20 0 0,24 0 0,-16 0 0,20 0 0,-12 0 0,16 0 0,-7 2 0,9 1 0,-2 1 0,4-1 0,-1 0 0,2 0 0,0 0 0,0 0 0</inkml:trace>
</inkml:ink>
</file>

<file path=ppt/ink/ink4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8-21T07:01:27.329"/>
    </inkml:context>
    <inkml:brush xml:id="br0">
      <inkml:brushProperty name="width" value="0.1" units="cm"/>
      <inkml:brushProperty name="height" value="0.1" units="cm"/>
      <inkml:brushProperty name="color" value="#AE198D"/>
      <inkml:brushProperty name="inkEffects" value="galaxy"/>
      <inkml:brushProperty name="anchorX" value="-11072.16992"/>
      <inkml:brushProperty name="anchorY" value="-7212.74414"/>
      <inkml:brushProperty name="scaleFactor" value="0.5"/>
    </inkml:brush>
  </inkml:definitions>
  <inkml:trace contextRef="#ctx0" brushRef="#br0">8 1087 8191,'-4'18'0,"1"-4"5063,3-9-5063,0-1 2818,0 3-2818,0-1 1719,0 6-1719,0-1 0,0 4 6784,0-3-6784,0-1 0,0-4 0,0 3 0,0-3 0,0 7 0,0-5 0,0 8 0,0-7 0,0 9 0,0-11 0,0 12 0,0-13 0,0 17 0,0-15 0,0 18 0,0-17 0,6 15 0,-4-17 0,15 23 0,-5-15 0,9 17 0,2-1 0,4 1 0,1 4 0,2-3 0,-1-8 0,-4-3 0,7 5 0,-8-5 0,8 9 0,-7-7 0,17 17 0,-13-13 0,25 18 0,-20-18 0,28 17 0,-28-20 0,29 21-571,-30-22 571,37 24 0,-38-26 0,42 25 0,-42-26 0,45 29 0,-46-30-2138,16 11 0,0 0 2138,-19-12 0,24 14 0,0-1-162,-27-17 162,27 15 0,-1 0-942,-27-17 942,31 18 0,6 2 0,-6-3 0,-4-3 0,2 1 0,19 8 0,-7-3 0,7 4 0,-7-4 0,13 5 0,-11-5 0,8 4 0,-14-5 0,16 3 0,-20-9 0,22 6 0,-26-9 0,24 9 0,-22-10 0,24 7 0,-28-11 0,31 13 0,-35-15 0,36 11 0,3-1 0,-22-8 0,-12-5 0,-2-2 0,-8-3 0,50 12 0,-46-10 208,6-2 1,-1 0-209,-13-3 2044,18 2 0,-2-1-2044,-25-2-938,29 2 1,4 1 937,-4-2 0,-7-2 0,3 1 56,44 4-56,-19-2 0,11 2 0,-10-2 0,-11-1 0,14-2 0,-17-2 0,11-2 0,-15 0 0,24 0 0,-22 0 0,25 0 0,-29 0 0,24 0 0,-29 0 0,38-8 0,-37 2 0,-4-6 0,0-1 0,4-2 0,-5-1 0,0 1 0,-4 0 0,12-2 0,4-3 0,22-14 0,-37 16 0,0 1 0,29-16 0,-56 25 0,42-18 0,-45 18 0,60-28 0,-63 28-5703,48-28 5703,-42 24-556,21-13 556,-16 11 1151,-2 1-1151,-6-1 0,-3 3 0,-2-2 742,-2 1-742,3-4 6365,-3 3-6365,-1-4 977,-3 5-977,0-10 289,-1 5-289,2-14 0,-3 12 0,1-8 0,-3 11 0,3-20 0,-3 14 0,4-25 0,-4 24 0,1-32 0,-3 2 0,-1 6 0,0-31 0,0 52 0,0-52 0,0 54 0,0-65 0,0 66 0,0-71-6784,0 55 6784,0-34 0,-5 19 0,-1 5 0,-4-5 0,3 6 0,-5-3 0,2 8 0,-5-4 0,3 9 0,-9-26 0,6 20 6784,-7-11-6784,5 14 0,4 12 0,-9-18 0,7 16 0,-12-20 0,11 21 0,-16-24 0,14 25 0,-25-36 0,12 21 0,-3-4 0,-9-2 0,26 31 0,-20-19 0,26 27-6784,-23-26 6784,25 25 0,-53-48-29,48 47 29,-53-45 0,58 51 0,-26-24 0,6 13 0,-11-8 0,-5-2 0,5 4 0,4 2 0,5 3 0,-11-8 0,-13-3 0,11 6 0,-20-8 0,28 16 0,-19-10 0,17 8 0,-24-6 0,21 9 0,-23-7 0,26 10 0,-28-10 0,30 10 0,-24-8-1696,23 7 1696,-33-9-134,-6 2 134,14 2 0,-34-6 0,61 14 0,-61-12 0,63 14 0,-65-12 0,25 6 3814,-20-5-3814,6 2 0,-2 4 0,24 1 0,-14 1 0,19 4 0,9 2-3676,-16 2 3676,14 0 0,-15 0-114,16 0 114,-18 3 0,20 0-3929,-18 0 3929,25 0-1623,-20 0 1623,24 0 1693,-26 0-1693,28 0-2538,-32 0 2538,36 0 0,-36 0 0,37 0 2160,-49 0-2160,19 13 0,0-7 0,-16 20 0,54-19 0,-52 20 0,59-21 0,-55 26 0,40-19 0,-28 14 0,15-7 0,2-2 0,1 7 0,4-2 0,-2 4 0,6-6 0,-7 5 0,7-4 0,-12 9-1613,9-7 1613,-10 7 0,12-8 0,-5 4 1207,6-6-1207,-14 8-1191,13-8 1191,-20 13 1936,20-12-1936,-17 9 2922,21-13-2922,-8 5 2670,-3 1-2670,11-6 2988,-18 9-2988,27-16 0,-13 9 2179,21-12-2179,-15 7 0,20-10 0,-16 8 0,18-10 0,-12 6 1758,15-7-1758,-7 4 0,9-5 0,-10 5 0,9-4 0,-5 3 0,6-2 0,1 0 0,-1-2 0,-1 2 0,0-1 0,-4 1 0,3 0 0,-2 0 0,2 0 0,-2-1 0,2-1 0,-4 1 0,2 0 0,0 2 0,3-2 0,-1 0 0,2-1 0,-3 1 0,3-1 0,-2 1 0,2-1 0,-3-1 0,4 0 0,-4 0 0,-1 0 0,3 0 0,-6 0 0,5 0 0,-2 0 0,2 0 0,-1 0 0,0 0 0,-3 0 0,3 0 0,-1 0 0,-2 0 0,-2 0 0,2 0 0,-3 0 0,7 0 0,-9 0 0,7 0 0,-10 0 0,10 0 0,-11 0 0,12 0 0,-13 0 0,14 0 0,-18 0 0,16 0 0,-21 0 0,22 0 0,-23 3 0,16 0 0,-11 2 0,8 1 0,2 0 0,1 0 0,2-1 0,0 1 0,2-2 0,3 2 0,0-2 0,2-1 0,0 0 0,1 0 0,1 0 0,-1 1 0,1-2 0,-1 2 0,1-2 0,1 2 0,0-2 0,-2 3 0,1-4 0,-4 3 0,4-3 0,-7 5 0,6-5 0,-7 4 0,8-4 0,-4 4 0,1-1 0,-2-1 0,1 0 0,1-3 0,0 0 0,2 0 0,0-3 0,1 0 0</inkml:trace>
</inkml:ink>
</file>

<file path=ppt/ink/ink4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10T08:52:52.527"/>
    </inkml:context>
    <inkml:brush xml:id="br0">
      <inkml:brushProperty name="width" value="0.08571" units="cm"/>
      <inkml:brushProperty name="height" value="0.08571" units="cm"/>
    </inkml:brush>
  </inkml:definitions>
  <inkml:trace contextRef="#ctx0" brushRef="#br0">0 0 10591,'26'5'2788,"0"-1"-2158,-5-3 134,28 2 1,6 0-675,-1 0-2126,4 0 0,-1 1 2036,-13-1-1408,-3 0 1228,-2 0-270,-4 0-90,-3 1-89,-4-1-91,-2-1 2179,-5 1-2449,-2 0 245,-3 0 745,0 0 0,-8-1 0,0-1 0</inkml:trace>
</inkml:ink>
</file>

<file path=ppt/ink/ink4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10T08:52:52.743"/>
    </inkml:context>
    <inkml:brush xml:id="br0">
      <inkml:brushProperty name="width" value="0.08571" units="cm"/>
      <inkml:brushProperty name="height" value="0.08571" units="cm"/>
    </inkml:brush>
  </inkml:definitions>
  <inkml:trace contextRef="#ctx0" brushRef="#br0">245 0 17067,'6'30'1709,"-2"0"-1349,-4-3-90,-2 3 90,0 3-180,-1 1 0,-1 0-1,-1 3-89,-1 0 0,-3 1 0,0 0-90,-1-2 0,-2 1-90,-1-3-269,-2-1-91,1-1-360,-1-3-179,-1-3-181,1-2-359,-2-2-1439,0-2-1889,2-3 4857,-2-2 0,-2-3 0,0-1 0</inkml:trace>
</inkml:ink>
</file>

<file path=ppt/ink/ink4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10T08:52:53.500"/>
    </inkml:context>
    <inkml:brush xml:id="br0">
      <inkml:brushProperty name="width" value="0.08571" units="cm"/>
      <inkml:brushProperty name="height" value="0.08571" units="cm"/>
    </inkml:brush>
  </inkml:definitions>
  <inkml:trace contextRef="#ctx0" brushRef="#br0">76 35 10411,'-9'-23'5577,"-2"12"-5127,8 17-181,-2 7 1,6 8 0,1-2-180,1 2 90,0 3-90,1 0-90,1 17-630,-1 1-719,-2 15 450,-3-13-1530,-7 11 270,0-22-629,-5 10 1940,1-15 0,-2 1 0,-1-1 0</inkml:trace>
</inkml:ink>
</file>

<file path=ppt/ink/ink4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10T08:52:54.820"/>
    </inkml:context>
    <inkml:brush xml:id="br0">
      <inkml:brushProperty name="width" value="0.08571" units="cm"/>
      <inkml:brushProperty name="height" value="0.08571" units="cm"/>
    </inkml:brush>
  </inkml:definitions>
  <inkml:trace contextRef="#ctx0" brushRef="#br0">98 98 10051,'-19'-11'3328,"2"0"-2608,6 4 0,0-1 449,1 1-450,-3-3-89,3 2-450,4-4 0,14 4-180,7 0 90,13 4-90,1 2-90,5 1-270,6 1-1293,3 2 933,3 0-89,0 3-315,-1 0 44,-1 1-1348,-4 1-1260,-4 1 3688,-4-1 0,-3 1 0,-2 0 0</inkml:trace>
</inkml:ink>
</file>

<file path=ppt/ink/ink4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10T08:52:55.160"/>
    </inkml:context>
    <inkml:brush xml:id="br0">
      <inkml:brushProperty name="width" value="0.08571" units="cm"/>
      <inkml:brushProperty name="height" value="0.08571" units="cm"/>
    </inkml:brush>
  </inkml:definitions>
  <inkml:trace contextRef="#ctx0" brushRef="#br0">1 255 10411,'19'-21'1169,"-2"0"-899,-6 10-180,0-3 90,1 1-90,-1-1 90,1-1-180,0-1 90,-1 0 90,1 1-90,-1-1 90,0 2-90,0 0 179,0 0-89,-2 3 90,1 0 270,0 3 89,3 1-359,3 4 180,0 2-180,0 6 90,-3 4 0,0 2-181,1 2 91,-2 2-90,0 2-90,-2 1 90,-1 2-90,2 9 0,-4-6 0,-1 8-90,-3-10-90,-3 0-270,-2 0-629,-5 10 269,0-8-179,-3 6-91,0-10-359,-1-1-810,0-1-719,-2-2 2878,1-2 0,-5 0 0,0-1 0</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9:23.426"/>
    </inkml:context>
    <inkml:brush xml:id="br0">
      <inkml:brushProperty name="width" value="0.08571" units="cm"/>
      <inkml:brushProperty name="height" value="0.08571" units="cm"/>
      <inkml:brushProperty name="color" value="#00A0D7"/>
    </inkml:brush>
  </inkml:definitions>
  <inkml:trace contextRef="#ctx0" brushRef="#br0">1 0 15808,'24'6'1529,"-3"0"-1169,-11 5-90,1 1 0,2 1-91,-1 1 91,8 9-180,-5-5-180,4 6-359,-7-8-91,0 0-360,-1-1-89,0-1-3059,-2-2 4048,0 3 0,-5-8 0,0 1 0</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49:23.600"/>
    </inkml:context>
    <inkml:brush xml:id="br0">
      <inkml:brushProperty name="width" value="0.08571" units="cm"/>
      <inkml:brushProperty name="height" value="0.08571" units="cm"/>
      <inkml:brushProperty name="color" value="#00A0D7"/>
    </inkml:brush>
  </inkml:definitions>
  <inkml:trace contextRef="#ctx0" brushRef="#br0">1 58 16707,'32'0'2159,"-1"0"-7279,-9-2 5479,2 1 1500,3-1-1139,28-5-630,-19 2-180,38-6-540,-45 6-1979,19-4-7222,-29 5 9917,3-2 1,-14 3 0,-2 0 0</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0:07.360"/>
    </inkml:context>
    <inkml:brush xml:id="br0">
      <inkml:brushProperty name="width" value="0.08571" units="cm"/>
      <inkml:brushProperty name="height" value="0.08571" units="cm"/>
      <inkml:brushProperty name="color" value="#00A0D7"/>
    </inkml:brush>
  </inkml:definitions>
  <inkml:trace contextRef="#ctx0" brushRef="#br0">0 0 10681,'10'19'-270,"1"-3"-5930,7-14 6200,23 4 0,-9-2 0,21 3 0</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8T04:53:26.334"/>
    </inkml:context>
    <inkml:brush xml:id="br0">
      <inkml:brushProperty name="width" value="0.08571" units="cm"/>
      <inkml:brushProperty name="height" value="0.08571" units="cm"/>
      <inkml:brushProperty name="color" value="#E71224"/>
    </inkml:brush>
  </inkml:definitions>
  <inkml:trace contextRef="#ctx0" brushRef="#br0">63 86 8072,'5'-24'3778,"0"0"-2249,-3 8-179,0-2-1081,-8 14-179,-1 5 0,-3 11 90,-1 2-180,4-2 90,-1 1 0,1 1 90,0-1-90,1 1 270,2 0-180,1 6-90,4-5 0,3 6 0,4-6-1,7 0-178,7 0-91,8 1-360,7-2-90,7-2-269,5-2-271,5-2-1258,-2-3-990,0-2 3418,-3-4 0,3-4 0,-1-1 0</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07:48:49.444"/>
    </inkml:context>
    <inkml:brush xml:id="br0">
      <inkml:brushProperty name="width" value="0.05" units="cm"/>
      <inkml:brushProperty name="height" value="0.05" units="cm"/>
      <inkml:brushProperty name="color" value="#E71224"/>
    </inkml:brush>
  </inkml:definitions>
  <inkml:trace contextRef="#ctx0" brushRef="#br0">0 119 24575,'1'-4'0,"-1"0"0,0 2 0,0 1 0,3 1 0,7 0 0,3 1 0,7 0 0,-1 0 0,10 1 0,18 0 0,3 0-6784,16-1 6784,-10-2 0,8-3 0,-4 0 0,2-2 0,18-1 0,-17 2 0,12-6 0,-25 2 0,-16 0 0,-5-1 6784,-15 4-6784,1-1 0,-8 2 0,-1 2 0,0 1 0,-2 1 0,1 0 0,0 2 0,1-1 0,1 1 0,-1 0 0,0 0 0,-1 0 0,-2-1 0,-1 1 0,3-1 0,2 1 0,4-1 0,-1 0 0,-3 0 0,1 0 0,-2 0 0,1 0 0,-1 0 0,-2 1 0,0 0 0,-2-1 0,-1 0 0,0 0 0,1 0 0,4-1 0,3 1 0,6-1 0,2 0 0,17 0 0,28-1 0,3-1 0,13-3 0,-22 1 0,-11 1 0,-5-1 0,-3 4 0,7 0 0,0 0 0,0 1 0,2 0 0,-9 0 0,-8 0 0,-5 0 0,-19-1 0,-1 1 0,-5-1 0,0 0 0</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6:54.377"/>
    </inkml:context>
    <inkml:brush xml:id="br0">
      <inkml:brushProperty name="width" value="0.08571" units="cm"/>
      <inkml:brushProperty name="height" value="0.08571" units="cm"/>
      <inkml:brushProperty name="color" value="#E71224"/>
    </inkml:brush>
  </inkml:definitions>
  <inkml:trace contextRef="#ctx0" brushRef="#br0">349 0 11940,'-6'24'2968,"-2"-2"-2158,-2-9 1169,-16 21-1349,8-11 269,-20 25-539,19-23-90,-5 7-90,8-9 89,0 0-179,1 1 90,0-1-90,1 1 0,1 0-90,0 0-90,0-1 0,2 0-180,0-1 1,1-1-271,1-2-90,1-1-89,0-2-1,1-1-1349,1-3 2069,-1 0 0,4-6 0,-1 0 0</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6:54.573"/>
    </inkml:context>
    <inkml:brush xml:id="br0">
      <inkml:brushProperty name="width" value="0.08571" units="cm"/>
      <inkml:brushProperty name="height" value="0.08571" units="cm"/>
      <inkml:brushProperty name="color" value="#E71224"/>
    </inkml:brush>
  </inkml:definitions>
  <inkml:trace contextRef="#ctx0" brushRef="#br0">2 109 11311,'0'-35'5396,"-1"3"-3776,2 12-631,2 5-359,4 8-271,5 9-179,0 8 90,4 5-90,-4-1 0,3 3-90,-1 2-90,2 2 90,1 2 0,0 2-90,0 1 90,0 0-90,0 1 0,-2-2-90,0 0 0,0 0-270,-1 0 0,-1-1-179,-2-2-181,0-2-180,-2-2-179,0-2-90,-2-2-3059,0-1 4228,1-1 0,-4-7 0,0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07:42:48.331"/>
    </inkml:context>
    <inkml:brush xml:id="br0">
      <inkml:brushProperty name="width" value="0.08571" units="cm"/>
      <inkml:brushProperty name="height" value="0.08571" units="cm"/>
      <inkml:brushProperty name="color" value="#E71224"/>
    </inkml:brush>
  </inkml:definitions>
  <inkml:trace contextRef="#ctx0" brushRef="#br0">7 12 10231,'6'26'2519,"-2"-5"-1980,-5-1-179,-2-4-90,1 1 90,-1 0-90,0 1 0,1-1-1,0 0 1,2 1 90,-1-2 0,3 1-90,1-2 89,1 0-89,2 0 0,3-2 0,1 1 0,2-3 0,2-1 0,1-2-91,0-2 91,1-2 270,-1-2-450,7-2 90,-6-2-90,4-5 90,-6-1-90,-2-3-90,-1-3 90,-3-2-90,-1-1 0,-2-3 90,-2-1-180,-2-1 90,-3-1-180,0 0-90,-3 1-90,-2 0-180,-1 2-89,-2 1-990,-9-3 539,4 6-89,-9-2-180,6 10-900,-1 2-989,1 3 3238,0 0 0,8 2 0,3 1 0</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6:54.837"/>
    </inkml:context>
    <inkml:brush xml:id="br0">
      <inkml:brushProperty name="width" value="0.08571" units="cm"/>
      <inkml:brushProperty name="height" value="0.08571" units="cm"/>
      <inkml:brushProperty name="color" value="#E71224"/>
    </inkml:brush>
  </inkml:definitions>
  <inkml:trace contextRef="#ctx0" brushRef="#br0">1 13 14639,'12'6'5217,"-10"-3"-5127,46 1 0,-23-4 0,2 0-180,1 0 180,0 0-270,0-1 90,0 0-90,-1 0-180,-1-1 0,-1 1-269,-2 0-91,-3-1-90,-1 1-179,-2-1-1350,-2 0-3777,3-1 6116,-2-1 0,-5 2 0,-4 0 0</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6:56.135"/>
    </inkml:context>
    <inkml:brush xml:id="br0">
      <inkml:brushProperty name="width" value="0.08571" units="cm"/>
      <inkml:brushProperty name="height" value="0.08571" units="cm"/>
      <inkml:brushProperty name="color" value="#E71224"/>
    </inkml:brush>
  </inkml:definitions>
  <inkml:trace contextRef="#ctx0" brushRef="#br0">350 0 10321,'-20'15'1349,"1"1"-6559,8-4 5570,-1 3 1408,-1 1-1498,0 3 769,-2 1-589,-6 13-180,5-8-180,-5 10 90,6-10-90,1 1 3482,1-1-3392,-6 12-180,5-10 90,-4 9-1,7-13-89,0-2 0,1 0 0,1-2-89,0-1-91,1-2-90,0-2-360,2-1-629,-2 2 1259,1-4 0,2-2 0,2-4 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6:56.467"/>
    </inkml:context>
    <inkml:brush xml:id="br0">
      <inkml:brushProperty name="width" value="0.08571" units="cm"/>
      <inkml:brushProperty name="height" value="0.08571" units="cm"/>
      <inkml:brushProperty name="color" value="#E71224"/>
    </inkml:brush>
  </inkml:definitions>
  <inkml:trace contextRef="#ctx0" brushRef="#br0">1 36 12390,'5'-22'2878,"2"9"-2608,11 18-90,-5 4 90,3 5 0,-3-1-90,0 4 89,1 2 1,1 2-90,0 3-90,0 0 90,0 3 0,1 2-90,0 2 0,1 0 0,-2 0 0,0-2 0,-2 1 0,-1-3-90,0 0 0,4 10-180,-6-11-90,4 7-90,-6-13-180,-1-3-269,0-1-1260,-1-2-4497,3 1 6566,-1-3 0,-2-3 0,-2-5 0</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14.769"/>
    </inkml:context>
    <inkml:brush xml:id="br0">
      <inkml:brushProperty name="width" value="0.08571" units="cm"/>
      <inkml:brushProperty name="height" value="0.08571" units="cm"/>
      <inkml:brushProperty name="color" value="#E71224"/>
    </inkml:brush>
  </inkml:definitions>
  <inkml:trace contextRef="#ctx0" brushRef="#br0">5 125 10591,'-2'-24'3688,"-1"0"-2699,3 6-269,1 0-450,0 2-180,5 3 0,3 5-90,6 5 90,5 6-90,-2 1 0,0 2 0,-6 1 0,1 0 0,-1 1 0,-1 1 0,-1 0 0,0 2 0,-2 0 0,-2 0 0,2 5 0,-4 2 0,0 4 0,-2 0 0,0-1 0,1 1 0,1-4 0,3 0 0,-1-5 0,2 1 0,1 1 0,0-1 0,1 1 0,-1 0-90,0-2 90,-2 0 0,0-2 0,-1 0 0,0 4 0,-4-2 0,-4 3 90,-9-3-90,-1-4 90,-4-2-90,-2-3 89,-1 0-178,-6-1-271,3-2-630,1-1-3147,5-2 2428,9-6-360,7 2 2069,9-5 0,8 2 0,2-1 0</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15.053"/>
    </inkml:context>
    <inkml:brush xml:id="br0">
      <inkml:brushProperty name="width" value="0.08571" units="cm"/>
      <inkml:brushProperty name="height" value="0.08571" units="cm"/>
      <inkml:brushProperty name="color" value="#E71224"/>
    </inkml:brush>
  </inkml:definitions>
  <inkml:trace contextRef="#ctx0" brushRef="#br0">102 0 9242,'-24'7'1439,"3"0"-989,10 2-91,0 1 1,1 2 0,2 1 0,0 0 180,4 1-181,0 7-179,4-4 90,2 6-90,3-7-90,2 0 90,1-1 0,2-1-90,2-1 90,0-2-1,0-2 1,1-2 0,4-3-180,1-7 0,-1-1 90,-2-7-90,-7 0 0,-1-2 0,-1-1 0,-2-2 0,-1 0-180,-2-7 90,-2 5-180,-1-5-89,-1 9-91,-1 0-90,-1 1-809,0 1-360,-3-2 1709,0 2 0,2 3 0,1 3 0</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15.323"/>
    </inkml:context>
    <inkml:brush xml:id="br0">
      <inkml:brushProperty name="width" value="0.08571" units="cm"/>
      <inkml:brushProperty name="height" value="0.08571" units="cm"/>
      <inkml:brushProperty name="color" value="#E71224"/>
    </inkml:brush>
  </inkml:definitions>
  <inkml:trace contextRef="#ctx0" brushRef="#br0">0 65 9691,'4'28'3239,"1"0"-2880,3-9 1,1-3-90,2-3 0,-2-5 0,2-1-90,0 0 0,1-2 89,1-1 1,5-4-180,2-3 0,-1-3 0,-3-4 0,-7 1 0,-1-3 0,-2 1-90,-1-3 90,-2-7-90,-3 5 0,-1-4 0,-3 8-90,-1-1 90,-2 2-180,0 1-450,-2 2-629,-4-2-90,-1 3-1889,-3 1 3238,2 6 0,7 0 0,3 2 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15.543"/>
    </inkml:context>
    <inkml:brush xml:id="br0">
      <inkml:brushProperty name="width" value="0.08571" units="cm"/>
      <inkml:brushProperty name="height" value="0.08571" units="cm"/>
      <inkml:brushProperty name="color" value="#E71224"/>
    </inkml:brush>
  </inkml:definitions>
  <inkml:trace contextRef="#ctx0" brushRef="#br0">389 0 13469,'-4'23'810,"-2"-2"-1350,-8-7 720,-3 3 144,-1 1-234,-1 1 119,0 1-119,-1 0-90,-1 2 90,-1 1-180,-1 0 0,0 0-270,1-1-89,0-2-91,3-2-180,-1-1 277,1-2-726,1-2-450,0-2-270,3-3 1889,0-2 0,7-3 0,2-2 0</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15.737"/>
    </inkml:context>
    <inkml:brush xml:id="br0">
      <inkml:brushProperty name="width" value="0.08571" units="cm"/>
      <inkml:brushProperty name="height" value="0.08571" units="cm"/>
      <inkml:brushProperty name="color" value="#E71224"/>
    </inkml:brush>
  </inkml:definitions>
  <inkml:trace contextRef="#ctx0" brushRef="#br0">1 0 11580,'26'1'2969,"-4"2"-2520,-4 9 1,-2 2-90,0 2 0,2 3-180,1 4 90,1 2-181,0 3 91,1 1-90,-2 0 0,0 2 0,-1-1 0,-1 1-180,-1-3-180,-2 0-179,-2-3-1,-1-1-270,-1-2-89,0-2-181,-3-2 1,1-3-1170,-2-1 2159,0-2 0,-3-5 0,0-3 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15.941"/>
    </inkml:context>
    <inkml:brush xml:id="br0">
      <inkml:brushProperty name="width" value="0.08571" units="cm"/>
      <inkml:brushProperty name="height" value="0.08571" units="cm"/>
      <inkml:brushProperty name="color" value="#E71224"/>
    </inkml:brush>
  </inkml:definitions>
  <inkml:trace contextRef="#ctx0" brushRef="#br0">0 0 11400,'16'6'2789,"-4"7"-2429,-10 5-180,-1 4 89,-1-4-89,1 3-90,-1 1 0,0 2 90,0 1-180,1 1 90,0-1-90,0 1-180,0-1-180,0-1-179,0-1-1,0-2-6116,2 17 6656,2-16 0,-2 6 0,1-21 0</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16.230"/>
    </inkml:context>
    <inkml:brush xml:id="br0">
      <inkml:brushProperty name="width" value="0.08571" units="cm"/>
      <inkml:brushProperty name="height" value="0.08571" units="cm"/>
      <inkml:brushProperty name="color" value="#E71224"/>
    </inkml:brush>
  </inkml:definitions>
  <inkml:trace contextRef="#ctx0" brushRef="#br0">68 38 11131,'-21'12'1439,"3"1"-1079,10-3-1,2 2 91,0 1-90,2 1 270,1-1-361,1 9-89,3-5 0,3 5 0,2-6 0,3 0-90,2-1 0,1-2 0,2-1 0,1-3-90,0-2 0,0-2 0,7-5 0,-6-2-90,5-4 90,-7-3 0,-2-3-90,-1-2 90,-2-2 0,-2-1-90,-2 0 0,-3 0 0,-2-1-180,-2 1 0,-3 0-89,-2 0-181,0 1 0,-2 1-269,0 2 89,-1 1-359,2 1-2609,0 2 3688,-2-3 0,5 7 0,0-2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07:42:48.608"/>
    </inkml:context>
    <inkml:brush xml:id="br0">
      <inkml:brushProperty name="width" value="0.08571" units="cm"/>
      <inkml:brushProperty name="height" value="0.08571" units="cm"/>
      <inkml:brushProperty name="color" value="#E71224"/>
    </inkml:brush>
  </inkml:definitions>
  <inkml:trace contextRef="#ctx0" brushRef="#br0">162 1 14279,'-25'19'1259,"1"-1"-989,9-4 0,-1 2-90,0 0 90,2 1-91,1 1 1,2 0 0,2 0-90,1 1 0,2 0 0,3 1 0,2-1 0,2 0 0,3 1-90,3 0 90,2 2-90,3-2 90,2 2-90,2-3-180,2 0-180,1-3-90,1-1-89,-1-2-91,1-3-90,-1-2-179,1-2-180,-2-3-181,1-2-629,-2-3 1889,9-9 0,-5-2 0,6-7 0</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16.514"/>
    </inkml:context>
    <inkml:brush xml:id="br0">
      <inkml:brushProperty name="width" value="0.08571" units="cm"/>
      <inkml:brushProperty name="height" value="0.08571" units="cm"/>
      <inkml:brushProperty name="color" value="#E71224"/>
    </inkml:brush>
  </inkml:definitions>
  <inkml:trace contextRef="#ctx0" brushRef="#br0">1 1 9871,'2'30'3598,"0"1"-3148,-3-4 0,1-4-90,3-1 89,0-7-179,3 0 90,2 0-180,2 1 90,1-2-180,2-1 90,2-2-1,0-1-89,1-3 90,-1-2-90,7-4 0,-5-1 0,5-5-90,-7-2 90,-1-2-90,-1-4 90,-2 0-90,-1-3 0,-3-1 0,-1 0 0,-3 0 0,-2 1 0,-1 0-90,-3 0-90,-1 2-90,-2 0-89,-1 2-91,-2 1-90,0 2-90,0 0-989,-1 2-90,-3 0 1709,0 2 0,4 1 0,3 3 0</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16.756"/>
    </inkml:context>
    <inkml:brush xml:id="br0">
      <inkml:brushProperty name="width" value="0.08571" units="cm"/>
      <inkml:brushProperty name="height" value="0.08571" units="cm"/>
      <inkml:brushProperty name="color" value="#E71224"/>
    </inkml:brush>
  </inkml:definitions>
  <inkml:trace contextRef="#ctx0" brushRef="#br0">1 90 11580,'19'13'2879,"-4"2"-2519,-9 3-1,-1-3 1,1 3-90,2-5 90,1 1-90,2 1-1,1-2-89,2 1 90,0-2-90,1-2 0,0 0 0,0-4 0,0-1-90,5-4 0,-4-3-90,3-4 90,-6-3-90,-1-4 0,-2-2 90,-2-3-90,-2-1 0,-2-2 0,-1 0 0,-2 1 0,-1-1 0,-3 2 0,-2-1-180,-2 3 0,-3 1-270,-1 3-90,-3 2-89,-1 2-91,-1 3-269,0 2 89,-1 2-269,-2 4-990,0 2-809,0 2 2968,-2 2 0,-1 3 0,-2 2 0</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17.380"/>
    </inkml:context>
    <inkml:brush xml:id="br0">
      <inkml:brushProperty name="width" value="0.08571" units="cm"/>
      <inkml:brushProperty name="height" value="0.08571" units="cm"/>
      <inkml:brushProperty name="color" value="#E71224"/>
    </inkml:brush>
  </inkml:definitions>
  <inkml:trace contextRef="#ctx0" brushRef="#br0">87 0 9691,'-21'19'2159,"3"-1"-1439,7-3-180,1 2-1,1 2-89,2 1 90,2 1-91,1 1-89,3 1 0,2 0-90,4 0 90,3 0-91,2 0 1,4-1 90,1-1-90,2-2 0,0-1 0,0-4-1,0-2 91,6-1-270,0-7 0,1-3 0,-4-7-90,-7-3 90,-1-2-90,-1-5 0,-3 0 90,-1-3-90,-2 0 0,-1 0 0,-3 0-90,0 0 0,-2 1-180,-2 1 0,-1 1-89,-2 0-181,0 2-90,-1 0-179,-1 3-1080,0 1-540,-5-1 2429,0 4 0,4 2 0,2 3 0</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18.577"/>
    </inkml:context>
    <inkml:brush xml:id="br0">
      <inkml:brushProperty name="width" value="0.08571" units="cm"/>
      <inkml:brushProperty name="height" value="0.08571" units="cm"/>
      <inkml:brushProperty name="color" value="#E71224"/>
    </inkml:brush>
  </inkml:definitions>
  <inkml:trace contextRef="#ctx0" brushRef="#br0">0 1 16977,'24'1'450,"1"1"-6020,-2 1 5660,3 0 1139,13 2-1589,-9-1 770,8 1-1040,-14-2-270,-2 0-179,-2-1 963,-2 0 116,3-1 0,-10 0 0,0-1 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19.013"/>
    </inkml:context>
    <inkml:brush xml:id="br0">
      <inkml:brushProperty name="width" value="0.08571" units="cm"/>
      <inkml:brushProperty name="height" value="0.08571" units="cm"/>
      <inkml:brushProperty name="color" value="#E71224"/>
    </inkml:brush>
  </inkml:definitions>
  <inkml:trace contextRef="#ctx0" brushRef="#br0">1 0 14459,'3'27'1169,"0"-2"-989,-4-5 90,1 2-180,-1 2 90,2 3-90,0 0 0,1 3 0,1 0-1,0 2-89,2-2 90,0 1-90,1-2-90,-1-2-179,2-2-91,-1-2-180,0-2-90,2-1 1,0-3-271,-1-1 1,2-3-2069,-1-3 2968,5-2 0,7-10 0,6-2 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19.294"/>
    </inkml:context>
    <inkml:brush xml:id="br0">
      <inkml:brushProperty name="width" value="0.08571" units="cm"/>
      <inkml:brushProperty name="height" value="0.08571" units="cm"/>
      <inkml:brushProperty name="color" value="#E71224"/>
    </inkml:brush>
  </inkml:definitions>
  <inkml:trace contextRef="#ctx0" brushRef="#br0">48 29 12210,'-20'5'1259,"3"3"-989,13 5 90,0 1-90,2 2 90,1 0-91,3 2-89,1 0 0,2 2 0,3-1-90,0 0 0,3-1 90,0-2 0,1-1 0,1-2 0,1-2 0,0-2-1,-1-3-179,6-3 90,-4-4-90,3-3 90,-7-4-90,-1-2 0,-2-3 0,0-3 0,-3 0 0,-2-1 0,-3 0 0,-3-1 0,-2 0 0,-2 0-90,-2 1-90,-1 1-89,-2 1-1,-1 1-180,0 1 0,0 2-269,1 1-720,1 1-810,-2 0 2249,1 2 0,4 2 0,2 2 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19.586"/>
    </inkml:context>
    <inkml:brush xml:id="br0">
      <inkml:brushProperty name="width" value="0.08571" units="cm"/>
      <inkml:brushProperty name="height" value="0.08571" units="cm"/>
      <inkml:brushProperty name="color" value="#E71224"/>
    </inkml:brush>
  </inkml:definitions>
  <inkml:trace contextRef="#ctx0" brushRef="#br0">0 86 12750,'13'29'2158,"1"0"-1888,-8-13 0,4 2-90,0-5 0,2 0 0,1 0 0,3-1-90,0-1 0,1-1 90,0-1-90,1-2-1,-1-2 91,0-2-180,5-2 90,-6-3-90,4-3 90,-8-4-90,-1-2 0,-1-3 0,-2-2 0,-3-1 0,-2-1 0,-2 0 0,-3-1 0,-2 0 0,-3 0 0,-3 1 0,-1 1 0,-3 2-180,0 2 0,-2 1-179,0 2-1,0 1-180,0 3 0,0 2-269,0 1-630,0 2 539,-3 4-1708,4 0 2608,-4 6 0,12-6 0,1 3 0</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19.902"/>
    </inkml:context>
    <inkml:brush xml:id="br0">
      <inkml:brushProperty name="width" value="0.08571" units="cm"/>
      <inkml:brushProperty name="height" value="0.08571" units="cm"/>
      <inkml:brushProperty name="color" value="#E71224"/>
    </inkml:brush>
  </inkml:definitions>
  <inkml:trace contextRef="#ctx0" brushRef="#br0">0 53 11131,'17'12'2698,"-2"1"-2338,-8 8 0,-1-3-90,2 0-1,0-3 1,1 1 0,2-1 0,0 0-90,2 0 90,1-2 0,-1-1-91,2-1 1,-2-3 0,1-1 0,3-2-90,1-6-90,-1-1 90,-2-6-90,-6-2 0,-2-1 0,-2-3 0,-1 0 0,-2-2 90,-1 0-90,-2-1 0,-1 1 0,-3-1-90,-1 0-90,-1 2-180,-2-1 1,0 3-181,-2 0 90,0 2-180,0 2 1,0 1-990,-1 2-90,-2-2 1709,0 4 0,4 1 0,3 2 0</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20.373"/>
    </inkml:context>
    <inkml:brush xml:id="br0">
      <inkml:brushProperty name="width" value="0.08571" units="cm"/>
      <inkml:brushProperty name="height" value="0.08571" units="cm"/>
      <inkml:brushProperty name="color" value="#E71224"/>
    </inkml:brush>
  </inkml:definitions>
  <inkml:trace contextRef="#ctx0" brushRef="#br0">20 1 12480,'12'21'1979,"-3"-1"-1709,-11-1-91,0 0 1,-1 1-90,0-2 0,0-1-1439,-1 0 1169,0-13-90,1-6-1259,1-13-1439,0-2 2968,-3 1 0,2 7 0,-1 4 0</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20.763"/>
    </inkml:context>
    <inkml:brush xml:id="br0">
      <inkml:brushProperty name="width" value="0.08571" units="cm"/>
      <inkml:brushProperty name="height" value="0.08571" units="cm"/>
      <inkml:brushProperty name="color" value="#E71224"/>
    </inkml:brush>
  </inkml:definitions>
  <inkml:trace contextRef="#ctx0" brushRef="#br0">102 138 10681,'-6'-16'2788,"-3"7"-2428,-4 14-180,0 5 0,4 0 180,0 2-90,0 2-91,1 1 91,0 1 0,1 1-90,3 0 90,0 1-90,2-1 90,2 0-1,1 0-89,2-1 0,2 0 90,2 0-90,1-3-90,1-1 90,1-3-90,1-2 0,1-2 0,6-3-90,-4-3 90,5-4-90,-6-4 0,1-3 0,-1-4 0,0-3 90,-1-4-90,-1-2-90,-2-1 180,-1 1-180,-2 0 90,-2 1-180,-2 2 180,-35-53 0,25 50 0,-25-37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07:42:48.737"/>
    </inkml:context>
    <inkml:brush xml:id="br0">
      <inkml:brushProperty name="width" value="0.08571" units="cm"/>
      <inkml:brushProperty name="height" value="0.08571" units="cm"/>
      <inkml:brushProperty name="color" value="#E71224"/>
    </inkml:brush>
  </inkml:definitions>
  <inkml:trace contextRef="#ctx0" brushRef="#br0">1 149 10771,'12'-25'3058,"0"0"-2788,-3 13 0,1-1-90,-1 5 0,2 0-90,2 0-90,3 1-90,1 0-270,2 1-90,1 1-270,1 0-179,1 1-1260,0 0-629,2 1 2788,-2 0 0,4 0 0,0 0 0</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20.960"/>
    </inkml:context>
    <inkml:brush xml:id="br0">
      <inkml:brushProperty name="width" value="0.08571" units="cm"/>
      <inkml:brushProperty name="height" value="0.08571" units="cm"/>
      <inkml:brushProperty name="color" value="#E71224"/>
    </inkml:brush>
  </inkml:definitions>
  <inkml:trace contextRef="#ctx0" brushRef="#br0">133 0 10141,'18'8'3238,"-4"3"-3058,-12 6 90,-3-1-180,-3 4 90,-2-4 0,0 2-180,-1 0 90,-1 1 0,-2 2-90,1-2-180,-3 2 0,2-2-270,-1-1-179,0 0-91,-1-2-269,-1-2-810,0-1-360,2-3 2159,-1-1 0,6-5 0,1-1 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21.179"/>
    </inkml:context>
    <inkml:brush xml:id="br0">
      <inkml:brushProperty name="width" value="0.08571" units="cm"/>
      <inkml:brushProperty name="height" value="0.08571" units="cm"/>
      <inkml:brushProperty name="color" value="#E71224"/>
    </inkml:brush>
  </inkml:definitions>
  <inkml:trace contextRef="#ctx0" brushRef="#br0">1 1 12840,'21'5'1889,"-3"1"-1440,-8 2 1,1 3-90,1 0 0,1 3-90,2 2-91,0 2 1,1 0 0,7 10-90,-5-6 0,4 6-180,-8-10-180,-2-2-89,0 0-91,-2-2 0,0-1-180,-1-1-359,-2-2-450,4 3-270,-2-3 1709,4 1 0,-6-6 0,-2-3 0</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21.369"/>
    </inkml:context>
    <inkml:brush xml:id="br0">
      <inkml:brushProperty name="width" value="0.08571" units="cm"/>
      <inkml:brushProperty name="height" value="0.08571" units="cm"/>
      <inkml:brushProperty name="color" value="#E71224"/>
    </inkml:brush>
  </inkml:definitions>
  <inkml:trace contextRef="#ctx0" brushRef="#br0">0 1 9961,'8'8'5217,"-2"-7"-5037,-7 34 0,1-15 0,-1 1-90,1 3 0,1 1 0,-1 0 0,1 0 0,0 1-90,0-1-90,0 1-180,0-3-180,-1-1-179,0-1-181,0-3-2518,-1-1 3328,-1 4 0,1-10 0,-1 1 0</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23.721"/>
    </inkml:context>
    <inkml:brush xml:id="br0">
      <inkml:brushProperty name="width" value="0.08571" units="cm"/>
      <inkml:brushProperty name="height" value="0.08571" units="cm"/>
      <inkml:brushProperty name="color" value="#E71224"/>
    </inkml:brush>
  </inkml:definitions>
  <inkml:trace contextRef="#ctx0" brushRef="#br0">103 1 8702,'-13'35'2159,"0"-1"-1530,3-7-89,0 0-90,0 2-90,1-1-1,0 1-89,1 0 90,2 0-90,0-1-90,2 0 0,2-2 0,0 0-90,2 0 89,1-1 1,2-1-90,1-1 0,3-1 0,2 0 0,3-3 0,3 0-90,2-2 0,3-2 0,3-2-90,2-2 0,2-3 0,3-1 0,1-1 0,4-3-90,4 0 1,29-2 179,-9 0-1431,23-1 1341,-14-1 0,2 0 90,6 1-90,9 0 90,6 1-45,-41 0 0,1-1-615,0 2 0,0-1 660,1 1 0,0 0 0,0 0 0,2 1 0,24 1 0,2 1-45,-18-1 0,0 1-926,20 1 0,0 1 971,-23-3 0,-3 1 0,2 1 0,0 0-496,0-1 1,0 1 495,0 0 0,0 1 0,0-1 0,1 1 0,0 0 0,0 0 0,0 0 0,0 0 0,0 0 0,0 1 0,-1-1 0,1 0 0,-2 0 0,0 0 0,-1 0 0,0 0 0,-1 0 0,-1 0 209,-1-1 1,1 1-255,20 1 0,2 0-40,-20-1 0,1-2 40,16 3 0,-1-1 45,27 1 622,-3-1-622,-1-2 0,-3 0 0,-8-2 0,-28-2 0,0 0 0,24-2 45,-29 0 0,-1 0 677,16-4-722,-3 0 90,-2-1-90,-4-1 90,-2-2-90,-5 1 90,-3-2-90,-5 2 431,-2-2-431,15-4 0,-14 3 1249,11-5-1249,-17 5 90,-2 1 1384,-1 0-1474,-2 1 0,-1-1 0,-1 2 0,0-1 654,0 2-654,-1-1 0,0 2 0,0-1 90,-1 2-180,-1 0 463,-1 2-373,0-1 0,-1 2 0,1-1 0,12 1 0,-9 1 0,9-1 0,-12 2 0,1 0 0,0-1 0,0 0 90,-1 0-90,1-1 90,-2 0-1,0-1-89,-1 0 90,-1-1 90,1-1-90,7-3 0,-7 0 0,5-3 0,-9 3 0,-2-2 0,0-1 90,-1 0-90,0-2 0,-1 0-90,-1-1 90,0 0-90,0-2 90,-1 1-90,0-2 90,0 1 0,-1-2 90,5-7-180,-4 5 89,2-6 1,-4 8-90,-1 0 90,0 0 0,-1-1 0,0 1-90,-1 0 90,0 0 90,2-8-180,-3 7 90,2-6-90,-3 11 90,0-1-90,-1 1 0,1 1 0,0-4 0,0 1 0,0-2-180,0 3-1709,-1 2 360,-6 2-450,-2 7-2608,-9 6 4587,-1 7 0,5-4 0,1 1 0</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24.730"/>
    </inkml:context>
    <inkml:brush xml:id="br0">
      <inkml:brushProperty name="width" value="0.08571" units="cm"/>
      <inkml:brushProperty name="height" value="0.08571" units="cm"/>
      <inkml:brushProperty name="color" value="#E71224"/>
    </inkml:brush>
  </inkml:definitions>
  <inkml:trace contextRef="#ctx0" brushRef="#br0">25 60 10771,'7'-25'2249,"3"4"-1980,6 11-179,5 6 0,-3 5 0,-1 3 0,-4 4-90,-1 1 90,-1 3-90,-1 1 90,-1 1-90,-3 0 90,-2 1-90,-1 0 90,-2 0-90,-1 0 0,-2 1 90,-1-1-90,0 0 0,-2 0 90,1-1-90,0 0 180,0 0-90,0 5 90,1 0-180,3 5 90,3-5-90,4-2 0,1-4 90,1-1-90,1 1 0,1 0 0,-1 1 0,0-3 0,-1 1 0,-1-1 0,2 3 449,-1 0-89,-4 5-270,-9-4 180,-4-4-90,-7-4 0,0-4 0,-1-1-90,-2 0-1,0-1 1,0-1 0,0 1 0,0-2-270,1 1 90,0-2-179,1 1-91,1-1-810,1-1-539,-2-2-1439,5-3 450,5-5 2698,7 1 0,11-5 0,1 2 0</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24.989"/>
    </inkml:context>
    <inkml:brush xml:id="br0">
      <inkml:brushProperty name="width" value="0.08571" units="cm"/>
      <inkml:brushProperty name="height" value="0.08571" units="cm"/>
      <inkml:brushProperty name="color" value="#E71224"/>
    </inkml:brush>
  </inkml:definitions>
  <inkml:trace contextRef="#ctx0" brushRef="#br0">0 82 8972,'18'1'4317,"-5"8"-3777,-11 7-270,-2 8-90,0-5 90,3 1-90,0-3-1,2-1 1,3 2-90,0-1 0,3-1 0,1 0 0,1-2 0,1-1-90,0-2 270,-1-2 0,1-2-90,3-4-90,-3-3-90,2-4 90,-5-4-90,-2-2 90,-1-4-90,-1-4 0,-2-1 0,-2-1 90,-1-2-90,-2 0 0,-2 0-90,-2 1 0,-2 1-180,-1 0-270,-1 2 90,0 2-179,-1 1-1,1 1-899,-1 3-360,-3-2 1889,2 4 0,2 2 0,3 3 0</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25.287"/>
    </inkml:context>
    <inkml:brush xml:id="br0">
      <inkml:brushProperty name="width" value="0.08571" units="cm"/>
      <inkml:brushProperty name="height" value="0.08571" units="cm"/>
      <inkml:brushProperty name="color" value="#E71224"/>
    </inkml:brush>
  </inkml:definitions>
  <inkml:trace contextRef="#ctx0" brushRef="#br0">0 44 12300,'9'32'1709,"-1"2"-1349,-8-15-180,2 3 90,3-5-1,1 0 1,2 2-180,2-1 90,1-1 0,1-1 0,1-1 0,1-2 0,0-1 0,0-3 89,0-2-89,5-2-180,0-6 90,-1-2-90,-2-7 0,-7-3 90,0-2-90,-3-2 0,-1-12 0,-4 6 0,-2-7 0,-4 7 0,-2 2 0,-2 0-90,-1 2-90,-1 2-179,-2 1-181,0 2-90,-1 2-89,0 1-1080,1 3-1799,-3 0 3598,1 6 0,4-1 0,4 4 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25.485"/>
    </inkml:context>
    <inkml:brush xml:id="br0">
      <inkml:brushProperty name="width" value="0.08571" units="cm"/>
      <inkml:brushProperty name="height" value="0.08571" units="cm"/>
      <inkml:brushProperty name="color" value="#E71224"/>
    </inkml:brush>
  </inkml:definitions>
  <inkml:trace contextRef="#ctx0" brushRef="#br0">210 0 11041,'22'14'3598,"-7"1"-3329,-17 4 1,-3-3-90,-4 4 0,1-5-90,-2 1 90,0 2-90,-1 1 0,-1 0-90,-1 2-90,0-1-180,1-2-90,-1-1-179,0-1-271,0-2-269,0-1-91,-1-3-719,0-1 1889,0-4 0,-9-3 0,-1-3 0</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25.797"/>
    </inkml:context>
    <inkml:brush xml:id="br0">
      <inkml:brushProperty name="width" value="0.08571" units="cm"/>
      <inkml:brushProperty name="height" value="0.08571" units="cm"/>
      <inkml:brushProperty name="color" value="#E71224"/>
    </inkml:brush>
  </inkml:definitions>
  <inkml:trace contextRef="#ctx0" brushRef="#br0">1 3 12120,'21'-2'2429,"-4"1"-1980,-4 13-179,-4 0 0,2 3-90,0 3 0,0 2-90,2 2 90,-1 2-810,16 31 270,-13-26-89,11 23-1,-16-35 0,0-1 0,0-1 1,-1-3-1,1-2-360,1-2 451,6-2 179,-3-5 180,6-2 180,-4-3 269,0-1-89,1-2 90,1 0 90,-1-1-1,0 1-89,-2 0-90,-1 0 179,-2 2-179,4-2-180,-1 4-90,2 2 0,-2 8 0,-5 3-90,-2 5 0,-5-2 90,0 3-90,-1 1-270,-1 1-180,-1 1-179,-2 1-361,0 0-179,-3 2-900,-1-2-899,-1-1 2968,-2-1 0,-3 0 0,-1 0 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26.003"/>
    </inkml:context>
    <inkml:brush xml:id="br0">
      <inkml:brushProperty name="width" value="0.08571" units="cm"/>
      <inkml:brushProperty name="height" value="0.08571" units="cm"/>
      <inkml:brushProperty name="color" value="#E71224"/>
    </inkml:brush>
  </inkml:definitions>
  <inkml:trace contextRef="#ctx0" brushRef="#br0">77 3 8162,'-51'-2'7286,"26"2"-6746,35 2-450,52 8-90,-9-2-2588,28 5 2048,-16-2-539,0 0-559,1 1-611,-2-1-809,-2-1 3058,-7-2 0,-1-2 0,-6-2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07:42:48.910"/>
    </inkml:context>
    <inkml:brush xml:id="br0">
      <inkml:brushProperty name="width" value="0.08571" units="cm"/>
      <inkml:brushProperty name="height" value="0.08571" units="cm"/>
      <inkml:brushProperty name="color" value="#E71224"/>
    </inkml:brush>
  </inkml:definitions>
  <inkml:trace contextRef="#ctx0" brushRef="#br0">0 8 11131,'10'12'989,"-7"-4"-1709,31-9-269,-14-1-540,0-1 0,3-1 1529,-1 0 0,4-2 0,1-1 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26.169"/>
    </inkml:context>
    <inkml:brush xml:id="br0">
      <inkml:brushProperty name="width" value="0.08571" units="cm"/>
      <inkml:brushProperty name="height" value="0.08571" units="cm"/>
      <inkml:brushProperty name="color" value="#E71224"/>
    </inkml:brush>
  </inkml:definitions>
  <inkml:trace contextRef="#ctx0" brushRef="#br0">52 23 9602,'-22'2'6116,"-3"-1"-5756,21-2 269,3 0-449,39-2-90,-5 2-180,19 0-590,-9 1 50,3 0-269,0 0-360,-1 0-1260,-1-1-1349,0-2 3868,-4 0 0,1-2 0,-2-1 0</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31.492"/>
    </inkml:context>
    <inkml:brush xml:id="br0">
      <inkml:brushProperty name="width" value="0.08571" units="cm"/>
      <inkml:brushProperty name="height" value="0.08571" units="cm"/>
      <inkml:brushProperty name="color" value="#E71224"/>
    </inkml:brush>
  </inkml:definitions>
  <inkml:trace contextRef="#ctx0" brushRef="#br0">266 11 13739,'-23'-7'540,"1"4"-540,5 4 0,-1 1 0,1 0 0,0 0 0,-1 0-90,1 1 90,1 0 0,2 0-90,1 3 180,2 3-90,2 1 0,1 4 90,4-1-90,-1 2 90,1 3 0,1 4 0,-1 1 90,0 4-90,2 3-1,-2 3 1,2 2 0,0 1 90,-1 2 0,1 2-90,-1 0 0,2 1-90,-1-3 90,1 1-90,1-2 90,0 0 0,2 13-90,-1-13 90,2 8 0,-1-16 0,2-4 90,-2-1 90,2-2-1,-1-3 361,2 5-360,0-9 90,2 4-91,3-7-179,4-3-90,7-3-90,-4-4-269,2-4-91,-5-2-180,2 0-179,0-2-91,1 0-269,1-1-90,1-1-990,2 0-989,2-1 3238,1-1 0,5-2 0,2 0 0</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32.382"/>
    </inkml:context>
    <inkml:brush xml:id="br0">
      <inkml:brushProperty name="width" value="0.08571" units="cm"/>
      <inkml:brushProperty name="height" value="0.08571" units="cm"/>
      <inkml:brushProperty name="color" value="#E71224"/>
    </inkml:brush>
  </inkml:definitions>
  <inkml:trace contextRef="#ctx0" brushRef="#br0">0 1 11490,'22'17'630,"-1"-2"-6200,-3-12 5750,0 0 1318,3 0-1408,0-1 860,0 0-770,-1-1 0,-1 1 89,-2-2 3663,0 1-3302,5 0-270,-2 0-91,3 0 1,-5 0-90,-2 6 180,-5 1-180,-2 6 90,-3 2-90,-1 7-1,0 3 1,-1 6 90,0 5-90,0 3 0,0 5-485,0 2 485,0 2 0,1 24-180,0-17-663,0 18 663,-2-23 90,-1 0-326,0-2 236,-1-3 0,-1-3 90,-1-4-90,-1-2 90,-5 11-90,1-14-180,-6 7 0,0-19 85,-1-4-624,-4-4 583,-1-3-1034,-4-3-359,-4-3-809,-4-2-4297,-7-4 6635,-4-2 0,-9-2 0,-3-2 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33.466"/>
    </inkml:context>
    <inkml:brush xml:id="br0">
      <inkml:brushProperty name="width" value="0.08571" units="cm"/>
      <inkml:brushProperty name="height" value="0.08571" units="cm"/>
      <inkml:brushProperty name="color" value="#E71224"/>
    </inkml:brush>
  </inkml:definitions>
  <inkml:trace contextRef="#ctx0" brushRef="#br0">1 54 11490,'7'-23'2429,"4"3"-1979,6 13-360,4 3 90,-2 5-90,-1 3 0,-5 1-1,-1 3 1,0 0 0,-3 3 0,0 0 0,-2 1 0,-3 2-90,-1 6 0,-3-5 0,-2 6 90,-2-7-90,-1 0 0,0 0 0,-1-1 0,0-1 0,1 0 90,-1 4-90,2-1 0,3 5 0,3-5 0,7-1 0,1-3 0,3 1 0,2 0 0,0 1-90,1 0 90,-1 1 0,-1-1 0,0 0 90,-2 0 90,-2-1 0,-1-1 90,-1 3 0,-6-1-90,-7 2-91,-9-3-89,-3-5 90,-2-2-90,2-3 90,1-1-90,-2 0 0,1-1 0,0-1-180,1 0-89,1-1-271,0 0 0,2-1-89,0-1-1260,2-2-1170,0-3 631,6-5 2428,2 0 0,4 4 0,2 4 0</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33.720"/>
    </inkml:context>
    <inkml:brush xml:id="br0">
      <inkml:brushProperty name="width" value="0.08571" units="cm"/>
      <inkml:brushProperty name="height" value="0.08571" units="cm"/>
      <inkml:brushProperty name="color" value="#E71224"/>
    </inkml:brush>
  </inkml:definitions>
  <inkml:trace contextRef="#ctx0" brushRef="#br0">0 51 10411,'7'23'2429,"-1"2"-2070,-4-7-179,2 1 90,0-3-90,2 0 0,1 1 0,1-1 0,1 0 0,1-1 0,2-1 89,-1-1 1,0-2 180,1-2-90,3-3 0,1-5-180,3-6-1,-6-5-89,-3-5 0,-5 0-90,-1 0 90,-2-2-90,-1-1-3302,-2 0 3302,-2-1-180,-2 0 0,-1 0-179,-1 2-91,-1 1-90,-1 1-89,0 2 3301,0 1-4381,1 2-90,-4-1 1799,1 1 0,3 3 0,2 3 0</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33.984"/>
    </inkml:context>
    <inkml:brush xml:id="br0">
      <inkml:brushProperty name="width" value="0.08571" units="cm"/>
      <inkml:brushProperty name="height" value="0.08571" units="cm"/>
      <inkml:brushProperty name="color" value="#E71224"/>
    </inkml:brush>
  </inkml:definitions>
  <inkml:trace contextRef="#ctx0" brushRef="#br0">0 43 10501,'15'26'2609,"0"0"-2160,-8-9 1,2 1-270,-2-5 180,2 0-180,1 1-1,1-1 1,0-1 0,2-1 0,-1-2 0,1-1 180,-1-1-90,6-3-180,0-5 0,-1-2 0,-2-4 0,-6-2-90,-1-2 89,-2-2-89,0-1 90,-3-1-90,-2 0 0,-1 0 0,-2-1 0,-2 1-90,-2 0 1,-1 1-91,-1 1-180,0 1-90,-1 2 0,-1 0-719,1 3-360,-5-2-1799,1 4 3328,-3 2 0,7 2 0,3 2 0</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34.261"/>
    </inkml:context>
    <inkml:brush xml:id="br0">
      <inkml:brushProperty name="width" value="0.08571" units="cm"/>
      <inkml:brushProperty name="height" value="0.08571" units="cm"/>
      <inkml:brushProperty name="color" value="#E71224"/>
    </inkml:brush>
  </inkml:definitions>
  <inkml:trace contextRef="#ctx0" brushRef="#br0">87 1 12030,'-20'20'1259,"2"-1"-899,10-6-180,0 1 90,0 2 0,2 1 90,0 2-91,2 1 1,0 0-90,2-1 0,0 0-90,1-1 270,1-2 359,1 5-269,1-2-90,3 0-180,4-9-90,1-8 0,3-10-270,-2-6-450,0-6-539,-2-1-540,-2 0-360,-2 2-2788,-5 3 4009,-3 3 0,1 6 0,-1 3 0</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34.549"/>
    </inkml:context>
    <inkml:brush xml:id="br0">
      <inkml:brushProperty name="width" value="0.08571" units="cm"/>
      <inkml:brushProperty name="height" value="0.08571" units="cm"/>
      <inkml:brushProperty name="color" value="#E71224"/>
    </inkml:brush>
  </inkml:definitions>
  <inkml:trace contextRef="#ctx0" brushRef="#br0">336 1 12300,'-26'16'1709,"1"3"-1259,8-1-180,-1 3-1,-1 3-89,1 2 0,-1 4 0,0 0-90,0 1 0,2 0 0,0-1 0,1-1-270,2-2-90,0-2-270,2-2 1,0-3-91,2-2-179,0-3-2250,1-2 3059,-3-1 0,7-7 0,-2 0 0</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34.725"/>
    </inkml:context>
    <inkml:brush xml:id="br0">
      <inkml:brushProperty name="width" value="0.08571" units="cm"/>
      <inkml:brushProperty name="height" value="0.08571" units="cm"/>
      <inkml:brushProperty name="color" value="#E71224"/>
    </inkml:brush>
  </inkml:definitions>
  <inkml:trace contextRef="#ctx0" brushRef="#br0">0 1 13379,'17'18'1889,"-2"1"-1529,-11-3 90,1 4-180,1 4 0,0 2-91,1 3 1,2 4-90,1 1-90,0 2-360,1-2-269,-1-2-91,-1-2-269,0-3-181,-1-3-1168,-1-2-1170,0-3 3508,-1-4 0,-2-6 0,-1-4 0</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34.899"/>
    </inkml:context>
    <inkml:brush xml:id="br0">
      <inkml:brushProperty name="width" value="0.08571" units="cm"/>
      <inkml:brushProperty name="height" value="0.08571" units="cm"/>
      <inkml:brushProperty name="color" value="#E71224"/>
    </inkml:brush>
  </inkml:definitions>
  <inkml:trace contextRef="#ctx0" brushRef="#br0">1 4 11580,'20'-4'3508,"0"8"-3058,-10 8 0,0 6-180,-3 1 0,0 3-91,-1 4 1,1 3-90,-1 1-180,0 2-269,-1 1-361,0 0-269,-2-1-271,-1-3-1168,-1-1-1350,-2-3 3778,0-2 0,0-11 0,0-2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07:42:49.080"/>
    </inkml:context>
    <inkml:brush xml:id="br0">
      <inkml:brushProperty name="width" value="0.08571" units="cm"/>
      <inkml:brushProperty name="height" value="0.08571" units="cm"/>
      <inkml:brushProperty name="color" value="#E71224"/>
    </inkml:brush>
  </inkml:definitions>
  <inkml:trace contextRef="#ctx0" brushRef="#br0">30 0 15718,'-12'27'630,"2"5"-540,7-11 0,0 7 0,2-6-90,0 2 89,1 1-178,0 2-271,1 0 0,-1 0-270,1 2-179,-1-1-91,1 0-179,0 0-1080,1-1-809,0-2 2968,1 0 0,1 1 0,0 0 0</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35.951"/>
    </inkml:context>
    <inkml:brush xml:id="br0">
      <inkml:brushProperty name="width" value="0.08571" units="cm"/>
      <inkml:brushProperty name="height" value="0.08571" units="cm"/>
      <inkml:brushProperty name="color" value="#E71224"/>
    </inkml:brush>
  </inkml:definitions>
  <inkml:trace contextRef="#ctx0" brushRef="#br0">1 0 9961,'27'2'540,"2"-1"-630,-4-1-270,7 0-179,8 2-631,4-1-531,10 1 1701,4 0 0,5 1 0,2 0 0</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36.111"/>
    </inkml:context>
    <inkml:brush xml:id="br0">
      <inkml:brushProperty name="width" value="0.08571" units="cm"/>
      <inkml:brushProperty name="height" value="0.08571" units="cm"/>
      <inkml:brushProperty name="color" value="#E71224"/>
    </inkml:brush>
  </inkml:definitions>
  <inkml:trace contextRef="#ctx0" brushRef="#br0">1 33 7083,'26'-5'899,"2"0"-809,2 0-180,7 0 90,4 1-90,5 0-1200,7 1 1110,4 2 0,5 0-2640,2 1 2640,1 2 0,2 0 303,1 1-482,1 2 179,0-1 180,0 1 0,2 1 0,-1-1 0</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36.215"/>
    </inkml:context>
    <inkml:brush xml:id="br0">
      <inkml:brushProperty name="width" value="0.08571" units="cm"/>
      <inkml:brushProperty name="height" value="0.08571" units="cm"/>
      <inkml:brushProperty name="color" value="#E71224"/>
    </inkml:brush>
  </inkml:definitions>
  <inkml:trace contextRef="#ctx0" brushRef="#br0">0 1 6723,'69'5'720,"-1"0"-360,0 0-990,-2-1 900,-2 0-708,-1-1 708,-3 1-90,-5-2 38,-3 0-128,-5-1 0,-5 0 0,-3-1-90,-4-1-90,-3 0 233,-4-1-503,-2 0 78,-2-2-78,-3 1 449,-1-1 1,-10 2 0,-2 0 0</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7T12:27:40.816"/>
    </inkml:context>
    <inkml:brush xml:id="br0">
      <inkml:brushProperty name="width" value="0.08571" units="cm"/>
      <inkml:brushProperty name="height" value="0.08571" units="cm"/>
      <inkml:brushProperty name="color" value="#E71224"/>
    </inkml:brush>
  </inkml:definitions>
  <inkml:trace contextRef="#ctx0" brushRef="#br0">1086 182 9332,'-8'-25'1439,"1"1"-1169,1 11-270,-2-2 0,-1 4 0,-3 2-90,-1 3 0,-6 1 90,3 2-90,-3 0 90,3 2-90,0-1 0,-3 1 90,-1 0-90,-2 0 90,-1-1-90,0 1 180,-1 0-180,0 0 180,-1 0-180,1 1 180,0-1-180,0 1 180,0 0-180,0 1 90,0 0 0,1 0 0,0 1-90,0 0 180,1 0-90,0 1-90,1 0 90,0 2 0,0 0 0,0 1 0,1 1 0,-1 0 90,0 3-180,1-1 90,-10 9 90,8-4-180,-6 5 180,9-4-180,2 0 180,-1 0-90,-3 6 0,5-4 0,-3 5 0,7-5 0,1-2 90,0 2-180,0 0 180,1 0-90,1 0 0,0 0 0,0 1 0,1 0 0,0-1 0,1 1 0,0-1 0,1 1 90,0 0-90,1-1 180,0 6-180,1-5 90,0 5-90,3-8 90,1 8 0,0-6 0,3 5-90,1-6 90,1-1-90,2 0 90,2 1-90,1-1-90,3 1 180,1 0-180,3 0 180,1 1-180,1-1 180,1 1-180,1-2 180,0 2-90,12 5-90,-7-4 180,9 5-180,-9-7 180,0 1-90,3 0 0,-1 0 0,2 0-3392,0-1 3481,2-1-1,0 1 2,1-2 0,19 7 0,-11-6-202,18 4 112,-14-6 90,3-1 0,2 0 0,0-2 0,2 1 0,-3-3-90,0 1 90,-2-3-1,0 1 1,0-1-90,0-1 180,22 1-90,-15-2 2833,15 0-2833,-22-1-90,0-2 90,0 0 0,-1-2 0,0 0-90,19-3 90,-14 1 0,14-3 0,-20 0 0,0 0 0,0-2 0,0 0-90,-2-1 90,-1-1 0,-1 0-1,-2-1 1,-2-1 65,10-6-65,-13 3 90,6-6-90,-15 4 409,-2-1-409,0-4 0,-3-1 0,-1-4 0,-2-1 0,-2-3-90,-2-3 0,-2-2 90,-2-3-1387,-2-2 1297,-3-2 0,-1-3-315,-8-25 315,-3 15 0,-8-20 0,-4 24-90,-8-2 0,-9 3 0,-9-2-269,-10 6-91,-9 2-180,-11 5-405,12 15 1,-4 3-753,13 6 0,-2 1 482,-25-5 1,-3 4 1304,18 6 0,1 2 0,-12 0 0,-3 0 0,0 1 0,-1 0 0</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5:10.060"/>
    </inkml:context>
    <inkml:brush xml:id="br0">
      <inkml:brushProperty name="width" value="0.05" units="cm"/>
      <inkml:brushProperty name="height" value="0.05" units="cm"/>
      <inkml:brushProperty name="color" value="#00A0D7"/>
    </inkml:brush>
  </inkml:definitions>
  <inkml:trace contextRef="#ctx0" brushRef="#br0">1656 117 24575,'-20'0'0,"8"0"0,-20 0 0,8 0 0,-3 0 0,-16 0 0,22 0 0,-14 0 0,21 0 0,0 0 0,2 0 0,1 0 0,-2 0 0,-1 0 0,-1 0 0,-2 0 0,2 0 0,2 0 0,-3 0 0,-1 0 0,0 0 0,1 0 0,4 0 0,-4 0 0,-1 0 0,-5 0 0,-3 0 0,-3 0 0,-2 0 0,3 0 0,5 0 0,3 0 0,2 0 0,-2 0 0,0 0 0,2 0 0,1 0 0,-1 0 0,1 0 0,2 0 0,0 0 0,0 0 0,0 0 0,-1 0 0,-1 0 0,-1 0 0,1 0 0,-1 0 0,1 0 0,-3 0 0,-8 0 0,6 0 0,-6 0 0,7 0 0,3 0 0,-6 1 0,1 1 0,-4 2 0,-1 1 0,5 0 0,3-1 0,6-2 0,-1-1 0,1 1 0,-2 2 0,2-1 0,1 0 0,0-1 0,2-1 0,1 1 0,2 0 0,0 0 0,-1-1 0,-1 1 0,-1 1 0,1 1 0,2-2 0,0 0 0,0-1 0,0 1 0,-2 1 0,0 1 0,0-1 0,-1 2 0,2-2 0,-4 2 0,-2 1 0,-3 0 0,-3 1 0,4-1 0,3 0 0,1-1 0,3 1 0,0-1 0,0 0 0,1 0 0,2 1 0,-1-1 0,0 0 0,0-1 0,0-1 0,0 1 0,0 2 0,2-1 0,0-1 0,0 0 0,0-1 0,-1 2 0,1 0 0,2 0 0,-1 0 0,1-1 0,0-1 0,1 0 0,1 0 0,1 1 0,-2 2 0,0 2 0,0 3 0,1 2 0,1 0 0,0-1 0,0-1 0,0 2 0,0 4 0,0 5 0,0 3 0,0-2 0,0-4 0,0-2 0,0 0 0,0 3 0,0 2 0,0 0 0,0 0 0,0 0 0,0 0 0,0-4 0,0-2 0,0-1 0,0-2 0,1 0 0,1-2 0,1-4 0,0 0 0,-1-2 0,0 0 0,0-1 0,0 0 0,1 1 0,0-1 0,2-1 0,-1-2 0,0-1 0,-1 0 0,0 0 0,0 0 0,0 0 0,0 0 0,0 0 0,0 0 0,0 0 0,0 0 0,0 0 0,0 0 0,0 0 0,0 0 0,0 0 0,0 0 0,2 0 0,2 0 0,3 0 0,4 2 0,5 0 0,8 0 0,6 0 0,0-2 0,-3 0 0,-3 0 0,-2 0 0,3 0 0,4 0 0,2 0 0,1 0 0,-1 0 0,-2 0 0,-3 0 0,-1 0 0,3 0 0,1 0 0,-3 0 0,-4 0 0,6 0 0,3 0 0,9-2 0,0-1 0,-11 0 0,-4 1 0,-2 0 0,-1-1 0,2-1 0,6-2 0,-5 1 0,6 1 0,-2 1 0,-2 0 0,0 1 0,-8 0 0,-5 1 0,-4 0 0,-4-1 0,-2 0 0,0 0 0,-1 2 0,-2 0 0,1 0 0,0 0 0,0 0 0,0 0 0,0-1 0,0-1 0,0 0 0,0 0 0,0 2 0,0 0 0,1 0 0,1 0 0,0 0 0,-1 0 0,3 0 0,0 0 0,2 0 0,3-1 0,-2-1 0,4 0 0,3 0 0,5 1 0,3 1 0,-2 0 0,-5 0 0,-4 0 0,0 0 0,0 0 0,0 0 0,1 0 0,-1 0 0,0 0 0,0 0 0,0 0 0,3 0 0,0 0 0,2-1 0,1-2 0,-2 1 0,-1 0 0,-2 0 0,-1 0 0,-1-2 0,-2 0 0,-1 2 0,-1 0 0,0 0 0,2 0 0,-4 0 0,3-1 0,-3 1 0,1-2 0,0 0 0,-3-1 0,0 0 0,-4 2 0,0-1 0,1 1 0,-1 0 0,0 0 0,0 0 0,0 0 0,0-1 0,0 1 0,0 0 0,0 0 0,0 0 0,0-2 0,0 0 0,0 0 0,-2 0 0,-1 2 0,0 0 0,0-2 0,0 0 0,0 0 0,0 0 0,0 0 0,0-1 0,0 1 0,0-3 0,0 1 0,0-2 0,0-2 0,0 0 0,0-2 0,0-1 0,0 0 0,0 0 0,-2-3 0,-3-3 0,-2-6 0,0-2 0,0 0 0,0 0 0,0-1 0,0 1 0,1 1 0,2 3 0,-1-2 0,0 1 0,1-1 0,-1 1 0,1 2 0,-1 1 0,1 4 0,0 2 0,0 4 0,0-1 0,2 0 0,-1 1 0,-1 1 0,-1 3 0,0 1 0,1 3 0,1 2 0,1 0 0,-1 2 0,0 0 0,-1 0 0,1 0 0,0 0 0,0 0 0,0 0 0,0 0 0,0 0 0,-1 0 0,1 0 0,0 0 0,0 0 0,1 0 0,1 0 0</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5:25.691"/>
    </inkml:context>
    <inkml:brush xml:id="br0">
      <inkml:brushProperty name="width" value="0.05" units="cm"/>
      <inkml:brushProperty name="height" value="0.05" units="cm"/>
      <inkml:brushProperty name="color" value="#00A0D7"/>
    </inkml:brush>
  </inkml:definitions>
  <inkml:trace contextRef="#ctx0" brushRef="#br0">393 992 24575,'42'0'0,"-1"0"0,28-2 0,22-2 0,-6 1-4236,-3 1 1,2 0 4235,-13 0 0,8-1 0,1 1 0,-6 0 0,28 0 0,-6 1 0,-6 0 0,-2 0 0,-11 0 0,-2 1 0,5 1 0,-1 0 0,-7 0 0,-2 0 0,8-1 0,0-1 0,0 0 0,-2-1 0,-13 0 0,-1 1 0,1-1 0,1 1-351,9 0 0,0 0 351,-15 0 0,0 0 14,6 2 1,-3 1-15,6 4 0,-7 4 0,0 0 0,-23-2 3467,1-2-3467,-18-3 2895,5-2-2895,5 0 2782,-3 0-2782,8 0 0,-9 0 0,6-1 0,-3 0 0,-4 0 0,9 1 0,-5 2 0,11-1 0,-8 0 0,14-3 0,27 0 0,-4-1-533,2 1 533,-27 1 0,-13 1 0,11 1 0,-2 2 0,3 0 0,-12 0 0,0-1 0,-2 0 533,8 0-533,9 1 0,-8 0 0,23-1 0,-9-2 0,6-2 0,2 0 0,-23-1 0,7 4 0,-14 1 0,5 1 0,12 0 0,-3-2 0,10-2 0,-8 0 0,-5-1 0,-5-1 0,-2-1 0,-1 2 0,-5 1 0,3 0 0,-13 0 0,6 0 0,-2 0 0,-2 0 0,5 1 0,-6 1 0,12 0 0,5 1 0,-5-2 0,1-1 0,-15-2 0,6 1 0,-1-1 0,2 2 0,13 1 0,-4 2 0,16 0 0,-5 0 0,-5 0 0,6 0 0,-12-1 0,6 1 0,-11 0 0,1 0 0,0-1 0,0 0 0,5 0 0,2-1 0,2 0 0,13 0 0,-2-1 0,14 1 0,13 0 0,-18 1 0,14-1 0,-24-1 0,5-1 0,7 0 0,-17-1 0,18 0 0,-11 1 0,5-2 0,-4 1 0,-16 0 0,0 0 0,-9 1 0,0 0 0,-8 0 0,-7 1 0,-5 0 0,-1 0 0,1 1 0,16 3 0,7 1 0,20 2 0,30 0 0,20 0-546,-47-3 0,2-1 546,10 0 0,1 0 0,-12 0 0,1-1 0,7-1 0,0-1 0,-3 0 0,-3 0-1682,22-3 1682,-3 1-654,-26-6 654,2-1-171,-8-1 171,-12 1 951,-12 6-951,-6-1 1694,-5-2-1694,2-6 748,0 0-748,5-7 0,9-14 0,-1 1 0,6-8 0,-6 6 0,-5 7 0,1-2 206,-6 6-206,0-1 0,2-5 0,2-2 0,0-9 0,-2 3 0,0-2 0,3-4 0,-4 11 0,2-5 0,-7 15 0,0-5 0,-1-5 0,-2 6 0,0-4 0,-3 11 0,0 2 0,0 3 0,0 3 0,1 0 0,-2 2 0,0 1 0,0-1 0,0 3 0,0-2 0,0-1 0,-1 1 0,1 0 0,-1 2 0,0 1 0,-1-1 0,0 3 0,-1-1 0,2 3 0,0-1 0,0 1 0,-2 0 0,-2 1 0,-6-1 0,-7-1 0,-1 0 0,-8 1 0,4 1 0,-8-1 0,1 0 0,-16-3 0,-10 1 0,8 0 0,-10 1 0,23 2 0,-10 0 0,-3-1 0,14 0 0,-4 0 0,17 0 0,-3 1 0,1 0 0,5 0 0,-2-1 0,2-2 0,-3 0 0,-11 0 0,0 0 0,-9 3 0,-9 0 0,13 0 0,-17-1 0,-13-1 0,-13 1 0,0 0 0,-1 2 0,20 1 0,-2 1 0,-4 1 0,21-2 0,1 0 0,16-2 0,1 0 0,1 0 0,-1 0 0,-3 0 0,10 0 0,-4-1 0,7 0 0,0 0 0,-10-2 0,1 1 0,-11 0 0,2-1 0,-10 1 0,-16 0 0,3 0 0,-5 1 0,20 1 0,-5-1 0,4 0 0,-10-1 0,-17 0 0,13 1 0,-18-2 0,21 1 0,0 0 0,-17-2 0,9 0 0,-21-4 0,14-1 0,-4 2 0,5 0 0,2 2 0,-12 1 0,22 3 0,-17 1 0,22 1 0,-19 3 0,20-2 0,-2 0-441,-42 2 441,34-3 0,2-1 0,-26-1 0,3-4 0,-14 0 0,21 0 0,-24 0 0,24 2 0,-5-1 0,-14-1 0,20 1 0,-5 0 0,26 2 0,3 2 0,6 0 0,1-4 0,-10-2 0,14-2 0,-13 0 0,12 5 0,2 3 0,-12 0 0,8 0 0,-16 0 0,11 0 0,-1 0 0,-15 1 0,8 0 0,-19-1 0,12 0 0,-5-1 0,5 0 441,0 2-441,-12-1 0,17 0 0,-16-1 0,21-2 0,-3 3 0,-12 0 0,14 1 0,-9 0 0,19-1 0,7 1 0,-3-1 0,8 0 0,-3-1 0,8-1 0,1 1 0,3 0 0,-8 1 0,-7 0 0,7 0 0,-7-1 0,13 0 0,-10 0 0,-11-2 0,5 1 0,-9-1 0,13 0 0,2 1 0,3 1 0,6 1 0,-3 0 0,-7 0 0,-4 0 0,-7 0 0,5 0 0,-3 0 0,-3 0 0,14 0 0,1 0 0,18 0 0,2 0 0,-1 0 0,4-1 0,-2 0 0,5 1 0,-4-1 0,-6 2 0,0 1 0,-4 0 0,5 1 0,-4-2 0,0-1 0,-2 1 0,-5 0 0,6 0 0,-10-1 0,5-1 0,-12 0 0,-13 0 0,6 1 0,-6 0 0,18 0 0,5 0 0,1-1 0,11 0 0,2 1 0,6-1 0,-1 2 0,-4 1 0,-1 0 0,-1 1 0,4-2 0,-8 2 0,-5 1 0,-12 2 0,-2 0 0,5-2 0,6 0 0,7-1 0,1 1 0,7-2 0,3 0 0,5-1 0,2-1 0,-7 1 0,-2 1 0,-13 3 0,-7 2 0,3 0 0,-1 0 0,12-4 0,2-1 0,1-1 0,4 1 0,1 0 0,5-1 0,0 0 0,6 3 0,-4 4 0,2 5 0,-10 26 0,2-10 0,-5 15 0,-3 9 0,5-15 0,-6 15 0,6-22 0,2-5 0,2-6 0,0 2 0,2-2 0,1 0 0,-1-1 0,0-4 0,0 1 0,0 5 0,1-5 0,0 3 0,2-6 0,-1-3 0,1 1 0,-1-4 0,0 7 0,1 1 0,-2 4 0,1 0 0,-2-3 0,0 1 0,2-2 0,-1 1 0,2 0 0,0-2 0,-1-1 0,1 0 0,1-4 0,0-1 0,1-5 0,-1-2 0,1 1 0,-1-1 0,3 0 0,0-1 0,5 3 0,9 6 0,3 3 0,5 2 0,1-1 0,3-1 0,0 1 0,18 2 0,-3-1 0,-1-3 0,1-1 0,-17-5 0,-1 1 0,-9-3 0,-7-1 0,-4-1 0,-3-1 0,-2 0 0,0 1 0,-3 1 0,2-1 0,-2 0 0,15-4 0,13-4 0,11-3 0,13 6 0,-27 0 0,-1 7 0</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18.114"/>
    </inkml:context>
    <inkml:brush xml:id="br0">
      <inkml:brushProperty name="width" value="0.08571" units="cm"/>
      <inkml:brushProperty name="height" value="0.08571" units="cm"/>
      <inkml:brushProperty name="color" value="#00A0D7"/>
    </inkml:brush>
  </inkml:definitions>
  <inkml:trace contextRef="#ctx0" brushRef="#br0">1300 61 6903,'-88'13'1979,"-2"0"-1529,-2 0-1959,23-3 0,0 0 1689,17-3 0,-2 1 179,-32 4 1,-5 1 312,11-2 1,1-1-449,-11 2 1,3-1-180,20-3 0,4 0 45,-25 2 0,60-7 0,5 1 664,19-2-844,10-2 0,19-1-90,9-2 90,12-3 0,10 0 1122,15-2-1212,6-1 180,10-2-1029,5 0 939,4 0 90,-46 5 0,1 0-90,1 0 0,1 0 45,1 0 0,1 0 0,1 0 0,0 0 0,1 1 0,0-1-45,0 1 0,2-1 45,25-2 0,0 1 45,-18 1 0,-1 0-861,19-1 0,-1 0 816,-24 3 0,-4 0 45,1 0 0,0 0 0,-1 0 0,-1 1 0,-2 0 0,0-1-713,47-1 713,-12 0 0,-5 1 0,-12 1 287,-4 0-287,-9 1 0,-5 0 0,4-1 0,-17 2 1076,4 0-1076,-21 0-90,-3 0 2090,2 1-1551,-5 0 1067,-12 0-1336,-15 1 453,-11-1-543,-5 1-90,6-1 90,2 0-90,-1 0 90,3 0-180,14 1 90,7 0-180,14 1-4767,0 0 4947,-11 6 0,-1-5 0,-7 4 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20.151"/>
    </inkml:context>
    <inkml:brush xml:id="br0">
      <inkml:brushProperty name="width" value="0.08571" units="cm"/>
      <inkml:brushProperty name="height" value="0.08571" units="cm"/>
      <inkml:brushProperty name="color" value="#00A0D7"/>
    </inkml:brush>
  </inkml:definitions>
  <inkml:trace contextRef="#ctx0" brushRef="#br0">0 156 10321,'11'-21'5307,"-2"3"-4587,-3 5-91,0 11-269,2 9 0,-1 9-90,0 7 0,-1 2-91,1 2 91,-1 3-90,0 2 90,1 0 0,-1 1 90,0 0-90,0-1-91,1 0 91,0-1 0,-1-2 0,1-3 90,-1-2 90,0-2 89,0-2 721,1 5-91,-1-8-450,4 6-359,2-14-180,2-2 0,5-9-90,1-6 90,4-4 0,5-5 0,4-5-325,2-3 235,4-4 0,2-2 0,1-2-90,0-2 90,0 1-90,1 0 0,-1 1 90,0 0-544,-1 1 454,-1 1 0,-1 0 0,-1 2 0,-4 4 0,-3 0 0,6-4-90,-10 9-180,3-4-90,-13 10-179,-3 3-91,-2 1-855,-1 1-8346,2-1 8289,-14 7 1,6-2 0,-12 7 0</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21.230"/>
    </inkml:context>
    <inkml:brush xml:id="br0">
      <inkml:brushProperty name="width" value="0.08571" units="cm"/>
      <inkml:brushProperty name="height" value="0.08571" units="cm"/>
      <inkml:brushProperty name="color" value="#00A0D7"/>
    </inkml:brush>
  </inkml:definitions>
  <inkml:trace contextRef="#ctx0" brushRef="#br0">1 228 14639,'2'34'1259,"1"-3"-899,0-12 0,1 2-91,0 1 1,2-1 90,-1 1 0,1-2 359,5 9 1,0 0-360,1-1 179,-1-5 1,-5-9 809,0-2-179,3 2-1,2-2-719,5-3 0,-1-5-91,2-7 1,-2-4 0,3-3-90,2-4 0,3-2-91,2-4 1,3-2 0,2-3-90,2-2-303,1-2 303,3-1-90,-2 1 89,0-1-89,2-1 90,-2 1-90,1-1 0,-1 1 0,13-9 0,-13 11-90,8-6 1,-17 14-181,-1 2-180,-3 2-180,-3 3-179,-2 1-91,-2 2-899,-2 1-7881,0 0 4103,-11 11 5577,-1 0 0,-7 5 0,2-3 0</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3T15:56:23.838"/>
    </inkml:context>
    <inkml:brush xml:id="br0">
      <inkml:brushProperty name="width" value="0.08571" units="cm"/>
      <inkml:brushProperty name="height" value="0.08571" units="cm"/>
      <inkml:brushProperty name="color" value="#00A0D7"/>
    </inkml:brush>
  </inkml:definitions>
  <inkml:trace contextRef="#ctx0" brushRef="#br0">6 0 15268,'8'9'1709,"-3"-8"-1439,1 35-90,-5-14 90,1 2 0,-1 2 0,0 1-1,-1 2-89,1 0 90,-1 2-90,1 1 90,-2-1-90,1 1 0,-1-2 90,0 0-91,0 0-89,0-2 90,-1-1 0,1-1 0,-1 0-90,1-2 90,-1-2-90,1-2 0,-2-1 90,2-2 90,-2 4 179,2-3 91,-2 4 180,1-4-1,0-1 271,1 0-721,0 0-179,6-5-90,6-4 0,11-6 0,-3 0 0,6-1 90,-5 1-90,3-1 0,2 2 0,3-1 0,2 1 0,2 0-3392,3 1 3392,-1-1 0,1 1-55,3 0 55,2 0 0,2 1 0,1 0 0,1 1 0,0-1 0,1 1 0,0 0 0,1 0 0,1 0 0,21 1 0,-14-1-519,18 1 609,-23-3-180,1 2 2979,-4-2-2889,0 0 0,-1 0 0,-1-1 0,0 2 0,-1-2 0,1 1 90,18 1 0,-13-1-90,15 1 0,-19-2 0,2 0 90,-1 0-90,1 0 0,0 0 0,1 0 0,0-1 0,0 1 0,0 0 0,-1 0 75,0 0 15,20 1-180,-18-1 180,15 2-90,-24-3 90,-2 1 0,-1 0 0,-2 0-90,1 0 90,-1 0-1,0 0-89,0-1 90,0 1 0,14 0 0,-13 0 0,12 0 0,-16-1-90,0 1 90,0-1-90,0 1 0,0-1 90,-1 0-90,0 1 0,1-1 0,-1 1 847,13 1-847,-10-1 0,10 1 0,-13-2 335,1 1-335,-1-1 0,0 1 0,1-1 0,-1 0 0,1 1 0,0-1 0,0 0 0,0-1 0,-1 1-90,13 0 1,-10 0-91,8-1 0,-14-1 90,0 0-90,0 1 90,0-2 0,1 1 0,-2-1 0,1 0 0,0 0 0,1-1 0,1 1 0,0-1 0,0 0 90,0 0-90,10 0 90,-6-1-90,8 0 90,-11 1 0,-1-2 0,-1 1 0,0-1 0,-1 1-89,-1 0 178,1-1-178,13 0 89,-8 0 0,10-1 0,-15 3 0,3-2 0,-3 1 0,3 0 0,1-2-90,-1 2 0,0-1 90,0-1-90,0 2 90,15-2-90,-11 1 90,10 0 0,-13 0 0,-1 1-90,-1 0 90,0-1 0,-1 2-90,0-1-90,-2 1 180,0-1-90,-1 0 90,-2 0-90,1 0 90,-1 1 0,-1 0-90,0-1 90,0 1 0,8-1 0,-7 0 0,6 0-90,-10 1 90,0-1 0,1 1 0,-1-1-90,-1 0 90,1 0 0,-1 0 0,0 0 0,-1 0-90,0 0 90,0 0 0,6-1 0,-6 0 0,4 0 0,-6 1-90,-1-1 90,0 1 0,-1-1 0,-1 1 0,0-1 0,5-1 0,-1-1 90,3-2 0,-2 1 180,-2 0 90,-2-1-180,-1 1 180,-2-2-1,0 0 1,-1-2 90,-1-1-90,0-1-180,-1-1-91,-1-2 1,0-1 0,0-1-90,-1 2 0,-1 0 0,-1 4 0,1 0 90,0-2-90,0 1 0,0-2 0,1 0 0,0-1 0,0 1 90,0-1-90,-1 1 90,0 0-90,0 0 90,1 0-90,-2 1 90,1 0 90,0 1 0,0-4-90,1 1 0,0-4 0,-1 4-90,0 0-90,0 2 0,0-1 90,-1 3-90,1-1 90,-10 6 0,-3 5 90,-11 5-90,4 3 0,-2-1 0,-12 5 0,10-4 0,-13 5 0,14-5 0,0 0 0,0 0 0,0 0 0,2-1 0,0 0 90,2-1 0,-4 2 180,2-1-270,-3 1 0,13-8 0,11-2 0,7-6 0,6 2 0,-3 1 0,0 0 0,1 0 0,-1 2 0,0-1 0,0 1 0,-1 0 0,0 1 0,-1 0 0,0 0 0,6 0 0,-2 1 0,5 1 0,-3 3 0,-2 5 0,-4 0 0,-2 4 0,-4-1 0,0 2 0,-1-1 0,0 3 0,-1-1 0,0 1 0,0 0 0,-1 1 0,0-1 0,0 1 0,0 4-1260,0-1-898,1 4-4409,-2-4 6567,-2 0 0,0-8 0,-1-2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7316E4-B690-46AF-93E2-69A1C77164BB}" type="datetimeFigureOut">
              <a:rPr lang="en-US" smtClean="0"/>
              <a:t>9/9/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19E64DF-BA83-4ABB-8A50-A1E5EC8553C3}" type="slidenum">
              <a:rPr lang="en-US" smtClean="0"/>
              <a:t>‹#›</a:t>
            </a:fld>
            <a:endParaRPr lang="en-US"/>
          </a:p>
        </p:txBody>
      </p:sp>
    </p:spTree>
    <p:extLst>
      <p:ext uri="{BB962C8B-B14F-4D97-AF65-F5344CB8AC3E}">
        <p14:creationId xmlns:p14="http://schemas.microsoft.com/office/powerpoint/2010/main" val="13224876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youtube.com/channel/UCMn3_305DqmTylxJPFA8OJA"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youtube.com/channel/UCMn3_305DqmTylxJPFA8OJA"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youtube.com/channel/UCMn3_305DqmTylxJPFA8OJA"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youtube.com/channel/UCMn3_305DqmTylxJPFA8OJA"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9E64DF-BA83-4ABB-8A50-A1E5EC8553C3}" type="slidenum">
              <a:rPr lang="en-US" smtClean="0"/>
              <a:t>1</a:t>
            </a:fld>
            <a:endParaRPr lang="en-US"/>
          </a:p>
        </p:txBody>
      </p:sp>
    </p:spTree>
    <p:extLst>
      <p:ext uri="{BB962C8B-B14F-4D97-AF65-F5344CB8AC3E}">
        <p14:creationId xmlns:p14="http://schemas.microsoft.com/office/powerpoint/2010/main" val="2388842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rPr>
              <a:t>https://www.youtube.com/watch?v=VkjSaOZSZVs&amp;list=PL1w8k37X_6L_s4ncq-swTBvKDWnRSrinI&amp;index=19</a:t>
            </a:r>
          </a:p>
        </p:txBody>
      </p:sp>
      <p:sp>
        <p:nvSpPr>
          <p:cNvPr id="4" name="Slide Number Placeholder 3"/>
          <p:cNvSpPr>
            <a:spLocks noGrp="1"/>
          </p:cNvSpPr>
          <p:nvPr>
            <p:ph type="sldNum" sz="quarter" idx="5"/>
          </p:nvPr>
        </p:nvSpPr>
        <p:spPr/>
        <p:txBody>
          <a:bodyPr/>
          <a:lstStyle/>
          <a:p>
            <a:fld id="{319E64DF-BA83-4ABB-8A50-A1E5EC8553C3}" type="slidenum">
              <a:rPr lang="en-US" smtClean="0"/>
              <a:t>16</a:t>
            </a:fld>
            <a:endParaRPr lang="en-US"/>
          </a:p>
        </p:txBody>
      </p:sp>
    </p:spTree>
    <p:extLst>
      <p:ext uri="{BB962C8B-B14F-4D97-AF65-F5344CB8AC3E}">
        <p14:creationId xmlns:p14="http://schemas.microsoft.com/office/powerpoint/2010/main" val="27412907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u="sng" dirty="0">
                <a:effectLst/>
                <a:latin typeface="Calibri" panose="020F0502020204030204" pitchFamily="34" charset="0"/>
              </a:rPr>
              <a:t>https://www.youtube.com/watch?v=xtPXjvwCt64&amp;list=PL1w8k37X_6L_s4ncq-swTBvKDWnRSrinI&amp;index=22</a:t>
            </a:r>
          </a:p>
          <a:p>
            <a:endParaRPr lang="en-US" sz="1800" u="sng"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319E64DF-BA83-4ABB-8A50-A1E5EC8553C3}" type="slidenum">
              <a:rPr lang="en-US" smtClean="0"/>
              <a:t>32</a:t>
            </a:fld>
            <a:endParaRPr lang="en-US"/>
          </a:p>
        </p:txBody>
      </p:sp>
    </p:spTree>
    <p:extLst>
      <p:ext uri="{BB962C8B-B14F-4D97-AF65-F5344CB8AC3E}">
        <p14:creationId xmlns:p14="http://schemas.microsoft.com/office/powerpoint/2010/main" val="235473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hlinkClick r:id="rId3"/>
              </a:rPr>
              <a:t>https://www.youtube.com/channel/UCMn3_305DqmTylxJPFA8OJA</a:t>
            </a:r>
            <a:endParaRPr lang="en-US" dirty="0"/>
          </a:p>
        </p:txBody>
      </p:sp>
      <p:sp>
        <p:nvSpPr>
          <p:cNvPr id="4" name="Slide Number Placeholder 3"/>
          <p:cNvSpPr>
            <a:spLocks noGrp="1"/>
          </p:cNvSpPr>
          <p:nvPr>
            <p:ph type="sldNum" sz="quarter" idx="5"/>
          </p:nvPr>
        </p:nvSpPr>
        <p:spPr/>
        <p:txBody>
          <a:bodyPr/>
          <a:lstStyle/>
          <a:p>
            <a:fld id="{319E64DF-BA83-4ABB-8A50-A1E5EC8553C3}" type="slidenum">
              <a:rPr lang="en-US" smtClean="0"/>
              <a:t>3</a:t>
            </a:fld>
            <a:endParaRPr lang="en-US"/>
          </a:p>
        </p:txBody>
      </p:sp>
    </p:spTree>
    <p:extLst>
      <p:ext uri="{BB962C8B-B14F-4D97-AF65-F5344CB8AC3E}">
        <p14:creationId xmlns:p14="http://schemas.microsoft.com/office/powerpoint/2010/main" val="31514152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hlinkClick r:id="rId3"/>
              </a:rPr>
              <a:t>https://www.youtube.com/channel/UCMn3_305DqmTylxJPFA8OJA</a:t>
            </a:r>
            <a:endParaRPr lang="en-US" sz="1800" dirty="0">
              <a:effectLst/>
              <a:latin typeface="Calibri" panose="020F0502020204030204" pitchFamily="34" charset="0"/>
            </a:endParaRPr>
          </a:p>
          <a:p>
            <a:pPr algn="l"/>
            <a:r>
              <a:rPr lang="en-US" b="0" i="0" dirty="0">
                <a:solidFill>
                  <a:srgbClr val="000000"/>
                </a:solidFill>
                <a:effectLst/>
                <a:latin typeface="Helvetica Neue"/>
              </a:rPr>
              <a:t>One-Hot coding is simple and easy to use, the disadvantages are also obvious:</a:t>
            </a:r>
          </a:p>
          <a:p>
            <a:pPr algn="l"/>
            <a:endParaRPr lang="en-US" dirty="0">
              <a:effectLst/>
            </a:endParaRPr>
          </a:p>
          <a:p>
            <a:pPr algn="l"/>
            <a:r>
              <a:rPr lang="en-US" dirty="0">
                <a:effectLst/>
              </a:rPr>
              <a:t>The length of the word vector is equal to the length of the vocabulary, and the word vector is extremely sparse. When the vocabulary is large, the computational complexity will be very large.</a:t>
            </a:r>
          </a:p>
          <a:p>
            <a:pPr algn="l"/>
            <a:endParaRPr lang="en-US" dirty="0">
              <a:effectLst/>
            </a:endParaRPr>
          </a:p>
          <a:p>
            <a:pPr algn="l"/>
            <a:r>
              <a:rPr lang="en-US" dirty="0">
                <a:effectLst/>
              </a:rPr>
              <a:t>Any two words are orthogonal, meaning that the relationship between words cannot be obtained from the One-Hot code</a:t>
            </a:r>
          </a:p>
          <a:p>
            <a:pPr algn="l"/>
            <a:endParaRPr lang="en-US" dirty="0">
              <a:effectLst/>
            </a:endParaRPr>
          </a:p>
          <a:p>
            <a:pPr algn="l"/>
            <a:r>
              <a:rPr lang="en-US" dirty="0">
                <a:effectLst/>
              </a:rPr>
              <a:t>The distance between any two words is equal, and the semantic relevance of the two words cannot be reflected from the distance</a:t>
            </a:r>
          </a:p>
        </p:txBody>
      </p:sp>
      <p:sp>
        <p:nvSpPr>
          <p:cNvPr id="4" name="Slide Number Placeholder 3"/>
          <p:cNvSpPr>
            <a:spLocks noGrp="1"/>
          </p:cNvSpPr>
          <p:nvPr>
            <p:ph type="sldNum" sz="quarter" idx="5"/>
          </p:nvPr>
        </p:nvSpPr>
        <p:spPr/>
        <p:txBody>
          <a:bodyPr/>
          <a:lstStyle/>
          <a:p>
            <a:fld id="{319E64DF-BA83-4ABB-8A50-A1E5EC8553C3}" type="slidenum">
              <a:rPr lang="en-US" smtClean="0"/>
              <a:t>4</a:t>
            </a:fld>
            <a:endParaRPr lang="en-US"/>
          </a:p>
        </p:txBody>
      </p:sp>
    </p:spTree>
    <p:extLst>
      <p:ext uri="{BB962C8B-B14F-4D97-AF65-F5344CB8AC3E}">
        <p14:creationId xmlns:p14="http://schemas.microsoft.com/office/powerpoint/2010/main" val="31288628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hlinkClick r:id="rId3"/>
              </a:rPr>
              <a:t>https://www.youtube.com/channel/UCMn3_305DqmTylxJPFA8OJA</a:t>
            </a:r>
            <a:endParaRPr lang="en-US" dirty="0"/>
          </a:p>
        </p:txBody>
      </p:sp>
      <p:sp>
        <p:nvSpPr>
          <p:cNvPr id="4" name="Slide Number Placeholder 3"/>
          <p:cNvSpPr>
            <a:spLocks noGrp="1"/>
          </p:cNvSpPr>
          <p:nvPr>
            <p:ph type="sldNum" sz="quarter" idx="5"/>
          </p:nvPr>
        </p:nvSpPr>
        <p:spPr/>
        <p:txBody>
          <a:bodyPr/>
          <a:lstStyle/>
          <a:p>
            <a:fld id="{319E64DF-BA83-4ABB-8A50-A1E5EC8553C3}" type="slidenum">
              <a:rPr lang="en-US" smtClean="0"/>
              <a:t>5</a:t>
            </a:fld>
            <a:endParaRPr lang="en-US"/>
          </a:p>
        </p:txBody>
      </p:sp>
    </p:spTree>
    <p:extLst>
      <p:ext uri="{BB962C8B-B14F-4D97-AF65-F5344CB8AC3E}">
        <p14:creationId xmlns:p14="http://schemas.microsoft.com/office/powerpoint/2010/main" val="39822949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hlinkClick r:id="rId3"/>
              </a:rPr>
              <a:t>https://www.youtube.com/channel/UCMn3_305DqmTylxJPFA8OJA</a:t>
            </a:r>
            <a:endParaRPr lang="en-US" dirty="0"/>
          </a:p>
        </p:txBody>
      </p:sp>
      <p:sp>
        <p:nvSpPr>
          <p:cNvPr id="4" name="Slide Number Placeholder 3"/>
          <p:cNvSpPr>
            <a:spLocks noGrp="1"/>
          </p:cNvSpPr>
          <p:nvPr>
            <p:ph type="sldNum" sz="quarter" idx="5"/>
          </p:nvPr>
        </p:nvSpPr>
        <p:spPr/>
        <p:txBody>
          <a:bodyPr/>
          <a:lstStyle/>
          <a:p>
            <a:fld id="{319E64DF-BA83-4ABB-8A50-A1E5EC8553C3}" type="slidenum">
              <a:rPr lang="en-US" smtClean="0"/>
              <a:t>6</a:t>
            </a:fld>
            <a:endParaRPr lang="en-US"/>
          </a:p>
        </p:txBody>
      </p:sp>
    </p:spTree>
    <p:extLst>
      <p:ext uri="{BB962C8B-B14F-4D97-AF65-F5344CB8AC3E}">
        <p14:creationId xmlns:p14="http://schemas.microsoft.com/office/powerpoint/2010/main" val="39715408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rPr>
              <a:t>https://www.youtube.com/watch?v=VkjSaOZSZVs&amp;list=PL1w8k37X_6L_s4ncq-swTBvKDWnRSrinI&amp;index=19</a:t>
            </a:r>
          </a:p>
        </p:txBody>
      </p:sp>
      <p:sp>
        <p:nvSpPr>
          <p:cNvPr id="4" name="Slide Number Placeholder 3"/>
          <p:cNvSpPr>
            <a:spLocks noGrp="1"/>
          </p:cNvSpPr>
          <p:nvPr>
            <p:ph type="sldNum" sz="quarter" idx="5"/>
          </p:nvPr>
        </p:nvSpPr>
        <p:spPr/>
        <p:txBody>
          <a:bodyPr/>
          <a:lstStyle/>
          <a:p>
            <a:fld id="{319E64DF-BA83-4ABB-8A50-A1E5EC8553C3}" type="slidenum">
              <a:rPr lang="en-US" smtClean="0"/>
              <a:t>7</a:t>
            </a:fld>
            <a:endParaRPr lang="en-US"/>
          </a:p>
        </p:txBody>
      </p:sp>
    </p:spTree>
    <p:extLst>
      <p:ext uri="{BB962C8B-B14F-4D97-AF65-F5344CB8AC3E}">
        <p14:creationId xmlns:p14="http://schemas.microsoft.com/office/powerpoint/2010/main" val="33235141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u="sng" dirty="0">
                <a:effectLst/>
                <a:latin typeface="Calibri" panose="020F0502020204030204" pitchFamily="34" charset="0"/>
              </a:rPr>
              <a:t>https://www.youtube.com/watch?v=xtPXjvwCt64&amp;list=PL1w8k37X_6L_s4ncq-swTBvKDWnRSrinI&amp;index=22</a:t>
            </a:r>
          </a:p>
          <a:p>
            <a:endParaRPr lang="en-US" sz="1800" u="sng"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319E64DF-BA83-4ABB-8A50-A1E5EC8553C3}" type="slidenum">
              <a:rPr lang="en-US" smtClean="0"/>
              <a:t>8</a:t>
            </a:fld>
            <a:endParaRPr lang="en-US"/>
          </a:p>
        </p:txBody>
      </p:sp>
    </p:spTree>
    <p:extLst>
      <p:ext uri="{BB962C8B-B14F-4D97-AF65-F5344CB8AC3E}">
        <p14:creationId xmlns:p14="http://schemas.microsoft.com/office/powerpoint/2010/main" val="16122189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rPr>
              <a:t>https://www.youtube.com/watch?v=VkjSaOZSZVs&amp;list=PL1w8k37X_6L_s4ncq-swTBvKDWnRSrinI&amp;index=19</a:t>
            </a:r>
          </a:p>
        </p:txBody>
      </p:sp>
      <p:sp>
        <p:nvSpPr>
          <p:cNvPr id="4" name="Slide Number Placeholder 3"/>
          <p:cNvSpPr>
            <a:spLocks noGrp="1"/>
          </p:cNvSpPr>
          <p:nvPr>
            <p:ph type="sldNum" sz="quarter" idx="5"/>
          </p:nvPr>
        </p:nvSpPr>
        <p:spPr/>
        <p:txBody>
          <a:bodyPr/>
          <a:lstStyle/>
          <a:p>
            <a:fld id="{319E64DF-BA83-4ABB-8A50-A1E5EC8553C3}" type="slidenum">
              <a:rPr lang="en-US" smtClean="0"/>
              <a:t>9</a:t>
            </a:fld>
            <a:endParaRPr lang="en-US"/>
          </a:p>
        </p:txBody>
      </p:sp>
    </p:spTree>
    <p:extLst>
      <p:ext uri="{BB962C8B-B14F-4D97-AF65-F5344CB8AC3E}">
        <p14:creationId xmlns:p14="http://schemas.microsoft.com/office/powerpoint/2010/main" val="6378912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rPr>
              <a:t>https://www.youtube.com/watch?v=jak0sKPoKu8&amp;list=PL1w8k37X_6L_s4ncq-swTBvKDWnRSrinI&amp;index=23</a:t>
            </a:r>
          </a:p>
        </p:txBody>
      </p:sp>
      <p:sp>
        <p:nvSpPr>
          <p:cNvPr id="4" name="Slide Number Placeholder 3"/>
          <p:cNvSpPr>
            <a:spLocks noGrp="1"/>
          </p:cNvSpPr>
          <p:nvPr>
            <p:ph type="sldNum" sz="quarter" idx="5"/>
          </p:nvPr>
        </p:nvSpPr>
        <p:spPr/>
        <p:txBody>
          <a:bodyPr/>
          <a:lstStyle/>
          <a:p>
            <a:fld id="{319E64DF-BA83-4ABB-8A50-A1E5EC8553C3}" type="slidenum">
              <a:rPr lang="en-US" smtClean="0"/>
              <a:t>10</a:t>
            </a:fld>
            <a:endParaRPr lang="en-US"/>
          </a:p>
        </p:txBody>
      </p:sp>
    </p:spTree>
    <p:extLst>
      <p:ext uri="{BB962C8B-B14F-4D97-AF65-F5344CB8AC3E}">
        <p14:creationId xmlns:p14="http://schemas.microsoft.com/office/powerpoint/2010/main" val="13294799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BB11A-3AC0-434C-B4FF-70A6B968EA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AA1B67F-47B8-4B61-A046-2C0A18010E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457040-9E50-4B24-AB59-803911A0FE05}"/>
              </a:ext>
            </a:extLst>
          </p:cNvPr>
          <p:cNvSpPr>
            <a:spLocks noGrp="1"/>
          </p:cNvSpPr>
          <p:nvPr>
            <p:ph type="dt" sz="half" idx="10"/>
          </p:nvPr>
        </p:nvSpPr>
        <p:spPr/>
        <p:txBody>
          <a:bodyPr/>
          <a:lstStyle/>
          <a:p>
            <a:fld id="{07BCB50A-8290-4F16-80D8-004087C8170C}" type="datetimeFigureOut">
              <a:rPr lang="en-US" smtClean="0"/>
              <a:t>9/9/23</a:t>
            </a:fld>
            <a:endParaRPr lang="en-US"/>
          </a:p>
        </p:txBody>
      </p:sp>
      <p:sp>
        <p:nvSpPr>
          <p:cNvPr id="5" name="Footer Placeholder 4">
            <a:extLst>
              <a:ext uri="{FF2B5EF4-FFF2-40B4-BE49-F238E27FC236}">
                <a16:creationId xmlns:a16="http://schemas.microsoft.com/office/drawing/2014/main" id="{D30966B5-AB56-4C7B-B7A1-E8A021BE2B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C91D68-FC88-4546-B2D0-81276E189B49}"/>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4048109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423DA-4C4C-48E7-B264-7C5F79C6C92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33D6847-6860-4F67-8680-24BED6B10F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6F04D0-47B6-4232-B16D-3055EB1248D6}"/>
              </a:ext>
            </a:extLst>
          </p:cNvPr>
          <p:cNvSpPr>
            <a:spLocks noGrp="1"/>
          </p:cNvSpPr>
          <p:nvPr>
            <p:ph type="dt" sz="half" idx="10"/>
          </p:nvPr>
        </p:nvSpPr>
        <p:spPr/>
        <p:txBody>
          <a:bodyPr/>
          <a:lstStyle/>
          <a:p>
            <a:fld id="{07BCB50A-8290-4F16-80D8-004087C8170C}" type="datetimeFigureOut">
              <a:rPr lang="en-US" smtClean="0"/>
              <a:t>9/9/23</a:t>
            </a:fld>
            <a:endParaRPr lang="en-US"/>
          </a:p>
        </p:txBody>
      </p:sp>
      <p:sp>
        <p:nvSpPr>
          <p:cNvPr id="5" name="Footer Placeholder 4">
            <a:extLst>
              <a:ext uri="{FF2B5EF4-FFF2-40B4-BE49-F238E27FC236}">
                <a16:creationId xmlns:a16="http://schemas.microsoft.com/office/drawing/2014/main" id="{9E6FC615-9942-49C8-8ACC-4FEBA1932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E82E9-8155-4B52-9983-01C321258AEC}"/>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2430498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237C99E-6CCD-433D-858A-A815248E29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367D71F-5205-4217-8274-4BCCA71253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72F0CB-BC56-4DE2-84FB-D1AB50DD4C96}"/>
              </a:ext>
            </a:extLst>
          </p:cNvPr>
          <p:cNvSpPr>
            <a:spLocks noGrp="1"/>
          </p:cNvSpPr>
          <p:nvPr>
            <p:ph type="dt" sz="half" idx="10"/>
          </p:nvPr>
        </p:nvSpPr>
        <p:spPr/>
        <p:txBody>
          <a:bodyPr/>
          <a:lstStyle/>
          <a:p>
            <a:fld id="{07BCB50A-8290-4F16-80D8-004087C8170C}" type="datetimeFigureOut">
              <a:rPr lang="en-US" smtClean="0"/>
              <a:t>9/9/23</a:t>
            </a:fld>
            <a:endParaRPr lang="en-US"/>
          </a:p>
        </p:txBody>
      </p:sp>
      <p:sp>
        <p:nvSpPr>
          <p:cNvPr id="5" name="Footer Placeholder 4">
            <a:extLst>
              <a:ext uri="{FF2B5EF4-FFF2-40B4-BE49-F238E27FC236}">
                <a16:creationId xmlns:a16="http://schemas.microsoft.com/office/drawing/2014/main" id="{64F91C7B-0841-4AD3-8A96-A36C5E1EEB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3583E9-0708-43C1-96B6-7F1C57171326}"/>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76305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82DA8-5564-4705-8FE1-C900651BD5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97861-F13F-4F53-A8A6-17E577364C4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4CFEF8-55FB-4CA0-9988-DAED1A3B419C}"/>
              </a:ext>
            </a:extLst>
          </p:cNvPr>
          <p:cNvSpPr>
            <a:spLocks noGrp="1"/>
          </p:cNvSpPr>
          <p:nvPr>
            <p:ph type="dt" sz="half" idx="10"/>
          </p:nvPr>
        </p:nvSpPr>
        <p:spPr/>
        <p:txBody>
          <a:bodyPr/>
          <a:lstStyle/>
          <a:p>
            <a:fld id="{07BCB50A-8290-4F16-80D8-004087C8170C}" type="datetimeFigureOut">
              <a:rPr lang="en-US" smtClean="0"/>
              <a:t>9/9/23</a:t>
            </a:fld>
            <a:endParaRPr lang="en-US"/>
          </a:p>
        </p:txBody>
      </p:sp>
      <p:sp>
        <p:nvSpPr>
          <p:cNvPr id="5" name="Footer Placeholder 4">
            <a:extLst>
              <a:ext uri="{FF2B5EF4-FFF2-40B4-BE49-F238E27FC236}">
                <a16:creationId xmlns:a16="http://schemas.microsoft.com/office/drawing/2014/main" id="{45BC619C-5687-419D-8ECD-58D5A90C9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C663CA-4980-4605-A431-8B7050BB24FC}"/>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481137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FE8E8-FA03-40B5-A953-7BF2CA94137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D73F3E4-4E91-438A-BFBF-A6646F0225B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4529E4D-87BC-4329-A613-487470A1DBBD}"/>
              </a:ext>
            </a:extLst>
          </p:cNvPr>
          <p:cNvSpPr>
            <a:spLocks noGrp="1"/>
          </p:cNvSpPr>
          <p:nvPr>
            <p:ph type="dt" sz="half" idx="10"/>
          </p:nvPr>
        </p:nvSpPr>
        <p:spPr/>
        <p:txBody>
          <a:bodyPr/>
          <a:lstStyle/>
          <a:p>
            <a:fld id="{07BCB50A-8290-4F16-80D8-004087C8170C}" type="datetimeFigureOut">
              <a:rPr lang="en-US" smtClean="0"/>
              <a:t>9/9/23</a:t>
            </a:fld>
            <a:endParaRPr lang="en-US"/>
          </a:p>
        </p:txBody>
      </p:sp>
      <p:sp>
        <p:nvSpPr>
          <p:cNvPr id="5" name="Footer Placeholder 4">
            <a:extLst>
              <a:ext uri="{FF2B5EF4-FFF2-40B4-BE49-F238E27FC236}">
                <a16:creationId xmlns:a16="http://schemas.microsoft.com/office/drawing/2014/main" id="{A8C0381B-3F35-48AA-886A-F38512DC5B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3C949E-7FF9-44DB-AA21-AB91459C1A75}"/>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0750044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2F810-59D4-400B-A5B7-10D15B72E4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E5C2A1-9F34-4FC3-9ABB-85E68DF09C7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B44320C-78BB-4E65-89B4-57AB1763E8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F77B704-7DD2-4C67-9D5A-3835C6E280B9}"/>
              </a:ext>
            </a:extLst>
          </p:cNvPr>
          <p:cNvSpPr>
            <a:spLocks noGrp="1"/>
          </p:cNvSpPr>
          <p:nvPr>
            <p:ph type="dt" sz="half" idx="10"/>
          </p:nvPr>
        </p:nvSpPr>
        <p:spPr/>
        <p:txBody>
          <a:bodyPr/>
          <a:lstStyle/>
          <a:p>
            <a:fld id="{07BCB50A-8290-4F16-80D8-004087C8170C}" type="datetimeFigureOut">
              <a:rPr lang="en-US" smtClean="0"/>
              <a:t>9/9/23</a:t>
            </a:fld>
            <a:endParaRPr lang="en-US"/>
          </a:p>
        </p:txBody>
      </p:sp>
      <p:sp>
        <p:nvSpPr>
          <p:cNvPr id="6" name="Footer Placeholder 5">
            <a:extLst>
              <a:ext uri="{FF2B5EF4-FFF2-40B4-BE49-F238E27FC236}">
                <a16:creationId xmlns:a16="http://schemas.microsoft.com/office/drawing/2014/main" id="{39E3D24C-D65A-41A5-9556-B0E5383DE4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20DB4E-A9AA-42EB-A490-79ADDECBF076}"/>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2547760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6DABA-31C2-4BA9-AC61-1176E5CB392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ECFD6D-5D89-4C4F-B820-3F7C6A5B26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E8EDC86-65D4-4EA0-865C-BC190FF5F8B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1A036B-10D7-4830-A359-2A4CA6DCC2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A0D1F87-09F6-4776-B436-EBFDB65CBA9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CC50A69-1121-44F9-8384-7D774925355D}"/>
              </a:ext>
            </a:extLst>
          </p:cNvPr>
          <p:cNvSpPr>
            <a:spLocks noGrp="1"/>
          </p:cNvSpPr>
          <p:nvPr>
            <p:ph type="dt" sz="half" idx="10"/>
          </p:nvPr>
        </p:nvSpPr>
        <p:spPr/>
        <p:txBody>
          <a:bodyPr/>
          <a:lstStyle/>
          <a:p>
            <a:fld id="{07BCB50A-8290-4F16-80D8-004087C8170C}" type="datetimeFigureOut">
              <a:rPr lang="en-US" smtClean="0"/>
              <a:t>9/9/23</a:t>
            </a:fld>
            <a:endParaRPr lang="en-US"/>
          </a:p>
        </p:txBody>
      </p:sp>
      <p:sp>
        <p:nvSpPr>
          <p:cNvPr id="8" name="Footer Placeholder 7">
            <a:extLst>
              <a:ext uri="{FF2B5EF4-FFF2-40B4-BE49-F238E27FC236}">
                <a16:creationId xmlns:a16="http://schemas.microsoft.com/office/drawing/2014/main" id="{F148D2DA-60E0-4B81-AF0C-C18C975F862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710258B-6DB2-4DED-BB5E-14BD3C142B0A}"/>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1954955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4DDA9-2601-4716-9FA6-A0928F1608D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D0C461-5DDC-4C69-852F-2D87165CE445}"/>
              </a:ext>
            </a:extLst>
          </p:cNvPr>
          <p:cNvSpPr>
            <a:spLocks noGrp="1"/>
          </p:cNvSpPr>
          <p:nvPr>
            <p:ph type="dt" sz="half" idx="10"/>
          </p:nvPr>
        </p:nvSpPr>
        <p:spPr/>
        <p:txBody>
          <a:bodyPr/>
          <a:lstStyle/>
          <a:p>
            <a:fld id="{07BCB50A-8290-4F16-80D8-004087C8170C}" type="datetimeFigureOut">
              <a:rPr lang="en-US" smtClean="0"/>
              <a:t>9/9/23</a:t>
            </a:fld>
            <a:endParaRPr lang="en-US"/>
          </a:p>
        </p:txBody>
      </p:sp>
      <p:sp>
        <p:nvSpPr>
          <p:cNvPr id="4" name="Footer Placeholder 3">
            <a:extLst>
              <a:ext uri="{FF2B5EF4-FFF2-40B4-BE49-F238E27FC236}">
                <a16:creationId xmlns:a16="http://schemas.microsoft.com/office/drawing/2014/main" id="{20E27204-4B03-4DE4-B951-CDC0095133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682A885-565F-433F-8110-BF46E0186654}"/>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040829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D4582A-A0EB-4C4F-9515-1C55779134CC}"/>
              </a:ext>
            </a:extLst>
          </p:cNvPr>
          <p:cNvSpPr>
            <a:spLocks noGrp="1"/>
          </p:cNvSpPr>
          <p:nvPr>
            <p:ph type="dt" sz="half" idx="10"/>
          </p:nvPr>
        </p:nvSpPr>
        <p:spPr/>
        <p:txBody>
          <a:bodyPr/>
          <a:lstStyle/>
          <a:p>
            <a:fld id="{07BCB50A-8290-4F16-80D8-004087C8170C}" type="datetimeFigureOut">
              <a:rPr lang="en-US" smtClean="0"/>
              <a:t>9/9/23</a:t>
            </a:fld>
            <a:endParaRPr lang="en-US"/>
          </a:p>
        </p:txBody>
      </p:sp>
      <p:sp>
        <p:nvSpPr>
          <p:cNvPr id="3" name="Footer Placeholder 2">
            <a:extLst>
              <a:ext uri="{FF2B5EF4-FFF2-40B4-BE49-F238E27FC236}">
                <a16:creationId xmlns:a16="http://schemas.microsoft.com/office/drawing/2014/main" id="{4B729B42-FDB1-4695-ADBB-450164D3CA2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27763F8-8DFB-4D13-8DD3-4C2FEDBC7D68}"/>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1669838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55AC2-F7CC-487F-A8CC-F3ADE8BBB6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7E0DF6B-F125-4258-8F5F-35959A1EBD3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E13504-3657-4F8A-95DD-C3E4CC87AF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4F5D69-52E0-41D4-8A03-A0313B8BE893}"/>
              </a:ext>
            </a:extLst>
          </p:cNvPr>
          <p:cNvSpPr>
            <a:spLocks noGrp="1"/>
          </p:cNvSpPr>
          <p:nvPr>
            <p:ph type="dt" sz="half" idx="10"/>
          </p:nvPr>
        </p:nvSpPr>
        <p:spPr/>
        <p:txBody>
          <a:bodyPr/>
          <a:lstStyle/>
          <a:p>
            <a:fld id="{07BCB50A-8290-4F16-80D8-004087C8170C}" type="datetimeFigureOut">
              <a:rPr lang="en-US" smtClean="0"/>
              <a:t>9/9/23</a:t>
            </a:fld>
            <a:endParaRPr lang="en-US"/>
          </a:p>
        </p:txBody>
      </p:sp>
      <p:sp>
        <p:nvSpPr>
          <p:cNvPr id="6" name="Footer Placeholder 5">
            <a:extLst>
              <a:ext uri="{FF2B5EF4-FFF2-40B4-BE49-F238E27FC236}">
                <a16:creationId xmlns:a16="http://schemas.microsoft.com/office/drawing/2014/main" id="{8DD5C4D3-C1EB-45C9-A068-DCB3950283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720344-8847-42BB-86F3-4D38F8355E21}"/>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8456174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60084-9EAD-4BF6-A179-94F20555382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E344925-4E5C-4F97-A277-5082CFEFD0A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92CF2C-8F01-47C7-93F3-392C47636E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872D15-D57F-405D-9246-B887F19987D9}"/>
              </a:ext>
            </a:extLst>
          </p:cNvPr>
          <p:cNvSpPr>
            <a:spLocks noGrp="1"/>
          </p:cNvSpPr>
          <p:nvPr>
            <p:ph type="dt" sz="half" idx="10"/>
          </p:nvPr>
        </p:nvSpPr>
        <p:spPr/>
        <p:txBody>
          <a:bodyPr/>
          <a:lstStyle/>
          <a:p>
            <a:fld id="{07BCB50A-8290-4F16-80D8-004087C8170C}" type="datetimeFigureOut">
              <a:rPr lang="en-US" smtClean="0"/>
              <a:t>9/9/23</a:t>
            </a:fld>
            <a:endParaRPr lang="en-US"/>
          </a:p>
        </p:txBody>
      </p:sp>
      <p:sp>
        <p:nvSpPr>
          <p:cNvPr id="6" name="Footer Placeholder 5">
            <a:extLst>
              <a:ext uri="{FF2B5EF4-FFF2-40B4-BE49-F238E27FC236}">
                <a16:creationId xmlns:a16="http://schemas.microsoft.com/office/drawing/2014/main" id="{F19082CC-0E19-4296-AA74-A3E10C52BBC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346B94-D249-403D-84E1-964D2A95066D}"/>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4577823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CB1018-31C9-485B-B873-64D4D061014D}"/>
              </a:ext>
            </a:extLst>
          </p:cNvPr>
          <p:cNvGraphicFramePr>
            <a:graphicFrameLocks noChangeAspect="1"/>
          </p:cNvGraphicFramePr>
          <p:nvPr userDrawn="1">
            <p:custDataLst>
              <p:tags r:id="rId13"/>
            </p:custDataLst>
            <p:extLst>
              <p:ext uri="{D42A27DB-BD31-4B8C-83A1-F6EECF244321}">
                <p14:modId xmlns:p14="http://schemas.microsoft.com/office/powerpoint/2010/main" val="1168952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a:extLst>
                          <a:ext uri="{FF2B5EF4-FFF2-40B4-BE49-F238E27FC236}">
                            <a16:creationId xmlns:a16="http://schemas.microsoft.com/office/drawing/2014/main" id="{71CB1018-31C9-485B-B873-64D4D061014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BBF974-B860-4E02-B5BF-37B4E0A4E1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00200EE-C768-419D-8B98-D547FBA044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1FCA19-23FA-4F4E-9769-FC6ADDAECF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BCB50A-8290-4F16-80D8-004087C8170C}" type="datetimeFigureOut">
              <a:rPr lang="en-US" smtClean="0"/>
              <a:t>9/9/23</a:t>
            </a:fld>
            <a:endParaRPr lang="en-US"/>
          </a:p>
        </p:txBody>
      </p:sp>
      <p:sp>
        <p:nvSpPr>
          <p:cNvPr id="5" name="Footer Placeholder 4">
            <a:extLst>
              <a:ext uri="{FF2B5EF4-FFF2-40B4-BE49-F238E27FC236}">
                <a16:creationId xmlns:a16="http://schemas.microsoft.com/office/drawing/2014/main" id="{06C5DBBC-A759-4D16-A360-A626B8D2DBF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F21E604-0EFE-4984-8461-FB304CD1DD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D40800-6613-40BF-9834-7D24CEC1F049}" type="slidenum">
              <a:rPr lang="en-US" smtClean="0"/>
              <a:t>‹#›</a:t>
            </a:fld>
            <a:endParaRPr lang="en-US"/>
          </a:p>
        </p:txBody>
      </p:sp>
    </p:spTree>
    <p:extLst>
      <p:ext uri="{BB962C8B-B14F-4D97-AF65-F5344CB8AC3E}">
        <p14:creationId xmlns:p14="http://schemas.microsoft.com/office/powerpoint/2010/main" val="57018499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9.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ustomXml" Target="../ink/ink132.xml"/><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601.png"/><Relationship Id="rId5" Type="http://schemas.openxmlformats.org/officeDocument/2006/relationships/customXml" Target="../ink/ink133.xml"/><Relationship Id="rId4" Type="http://schemas.openxmlformats.org/officeDocument/2006/relationships/image" Target="../media/image2591.pn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20.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21.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7.xml.rels><?xml version="1.0" encoding="UTF-8" standalone="yes"?>
<Relationships xmlns="http://schemas.openxmlformats.org/package/2006/relationships"><Relationship Id="rId13" Type="http://schemas.openxmlformats.org/officeDocument/2006/relationships/image" Target="../media/image1771.png"/><Relationship Id="rId18" Type="http://schemas.openxmlformats.org/officeDocument/2006/relationships/customXml" Target="../ink/ink140.xml"/><Relationship Id="rId26" Type="http://schemas.openxmlformats.org/officeDocument/2006/relationships/customXml" Target="../ink/ink144.xml"/><Relationship Id="rId39" Type="http://schemas.openxmlformats.org/officeDocument/2006/relationships/image" Target="../media/image1901.png"/><Relationship Id="rId21" Type="http://schemas.openxmlformats.org/officeDocument/2006/relationships/image" Target="../media/image1811.png"/><Relationship Id="rId34" Type="http://schemas.openxmlformats.org/officeDocument/2006/relationships/customXml" Target="../ink/ink148.xml"/><Relationship Id="rId42" Type="http://schemas.openxmlformats.org/officeDocument/2006/relationships/customXml" Target="../ink/ink152.xml"/><Relationship Id="rId47" Type="http://schemas.openxmlformats.org/officeDocument/2006/relationships/image" Target="../media/image1941.png"/><Relationship Id="rId7" Type="http://schemas.openxmlformats.org/officeDocument/2006/relationships/image" Target="../media/image1741.png"/><Relationship Id="rId2" Type="http://schemas.openxmlformats.org/officeDocument/2006/relationships/slideLayout" Target="../slideLayouts/slideLayout2.xml"/><Relationship Id="rId16" Type="http://schemas.openxmlformats.org/officeDocument/2006/relationships/customXml" Target="../ink/ink139.xml"/><Relationship Id="rId29" Type="http://schemas.openxmlformats.org/officeDocument/2006/relationships/image" Target="../media/image1851.png"/><Relationship Id="rId11" Type="http://schemas.openxmlformats.org/officeDocument/2006/relationships/image" Target="../media/image1761.png"/><Relationship Id="rId24" Type="http://schemas.openxmlformats.org/officeDocument/2006/relationships/customXml" Target="../ink/ink143.xml"/><Relationship Id="rId32" Type="http://schemas.openxmlformats.org/officeDocument/2006/relationships/customXml" Target="../ink/ink147.xml"/><Relationship Id="rId37" Type="http://schemas.openxmlformats.org/officeDocument/2006/relationships/image" Target="../media/image1891.png"/><Relationship Id="rId40" Type="http://schemas.openxmlformats.org/officeDocument/2006/relationships/customXml" Target="../ink/ink151.xml"/><Relationship Id="rId45" Type="http://schemas.openxmlformats.org/officeDocument/2006/relationships/image" Target="../media/image1931.png"/><Relationship Id="rId5" Type="http://schemas.openxmlformats.org/officeDocument/2006/relationships/image" Target="../media/image24.png"/><Relationship Id="rId15" Type="http://schemas.openxmlformats.org/officeDocument/2006/relationships/image" Target="../media/image1781.png"/><Relationship Id="rId23" Type="http://schemas.openxmlformats.org/officeDocument/2006/relationships/image" Target="../media/image1821.png"/><Relationship Id="rId28" Type="http://schemas.openxmlformats.org/officeDocument/2006/relationships/customXml" Target="../ink/ink145.xml"/><Relationship Id="rId36" Type="http://schemas.openxmlformats.org/officeDocument/2006/relationships/customXml" Target="../ink/ink149.xml"/><Relationship Id="rId49" Type="http://schemas.openxmlformats.org/officeDocument/2006/relationships/image" Target="../media/image1951.png"/><Relationship Id="rId10" Type="http://schemas.openxmlformats.org/officeDocument/2006/relationships/customXml" Target="../ink/ink136.xml"/><Relationship Id="rId19" Type="http://schemas.openxmlformats.org/officeDocument/2006/relationships/image" Target="../media/image1800.png"/><Relationship Id="rId31" Type="http://schemas.openxmlformats.org/officeDocument/2006/relationships/image" Target="../media/image1861.png"/><Relationship Id="rId44" Type="http://schemas.openxmlformats.org/officeDocument/2006/relationships/customXml" Target="../ink/ink153.xml"/><Relationship Id="rId4" Type="http://schemas.openxmlformats.org/officeDocument/2006/relationships/image" Target="../media/image1.emf"/><Relationship Id="rId9" Type="http://schemas.openxmlformats.org/officeDocument/2006/relationships/image" Target="../media/image1751.png"/><Relationship Id="rId14" Type="http://schemas.openxmlformats.org/officeDocument/2006/relationships/customXml" Target="../ink/ink138.xml"/><Relationship Id="rId22" Type="http://schemas.openxmlformats.org/officeDocument/2006/relationships/customXml" Target="../ink/ink142.xml"/><Relationship Id="rId27" Type="http://schemas.openxmlformats.org/officeDocument/2006/relationships/image" Target="../media/image1841.png"/><Relationship Id="rId30" Type="http://schemas.openxmlformats.org/officeDocument/2006/relationships/customXml" Target="../ink/ink146.xml"/><Relationship Id="rId35" Type="http://schemas.openxmlformats.org/officeDocument/2006/relationships/image" Target="../media/image1881.png"/><Relationship Id="rId43" Type="http://schemas.openxmlformats.org/officeDocument/2006/relationships/image" Target="../media/image1921.png"/><Relationship Id="rId48" Type="http://schemas.openxmlformats.org/officeDocument/2006/relationships/customXml" Target="../ink/ink155.xml"/><Relationship Id="rId8" Type="http://schemas.openxmlformats.org/officeDocument/2006/relationships/customXml" Target="../ink/ink135.xml"/><Relationship Id="rId3" Type="http://schemas.openxmlformats.org/officeDocument/2006/relationships/oleObject" Target="../embeddings/oleObject15.bin"/><Relationship Id="rId12" Type="http://schemas.openxmlformats.org/officeDocument/2006/relationships/customXml" Target="../ink/ink137.xml"/><Relationship Id="rId17" Type="http://schemas.openxmlformats.org/officeDocument/2006/relationships/image" Target="../media/image1791.png"/><Relationship Id="rId25" Type="http://schemas.openxmlformats.org/officeDocument/2006/relationships/image" Target="../media/image1831.png"/><Relationship Id="rId33" Type="http://schemas.openxmlformats.org/officeDocument/2006/relationships/image" Target="../media/image1871.png"/><Relationship Id="rId38" Type="http://schemas.openxmlformats.org/officeDocument/2006/relationships/customXml" Target="../ink/ink150.xml"/><Relationship Id="rId46" Type="http://schemas.openxmlformats.org/officeDocument/2006/relationships/customXml" Target="../ink/ink154.xml"/><Relationship Id="rId20" Type="http://schemas.openxmlformats.org/officeDocument/2006/relationships/customXml" Target="../ink/ink141.xml"/><Relationship Id="rId41" Type="http://schemas.openxmlformats.org/officeDocument/2006/relationships/image" Target="../media/image1912.png"/><Relationship Id="rId1" Type="http://schemas.openxmlformats.org/officeDocument/2006/relationships/tags" Target="../tags/tag16.xml"/><Relationship Id="rId6" Type="http://schemas.openxmlformats.org/officeDocument/2006/relationships/customXml" Target="../ink/ink13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25.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26.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117" Type="http://schemas.openxmlformats.org/officeDocument/2006/relationships/image" Target="../media/image840.png"/><Relationship Id="rId21" Type="http://schemas.openxmlformats.org/officeDocument/2006/relationships/image" Target="../media/image3600.png"/><Relationship Id="rId63" Type="http://schemas.openxmlformats.org/officeDocument/2006/relationships/image" Target="../media/image5700.png"/><Relationship Id="rId84" Type="http://schemas.openxmlformats.org/officeDocument/2006/relationships/customXml" Target="../ink/ink193.xml"/><Relationship Id="rId138" Type="http://schemas.openxmlformats.org/officeDocument/2006/relationships/customXml" Target="../ink/ink220.xml"/><Relationship Id="rId159" Type="http://schemas.openxmlformats.org/officeDocument/2006/relationships/image" Target="../media/image1050.png"/><Relationship Id="rId170" Type="http://schemas.openxmlformats.org/officeDocument/2006/relationships/customXml" Target="../ink/ink234.xml"/><Relationship Id="rId191" Type="http://schemas.openxmlformats.org/officeDocument/2006/relationships/image" Target="../media/image1210.png"/><Relationship Id="rId205" Type="http://schemas.openxmlformats.org/officeDocument/2006/relationships/image" Target="../media/image2021.png"/><Relationship Id="rId226" Type="http://schemas.openxmlformats.org/officeDocument/2006/relationships/customXml" Target="../ink/ink261.xml"/><Relationship Id="rId247" Type="http://schemas.openxmlformats.org/officeDocument/2006/relationships/image" Target="../media/image761.png"/><Relationship Id="rId107" Type="http://schemas.openxmlformats.org/officeDocument/2006/relationships/image" Target="../media/image790.png"/><Relationship Id="rId11" Type="http://schemas.openxmlformats.org/officeDocument/2006/relationships/image" Target="../media/image3100.png"/><Relationship Id="rId32" Type="http://schemas.openxmlformats.org/officeDocument/2006/relationships/customXml" Target="../ink/ink169.xml"/><Relationship Id="rId53" Type="http://schemas.openxmlformats.org/officeDocument/2006/relationships/image" Target="../media/image5200.png"/><Relationship Id="rId74" Type="http://schemas.openxmlformats.org/officeDocument/2006/relationships/customXml" Target="../ink/ink188.xml"/><Relationship Id="rId128" Type="http://schemas.openxmlformats.org/officeDocument/2006/relationships/customXml" Target="../ink/ink215.xml"/><Relationship Id="rId149" Type="http://schemas.openxmlformats.org/officeDocument/2006/relationships/image" Target="../media/image1000.png"/><Relationship Id="rId5" Type="http://schemas.openxmlformats.org/officeDocument/2006/relationships/image" Target="../media/image27.png"/><Relationship Id="rId95" Type="http://schemas.openxmlformats.org/officeDocument/2006/relationships/image" Target="../media/image7300.png"/><Relationship Id="rId160" Type="http://schemas.openxmlformats.org/officeDocument/2006/relationships/customXml" Target="../ink/ink229.xml"/><Relationship Id="rId181" Type="http://schemas.openxmlformats.org/officeDocument/2006/relationships/image" Target="../media/image1160.png"/><Relationship Id="rId216" Type="http://schemas.openxmlformats.org/officeDocument/2006/relationships/customXml" Target="../ink/ink256.xml"/><Relationship Id="rId237" Type="http://schemas.openxmlformats.org/officeDocument/2006/relationships/image" Target="../media/image1441.png"/><Relationship Id="rId22" Type="http://schemas.openxmlformats.org/officeDocument/2006/relationships/customXml" Target="../ink/ink164.xml"/><Relationship Id="rId43" Type="http://schemas.openxmlformats.org/officeDocument/2006/relationships/image" Target="../media/image4700.png"/><Relationship Id="rId64" Type="http://schemas.openxmlformats.org/officeDocument/2006/relationships/customXml" Target="../ink/ink183.xml"/><Relationship Id="rId118" Type="http://schemas.openxmlformats.org/officeDocument/2006/relationships/customXml" Target="../ink/ink210.xml"/><Relationship Id="rId139" Type="http://schemas.openxmlformats.org/officeDocument/2006/relationships/image" Target="../media/image950.png"/><Relationship Id="rId85" Type="http://schemas.openxmlformats.org/officeDocument/2006/relationships/image" Target="../media/image2001.png"/><Relationship Id="rId150" Type="http://schemas.openxmlformats.org/officeDocument/2006/relationships/customXml" Target="../ink/ink226.xml"/><Relationship Id="rId171" Type="http://schemas.openxmlformats.org/officeDocument/2006/relationships/image" Target="../media/image1110.png"/><Relationship Id="rId192" Type="http://schemas.openxmlformats.org/officeDocument/2006/relationships/customXml" Target="../ink/ink244.xml"/><Relationship Id="rId206" Type="http://schemas.openxmlformats.org/officeDocument/2006/relationships/customXml" Target="../ink/ink251.xml"/><Relationship Id="rId227" Type="http://schemas.openxmlformats.org/officeDocument/2006/relationships/image" Target="../media/image1390.png"/><Relationship Id="rId248" Type="http://schemas.openxmlformats.org/officeDocument/2006/relationships/customXml" Target="../ink/ink271.xml"/><Relationship Id="rId12" Type="http://schemas.openxmlformats.org/officeDocument/2006/relationships/customXml" Target="../ink/ink159.xml"/><Relationship Id="rId33" Type="http://schemas.openxmlformats.org/officeDocument/2006/relationships/image" Target="../media/image4200.png"/><Relationship Id="rId108" Type="http://schemas.openxmlformats.org/officeDocument/2006/relationships/customXml" Target="../ink/ink205.xml"/><Relationship Id="rId129" Type="http://schemas.openxmlformats.org/officeDocument/2006/relationships/image" Target="../media/image900.png"/><Relationship Id="rId54" Type="http://schemas.openxmlformats.org/officeDocument/2006/relationships/customXml" Target="../ink/ink178.xml"/><Relationship Id="rId75" Type="http://schemas.openxmlformats.org/officeDocument/2006/relationships/image" Target="../media/image6300.png"/><Relationship Id="rId96" Type="http://schemas.openxmlformats.org/officeDocument/2006/relationships/customXml" Target="../ink/ink199.xml"/><Relationship Id="rId140" Type="http://schemas.openxmlformats.org/officeDocument/2006/relationships/customXml" Target="../ink/ink221.xml"/><Relationship Id="rId161" Type="http://schemas.openxmlformats.org/officeDocument/2006/relationships/image" Target="../media/image1060.png"/><Relationship Id="rId182" Type="http://schemas.openxmlformats.org/officeDocument/2006/relationships/customXml" Target="../ink/ink239.xml"/><Relationship Id="rId217" Type="http://schemas.openxmlformats.org/officeDocument/2006/relationships/image" Target="../media/image1340.png"/><Relationship Id="rId6" Type="http://schemas.openxmlformats.org/officeDocument/2006/relationships/customXml" Target="../ink/ink156.xml"/><Relationship Id="rId238" Type="http://schemas.openxmlformats.org/officeDocument/2006/relationships/customXml" Target="../ink/ink266.xml"/><Relationship Id="rId23" Type="http://schemas.openxmlformats.org/officeDocument/2006/relationships/image" Target="../media/image3700.png"/><Relationship Id="rId119" Type="http://schemas.openxmlformats.org/officeDocument/2006/relationships/image" Target="../media/image850.png"/><Relationship Id="rId44" Type="http://schemas.openxmlformats.org/officeDocument/2006/relationships/customXml" Target="../ink/ink173.xml"/><Relationship Id="rId65" Type="http://schemas.openxmlformats.org/officeDocument/2006/relationships/image" Target="../media/image5800.png"/><Relationship Id="rId86" Type="http://schemas.openxmlformats.org/officeDocument/2006/relationships/customXml" Target="../ink/ink194.xml"/><Relationship Id="rId130" Type="http://schemas.openxmlformats.org/officeDocument/2006/relationships/customXml" Target="../ink/ink216.xml"/><Relationship Id="rId172" Type="http://schemas.openxmlformats.org/officeDocument/2006/relationships/customXml" Target="../ink/ink235.xml"/><Relationship Id="rId193" Type="http://schemas.openxmlformats.org/officeDocument/2006/relationships/image" Target="../media/image1220.png"/><Relationship Id="rId207" Type="http://schemas.openxmlformats.org/officeDocument/2006/relationships/image" Target="../media/image1290.png"/><Relationship Id="rId228" Type="http://schemas.openxmlformats.org/officeDocument/2006/relationships/customXml" Target="../ink/ink262.xml"/><Relationship Id="rId249" Type="http://schemas.openxmlformats.org/officeDocument/2006/relationships/image" Target="../media/image762.png"/><Relationship Id="rId13" Type="http://schemas.openxmlformats.org/officeDocument/2006/relationships/image" Target="../media/image3200.png"/><Relationship Id="rId109" Type="http://schemas.openxmlformats.org/officeDocument/2006/relationships/image" Target="../media/image800.png"/><Relationship Id="rId34" Type="http://schemas.openxmlformats.org/officeDocument/2006/relationships/customXml" Target="../ink/ink170.xml"/><Relationship Id="rId55" Type="http://schemas.openxmlformats.org/officeDocument/2006/relationships/image" Target="../media/image5300.png"/><Relationship Id="rId76" Type="http://schemas.openxmlformats.org/officeDocument/2006/relationships/customXml" Target="../ink/ink189.xml"/><Relationship Id="rId97" Type="http://schemas.openxmlformats.org/officeDocument/2006/relationships/image" Target="../media/image7400.png"/><Relationship Id="rId120" Type="http://schemas.openxmlformats.org/officeDocument/2006/relationships/customXml" Target="../ink/ink211.xml"/><Relationship Id="rId141" Type="http://schemas.openxmlformats.org/officeDocument/2006/relationships/image" Target="../media/image960.png"/><Relationship Id="rId7" Type="http://schemas.openxmlformats.org/officeDocument/2006/relationships/image" Target="../media/image2900.png"/><Relationship Id="rId162" Type="http://schemas.openxmlformats.org/officeDocument/2006/relationships/customXml" Target="../ink/ink230.xml"/><Relationship Id="rId183" Type="http://schemas.openxmlformats.org/officeDocument/2006/relationships/image" Target="../media/image1170.png"/><Relationship Id="rId218" Type="http://schemas.openxmlformats.org/officeDocument/2006/relationships/customXml" Target="../ink/ink257.xml"/><Relationship Id="rId239" Type="http://schemas.openxmlformats.org/officeDocument/2006/relationships/image" Target="../media/image4880.png"/><Relationship Id="rId250" Type="http://schemas.openxmlformats.org/officeDocument/2006/relationships/customXml" Target="../ink/ink272.xml"/><Relationship Id="rId24" Type="http://schemas.openxmlformats.org/officeDocument/2006/relationships/customXml" Target="../ink/ink165.xml"/><Relationship Id="rId45" Type="http://schemas.openxmlformats.org/officeDocument/2006/relationships/image" Target="../media/image4800.png"/><Relationship Id="rId66" Type="http://schemas.openxmlformats.org/officeDocument/2006/relationships/customXml" Target="../ink/ink184.xml"/><Relationship Id="rId87" Type="http://schemas.openxmlformats.org/officeDocument/2006/relationships/image" Target="../media/image6900.png"/><Relationship Id="rId110" Type="http://schemas.openxmlformats.org/officeDocument/2006/relationships/customXml" Target="../ink/ink206.xml"/><Relationship Id="rId131" Type="http://schemas.openxmlformats.org/officeDocument/2006/relationships/image" Target="../media/image910.png"/><Relationship Id="rId173" Type="http://schemas.openxmlformats.org/officeDocument/2006/relationships/image" Target="../media/image1120.png"/><Relationship Id="rId194" Type="http://schemas.openxmlformats.org/officeDocument/2006/relationships/customXml" Target="../ink/ink245.xml"/><Relationship Id="rId208" Type="http://schemas.openxmlformats.org/officeDocument/2006/relationships/customXml" Target="../ink/ink252.xml"/><Relationship Id="rId229" Type="http://schemas.openxmlformats.org/officeDocument/2006/relationships/image" Target="../media/image1400.png"/><Relationship Id="rId240" Type="http://schemas.openxmlformats.org/officeDocument/2006/relationships/customXml" Target="../ink/ink267.xml"/><Relationship Id="rId14" Type="http://schemas.openxmlformats.org/officeDocument/2006/relationships/customXml" Target="../ink/ink160.xml"/><Relationship Id="rId35" Type="http://schemas.openxmlformats.org/officeDocument/2006/relationships/image" Target="../media/image4300.png"/><Relationship Id="rId56" Type="http://schemas.openxmlformats.org/officeDocument/2006/relationships/customXml" Target="../ink/ink179.xml"/><Relationship Id="rId77" Type="http://schemas.openxmlformats.org/officeDocument/2006/relationships/image" Target="../media/image6400.png"/><Relationship Id="rId100" Type="http://schemas.openxmlformats.org/officeDocument/2006/relationships/customXml" Target="../ink/ink201.xml"/><Relationship Id="rId8" Type="http://schemas.openxmlformats.org/officeDocument/2006/relationships/customXml" Target="../ink/ink157.xml"/><Relationship Id="rId98" Type="http://schemas.openxmlformats.org/officeDocument/2006/relationships/customXml" Target="../ink/ink200.xml"/><Relationship Id="rId121" Type="http://schemas.openxmlformats.org/officeDocument/2006/relationships/image" Target="../media/image860.png"/><Relationship Id="rId142" Type="http://schemas.openxmlformats.org/officeDocument/2006/relationships/customXml" Target="../ink/ink222.xml"/><Relationship Id="rId163" Type="http://schemas.openxmlformats.org/officeDocument/2006/relationships/image" Target="../media/image1070.png"/><Relationship Id="rId184" Type="http://schemas.openxmlformats.org/officeDocument/2006/relationships/customXml" Target="../ink/ink240.xml"/><Relationship Id="rId219" Type="http://schemas.openxmlformats.org/officeDocument/2006/relationships/image" Target="../media/image1350.png"/><Relationship Id="rId230" Type="http://schemas.openxmlformats.org/officeDocument/2006/relationships/customXml" Target="../ink/ink263.xml"/><Relationship Id="rId251" Type="http://schemas.openxmlformats.org/officeDocument/2006/relationships/image" Target="../media/image763.png"/><Relationship Id="rId25" Type="http://schemas.openxmlformats.org/officeDocument/2006/relationships/image" Target="../media/image3800.png"/><Relationship Id="rId46" Type="http://schemas.openxmlformats.org/officeDocument/2006/relationships/customXml" Target="../ink/ink174.xml"/><Relationship Id="rId67" Type="http://schemas.openxmlformats.org/officeDocument/2006/relationships/image" Target="../media/image5900.png"/><Relationship Id="rId88" Type="http://schemas.openxmlformats.org/officeDocument/2006/relationships/customXml" Target="../ink/ink195.xml"/><Relationship Id="rId111" Type="http://schemas.openxmlformats.org/officeDocument/2006/relationships/image" Target="../media/image810.png"/><Relationship Id="rId132" Type="http://schemas.openxmlformats.org/officeDocument/2006/relationships/customXml" Target="../ink/ink217.xml"/><Relationship Id="rId174" Type="http://schemas.openxmlformats.org/officeDocument/2006/relationships/customXml" Target="../ink/ink236.xml"/><Relationship Id="rId195" Type="http://schemas.openxmlformats.org/officeDocument/2006/relationships/image" Target="../media/image1230.png"/><Relationship Id="rId209" Type="http://schemas.openxmlformats.org/officeDocument/2006/relationships/image" Target="../media/image1300.png"/><Relationship Id="rId220" Type="http://schemas.openxmlformats.org/officeDocument/2006/relationships/customXml" Target="../ink/ink258.xml"/><Relationship Id="rId241" Type="http://schemas.openxmlformats.org/officeDocument/2006/relationships/image" Target="../media/image4890.png"/><Relationship Id="rId15" Type="http://schemas.openxmlformats.org/officeDocument/2006/relationships/image" Target="../media/image3300.png"/><Relationship Id="rId36" Type="http://schemas.openxmlformats.org/officeDocument/2006/relationships/customXml" Target="../ink/ink171.xml"/><Relationship Id="rId57" Type="http://schemas.openxmlformats.org/officeDocument/2006/relationships/image" Target="../media/image5400.png"/><Relationship Id="rId106" Type="http://schemas.openxmlformats.org/officeDocument/2006/relationships/customXml" Target="../ink/ink204.xml"/><Relationship Id="rId127" Type="http://schemas.openxmlformats.org/officeDocument/2006/relationships/image" Target="../media/image890.png"/><Relationship Id="rId10" Type="http://schemas.openxmlformats.org/officeDocument/2006/relationships/customXml" Target="../ink/ink158.xml"/><Relationship Id="rId31" Type="http://schemas.openxmlformats.org/officeDocument/2006/relationships/image" Target="../media/image4100.png"/><Relationship Id="rId52" Type="http://schemas.openxmlformats.org/officeDocument/2006/relationships/customXml" Target="../ink/ink177.xml"/><Relationship Id="rId73" Type="http://schemas.openxmlformats.org/officeDocument/2006/relationships/image" Target="../media/image6200.png"/><Relationship Id="rId78" Type="http://schemas.openxmlformats.org/officeDocument/2006/relationships/customXml" Target="../ink/ink190.xml"/><Relationship Id="rId94" Type="http://schemas.openxmlformats.org/officeDocument/2006/relationships/customXml" Target="../ink/ink198.xml"/><Relationship Id="rId99" Type="http://schemas.openxmlformats.org/officeDocument/2006/relationships/image" Target="../media/image7500.png"/><Relationship Id="rId101" Type="http://schemas.openxmlformats.org/officeDocument/2006/relationships/image" Target="../media/image7600.png"/><Relationship Id="rId122" Type="http://schemas.openxmlformats.org/officeDocument/2006/relationships/customXml" Target="../ink/ink212.xml"/><Relationship Id="rId143" Type="http://schemas.openxmlformats.org/officeDocument/2006/relationships/image" Target="../media/image970.png"/><Relationship Id="rId148" Type="http://schemas.openxmlformats.org/officeDocument/2006/relationships/customXml" Target="../ink/ink225.xml"/><Relationship Id="rId164" Type="http://schemas.openxmlformats.org/officeDocument/2006/relationships/customXml" Target="../ink/ink231.xml"/><Relationship Id="rId169" Type="http://schemas.openxmlformats.org/officeDocument/2006/relationships/image" Target="../media/image1100.png"/><Relationship Id="rId185" Type="http://schemas.openxmlformats.org/officeDocument/2006/relationships/image" Target="../media/image1180.png"/><Relationship Id="rId4" Type="http://schemas.openxmlformats.org/officeDocument/2006/relationships/image" Target="../media/image1.emf"/><Relationship Id="rId9" Type="http://schemas.openxmlformats.org/officeDocument/2006/relationships/image" Target="../media/image3000.png"/><Relationship Id="rId180" Type="http://schemas.openxmlformats.org/officeDocument/2006/relationships/customXml" Target="../ink/ink238.xml"/><Relationship Id="rId210" Type="http://schemas.openxmlformats.org/officeDocument/2006/relationships/customXml" Target="../ink/ink253.xml"/><Relationship Id="rId215" Type="http://schemas.openxmlformats.org/officeDocument/2006/relationships/image" Target="../media/image1330.png"/><Relationship Id="rId26" Type="http://schemas.openxmlformats.org/officeDocument/2006/relationships/customXml" Target="../ink/ink166.xml"/><Relationship Id="rId231" Type="http://schemas.openxmlformats.org/officeDocument/2006/relationships/image" Target="../media/image1411.png"/><Relationship Id="rId252" Type="http://schemas.openxmlformats.org/officeDocument/2006/relationships/customXml" Target="../ink/ink273.xml"/><Relationship Id="rId47" Type="http://schemas.openxmlformats.org/officeDocument/2006/relationships/image" Target="../media/image4900.png"/><Relationship Id="rId68" Type="http://schemas.openxmlformats.org/officeDocument/2006/relationships/customXml" Target="../ink/ink185.xml"/><Relationship Id="rId89" Type="http://schemas.openxmlformats.org/officeDocument/2006/relationships/image" Target="../media/image7000.png"/><Relationship Id="rId112" Type="http://schemas.openxmlformats.org/officeDocument/2006/relationships/customXml" Target="../ink/ink207.xml"/><Relationship Id="rId133" Type="http://schemas.openxmlformats.org/officeDocument/2006/relationships/image" Target="../media/image920.png"/><Relationship Id="rId175" Type="http://schemas.openxmlformats.org/officeDocument/2006/relationships/image" Target="../media/image1130.png"/><Relationship Id="rId196" Type="http://schemas.openxmlformats.org/officeDocument/2006/relationships/customXml" Target="../ink/ink246.xml"/><Relationship Id="rId200" Type="http://schemas.openxmlformats.org/officeDocument/2006/relationships/customXml" Target="../ink/ink248.xml"/><Relationship Id="rId16" Type="http://schemas.openxmlformats.org/officeDocument/2006/relationships/customXml" Target="../ink/ink161.xml"/><Relationship Id="rId221" Type="http://schemas.openxmlformats.org/officeDocument/2006/relationships/image" Target="../media/image1360.png"/><Relationship Id="rId242" Type="http://schemas.openxmlformats.org/officeDocument/2006/relationships/customXml" Target="../ink/ink268.xml"/><Relationship Id="rId37" Type="http://schemas.openxmlformats.org/officeDocument/2006/relationships/image" Target="../media/image4870.png"/><Relationship Id="rId58" Type="http://schemas.openxmlformats.org/officeDocument/2006/relationships/customXml" Target="../ink/ink180.xml"/><Relationship Id="rId79" Type="http://schemas.openxmlformats.org/officeDocument/2006/relationships/image" Target="../media/image6500.png"/><Relationship Id="rId102" Type="http://schemas.openxmlformats.org/officeDocument/2006/relationships/customXml" Target="../ink/ink202.xml"/><Relationship Id="rId123" Type="http://schemas.openxmlformats.org/officeDocument/2006/relationships/image" Target="../media/image870.png"/><Relationship Id="rId144" Type="http://schemas.openxmlformats.org/officeDocument/2006/relationships/customXml" Target="../ink/ink223.xml"/><Relationship Id="rId90" Type="http://schemas.openxmlformats.org/officeDocument/2006/relationships/customXml" Target="../ink/ink196.xml"/><Relationship Id="rId165" Type="http://schemas.openxmlformats.org/officeDocument/2006/relationships/image" Target="../media/image1080.png"/><Relationship Id="rId186" Type="http://schemas.openxmlformats.org/officeDocument/2006/relationships/customXml" Target="../ink/ink241.xml"/><Relationship Id="rId211" Type="http://schemas.openxmlformats.org/officeDocument/2006/relationships/image" Target="../media/image1310.png"/><Relationship Id="rId232" Type="http://schemas.openxmlformats.org/officeDocument/2006/relationships/customXml" Target="../ink/ink264.xml"/><Relationship Id="rId253" Type="http://schemas.openxmlformats.org/officeDocument/2006/relationships/image" Target="../media/image764.png"/><Relationship Id="rId27" Type="http://schemas.openxmlformats.org/officeDocument/2006/relationships/image" Target="../media/image3900.png"/><Relationship Id="rId48" Type="http://schemas.openxmlformats.org/officeDocument/2006/relationships/customXml" Target="../ink/ink175.xml"/><Relationship Id="rId69" Type="http://schemas.openxmlformats.org/officeDocument/2006/relationships/image" Target="../media/image6000.png"/><Relationship Id="rId113" Type="http://schemas.openxmlformats.org/officeDocument/2006/relationships/image" Target="../media/image820.png"/><Relationship Id="rId134" Type="http://schemas.openxmlformats.org/officeDocument/2006/relationships/customXml" Target="../ink/ink218.xml"/><Relationship Id="rId80" Type="http://schemas.openxmlformats.org/officeDocument/2006/relationships/customXml" Target="../ink/ink191.xml"/><Relationship Id="rId155" Type="http://schemas.openxmlformats.org/officeDocument/2006/relationships/image" Target="../media/image1030.png"/><Relationship Id="rId176" Type="http://schemas.openxmlformats.org/officeDocument/2006/relationships/customXml" Target="../ink/ink237.xml"/><Relationship Id="rId197" Type="http://schemas.openxmlformats.org/officeDocument/2006/relationships/image" Target="../media/image1240.png"/><Relationship Id="rId201" Type="http://schemas.openxmlformats.org/officeDocument/2006/relationships/image" Target="../media/image1260.png"/><Relationship Id="rId222" Type="http://schemas.openxmlformats.org/officeDocument/2006/relationships/customXml" Target="../ink/ink259.xml"/><Relationship Id="rId243" Type="http://schemas.openxmlformats.org/officeDocument/2006/relationships/image" Target="../media/image4911.png"/><Relationship Id="rId17" Type="http://schemas.openxmlformats.org/officeDocument/2006/relationships/image" Target="../media/image3400.png"/><Relationship Id="rId38" Type="http://schemas.openxmlformats.org/officeDocument/2006/relationships/customXml" Target="../ink/ink172.xml"/><Relationship Id="rId59" Type="http://schemas.openxmlformats.org/officeDocument/2006/relationships/image" Target="../media/image5500.png"/><Relationship Id="rId103" Type="http://schemas.openxmlformats.org/officeDocument/2006/relationships/image" Target="../media/image770.png"/><Relationship Id="rId124" Type="http://schemas.openxmlformats.org/officeDocument/2006/relationships/customXml" Target="../ink/ink213.xml"/><Relationship Id="rId70" Type="http://schemas.openxmlformats.org/officeDocument/2006/relationships/customXml" Target="../ink/ink186.xml"/><Relationship Id="rId91" Type="http://schemas.openxmlformats.org/officeDocument/2006/relationships/image" Target="../media/image2012.png"/><Relationship Id="rId145" Type="http://schemas.openxmlformats.org/officeDocument/2006/relationships/image" Target="../media/image980.png"/><Relationship Id="rId166" Type="http://schemas.openxmlformats.org/officeDocument/2006/relationships/customXml" Target="../ink/ink232.xml"/><Relationship Id="rId187" Type="http://schemas.openxmlformats.org/officeDocument/2006/relationships/image" Target="../media/image1190.png"/><Relationship Id="rId1" Type="http://schemas.openxmlformats.org/officeDocument/2006/relationships/tags" Target="../tags/tag20.xml"/><Relationship Id="rId212" Type="http://schemas.openxmlformats.org/officeDocument/2006/relationships/customXml" Target="../ink/ink254.xml"/><Relationship Id="rId233" Type="http://schemas.openxmlformats.org/officeDocument/2006/relationships/image" Target="../media/image1420.png"/><Relationship Id="rId254" Type="http://schemas.openxmlformats.org/officeDocument/2006/relationships/customXml" Target="../ink/ink274.xml"/><Relationship Id="rId28" Type="http://schemas.openxmlformats.org/officeDocument/2006/relationships/customXml" Target="../ink/ink167.xml"/><Relationship Id="rId49" Type="http://schemas.openxmlformats.org/officeDocument/2006/relationships/image" Target="../media/image5000.png"/><Relationship Id="rId114" Type="http://schemas.openxmlformats.org/officeDocument/2006/relationships/customXml" Target="../ink/ink208.xml"/><Relationship Id="rId60" Type="http://schemas.openxmlformats.org/officeDocument/2006/relationships/customXml" Target="../ink/ink181.xml"/><Relationship Id="rId81" Type="http://schemas.openxmlformats.org/officeDocument/2006/relationships/image" Target="../media/image6600.png"/><Relationship Id="rId135" Type="http://schemas.openxmlformats.org/officeDocument/2006/relationships/image" Target="../media/image930.png"/><Relationship Id="rId156" Type="http://schemas.openxmlformats.org/officeDocument/2006/relationships/customXml" Target="../ink/ink227.xml"/><Relationship Id="rId198" Type="http://schemas.openxmlformats.org/officeDocument/2006/relationships/customXml" Target="../ink/ink247.xml"/><Relationship Id="rId202" Type="http://schemas.openxmlformats.org/officeDocument/2006/relationships/customXml" Target="../ink/ink249.xml"/><Relationship Id="rId223" Type="http://schemas.openxmlformats.org/officeDocument/2006/relationships/image" Target="../media/image1370.png"/><Relationship Id="rId244" Type="http://schemas.openxmlformats.org/officeDocument/2006/relationships/customXml" Target="../ink/ink269.xml"/><Relationship Id="rId18" Type="http://schemas.openxmlformats.org/officeDocument/2006/relationships/customXml" Target="../ink/ink162.xml"/><Relationship Id="rId50" Type="http://schemas.openxmlformats.org/officeDocument/2006/relationships/customXml" Target="../ink/ink176.xml"/><Relationship Id="rId104" Type="http://schemas.openxmlformats.org/officeDocument/2006/relationships/customXml" Target="../ink/ink203.xml"/><Relationship Id="rId125" Type="http://schemas.openxmlformats.org/officeDocument/2006/relationships/image" Target="../media/image880.png"/><Relationship Id="rId146" Type="http://schemas.openxmlformats.org/officeDocument/2006/relationships/customXml" Target="../ink/ink224.xml"/><Relationship Id="rId167" Type="http://schemas.openxmlformats.org/officeDocument/2006/relationships/image" Target="../media/image1090.png"/><Relationship Id="rId188" Type="http://schemas.openxmlformats.org/officeDocument/2006/relationships/customXml" Target="../ink/ink242.xml"/><Relationship Id="rId71" Type="http://schemas.openxmlformats.org/officeDocument/2006/relationships/image" Target="../media/image6110.png"/><Relationship Id="rId92" Type="http://schemas.openxmlformats.org/officeDocument/2006/relationships/customXml" Target="../ink/ink197.xml"/><Relationship Id="rId213" Type="http://schemas.openxmlformats.org/officeDocument/2006/relationships/image" Target="../media/image1320.png"/><Relationship Id="rId234" Type="http://schemas.openxmlformats.org/officeDocument/2006/relationships/customXml" Target="../ink/ink265.xml"/><Relationship Id="rId2" Type="http://schemas.openxmlformats.org/officeDocument/2006/relationships/slideLayout" Target="../slideLayouts/slideLayout2.xml"/><Relationship Id="rId29" Type="http://schemas.openxmlformats.org/officeDocument/2006/relationships/image" Target="../media/image4000.png"/><Relationship Id="rId255" Type="http://schemas.openxmlformats.org/officeDocument/2006/relationships/image" Target="../media/image765.png"/><Relationship Id="rId115" Type="http://schemas.openxmlformats.org/officeDocument/2006/relationships/image" Target="../media/image830.png"/><Relationship Id="rId136" Type="http://schemas.openxmlformats.org/officeDocument/2006/relationships/customXml" Target="../ink/ink219.xml"/><Relationship Id="rId157" Type="http://schemas.openxmlformats.org/officeDocument/2006/relationships/image" Target="../media/image1040.png"/><Relationship Id="rId61" Type="http://schemas.openxmlformats.org/officeDocument/2006/relationships/image" Target="../media/image5600.png"/><Relationship Id="rId82" Type="http://schemas.openxmlformats.org/officeDocument/2006/relationships/customXml" Target="../ink/ink192.xml"/><Relationship Id="rId199" Type="http://schemas.openxmlformats.org/officeDocument/2006/relationships/image" Target="../media/image1250.png"/><Relationship Id="rId203" Type="http://schemas.openxmlformats.org/officeDocument/2006/relationships/image" Target="../media/image1270.png"/><Relationship Id="rId19" Type="http://schemas.openxmlformats.org/officeDocument/2006/relationships/image" Target="../media/image3500.png"/><Relationship Id="rId224" Type="http://schemas.openxmlformats.org/officeDocument/2006/relationships/customXml" Target="../ink/ink260.xml"/><Relationship Id="rId245" Type="http://schemas.openxmlformats.org/officeDocument/2006/relationships/image" Target="../media/image4920.png"/><Relationship Id="rId30" Type="http://schemas.openxmlformats.org/officeDocument/2006/relationships/customXml" Target="../ink/ink168.xml"/><Relationship Id="rId105" Type="http://schemas.openxmlformats.org/officeDocument/2006/relationships/image" Target="../media/image780.png"/><Relationship Id="rId126" Type="http://schemas.openxmlformats.org/officeDocument/2006/relationships/customXml" Target="../ink/ink214.xml"/><Relationship Id="rId147" Type="http://schemas.openxmlformats.org/officeDocument/2006/relationships/image" Target="../media/image990.png"/><Relationship Id="rId168" Type="http://schemas.openxmlformats.org/officeDocument/2006/relationships/customXml" Target="../ink/ink233.xml"/><Relationship Id="rId51" Type="http://schemas.openxmlformats.org/officeDocument/2006/relationships/image" Target="../media/image5100.png"/><Relationship Id="rId72" Type="http://schemas.openxmlformats.org/officeDocument/2006/relationships/customXml" Target="../ink/ink187.xml"/><Relationship Id="rId93" Type="http://schemas.openxmlformats.org/officeDocument/2006/relationships/image" Target="../media/image7200.png"/><Relationship Id="rId189" Type="http://schemas.openxmlformats.org/officeDocument/2006/relationships/image" Target="../media/image1200.png"/><Relationship Id="rId3" Type="http://schemas.openxmlformats.org/officeDocument/2006/relationships/oleObject" Target="../embeddings/oleObject19.bin"/><Relationship Id="rId214" Type="http://schemas.openxmlformats.org/officeDocument/2006/relationships/customXml" Target="../ink/ink255.xml"/><Relationship Id="rId116" Type="http://schemas.openxmlformats.org/officeDocument/2006/relationships/customXml" Target="../ink/ink209.xml"/><Relationship Id="rId137" Type="http://schemas.openxmlformats.org/officeDocument/2006/relationships/image" Target="../media/image940.png"/><Relationship Id="rId158" Type="http://schemas.openxmlformats.org/officeDocument/2006/relationships/customXml" Target="../ink/ink228.xml"/><Relationship Id="rId20" Type="http://schemas.openxmlformats.org/officeDocument/2006/relationships/customXml" Target="../ink/ink163.xml"/><Relationship Id="rId62" Type="http://schemas.openxmlformats.org/officeDocument/2006/relationships/customXml" Target="../ink/ink182.xml"/><Relationship Id="rId83" Type="http://schemas.openxmlformats.org/officeDocument/2006/relationships/image" Target="../media/image6700.png"/><Relationship Id="rId179" Type="http://schemas.openxmlformats.org/officeDocument/2006/relationships/image" Target="../media/image1150.png"/><Relationship Id="rId190" Type="http://schemas.openxmlformats.org/officeDocument/2006/relationships/customXml" Target="../ink/ink243.xml"/><Relationship Id="rId204" Type="http://schemas.openxmlformats.org/officeDocument/2006/relationships/customXml" Target="../ink/ink250.xml"/><Relationship Id="rId225" Type="http://schemas.openxmlformats.org/officeDocument/2006/relationships/image" Target="../media/image1380.png"/><Relationship Id="rId246" Type="http://schemas.openxmlformats.org/officeDocument/2006/relationships/customXml" Target="../ink/ink270.xml"/></Relationships>
</file>

<file path=ppt/slides/_rels/slide22.xml.rels><?xml version="1.0" encoding="UTF-8" standalone="yes"?>
<Relationships xmlns="http://schemas.openxmlformats.org/package/2006/relationships"><Relationship Id="rId26" Type="http://schemas.openxmlformats.org/officeDocument/2006/relationships/customXml" Target="../ink/ink285.xml"/><Relationship Id="rId21" Type="http://schemas.openxmlformats.org/officeDocument/2006/relationships/image" Target="../media/image1510.png"/><Relationship Id="rId42" Type="http://schemas.openxmlformats.org/officeDocument/2006/relationships/customXml" Target="../ink/ink293.xml"/><Relationship Id="rId47" Type="http://schemas.openxmlformats.org/officeDocument/2006/relationships/image" Target="../media/image1640.png"/><Relationship Id="rId63" Type="http://schemas.openxmlformats.org/officeDocument/2006/relationships/image" Target="../media/image1720.png"/><Relationship Id="rId68" Type="http://schemas.openxmlformats.org/officeDocument/2006/relationships/customXml" Target="../ink/ink306.xml"/><Relationship Id="rId16" Type="http://schemas.openxmlformats.org/officeDocument/2006/relationships/customXml" Target="../ink/ink280.xml"/><Relationship Id="rId11" Type="http://schemas.openxmlformats.org/officeDocument/2006/relationships/image" Target="../media/image1460.png"/><Relationship Id="rId32" Type="http://schemas.openxmlformats.org/officeDocument/2006/relationships/customXml" Target="../ink/ink288.xml"/><Relationship Id="rId37" Type="http://schemas.openxmlformats.org/officeDocument/2006/relationships/image" Target="../media/image1590.png"/><Relationship Id="rId53" Type="http://schemas.openxmlformats.org/officeDocument/2006/relationships/image" Target="../media/image1670.png"/><Relationship Id="rId58" Type="http://schemas.openxmlformats.org/officeDocument/2006/relationships/customXml" Target="../ink/ink301.xml"/><Relationship Id="rId74" Type="http://schemas.openxmlformats.org/officeDocument/2006/relationships/customXml" Target="../ink/ink309.xml"/><Relationship Id="rId79" Type="http://schemas.openxmlformats.org/officeDocument/2006/relationships/image" Target="../media/image2701.png"/><Relationship Id="rId5" Type="http://schemas.openxmlformats.org/officeDocument/2006/relationships/image" Target="../media/image28.png"/><Relationship Id="rId61" Type="http://schemas.openxmlformats.org/officeDocument/2006/relationships/image" Target="../media/image1711.png"/><Relationship Id="rId82" Type="http://schemas.openxmlformats.org/officeDocument/2006/relationships/customXml" Target="../ink/ink313.xml"/><Relationship Id="rId19" Type="http://schemas.openxmlformats.org/officeDocument/2006/relationships/image" Target="../media/image1500.png"/><Relationship Id="rId14" Type="http://schemas.openxmlformats.org/officeDocument/2006/relationships/customXml" Target="../ink/ink279.xml"/><Relationship Id="rId22" Type="http://schemas.openxmlformats.org/officeDocument/2006/relationships/customXml" Target="../ink/ink283.xml"/><Relationship Id="rId27" Type="http://schemas.openxmlformats.org/officeDocument/2006/relationships/image" Target="../media/image1540.png"/><Relationship Id="rId30" Type="http://schemas.openxmlformats.org/officeDocument/2006/relationships/customXml" Target="../ink/ink287.xml"/><Relationship Id="rId35" Type="http://schemas.openxmlformats.org/officeDocument/2006/relationships/image" Target="../media/image1580.png"/><Relationship Id="rId43" Type="http://schemas.openxmlformats.org/officeDocument/2006/relationships/image" Target="../media/image1620.png"/><Relationship Id="rId48" Type="http://schemas.openxmlformats.org/officeDocument/2006/relationships/customXml" Target="../ink/ink296.xml"/><Relationship Id="rId56" Type="http://schemas.openxmlformats.org/officeDocument/2006/relationships/customXml" Target="../ink/ink300.xml"/><Relationship Id="rId64" Type="http://schemas.openxmlformats.org/officeDocument/2006/relationships/customXml" Target="../ink/ink304.xml"/><Relationship Id="rId69" Type="http://schemas.openxmlformats.org/officeDocument/2006/relationships/image" Target="../media/image1750.png"/><Relationship Id="rId77" Type="http://schemas.openxmlformats.org/officeDocument/2006/relationships/image" Target="../media/image1790.png"/><Relationship Id="rId8" Type="http://schemas.openxmlformats.org/officeDocument/2006/relationships/customXml" Target="../ink/ink276.xml"/><Relationship Id="rId51" Type="http://schemas.openxmlformats.org/officeDocument/2006/relationships/image" Target="../media/image1660.png"/><Relationship Id="rId72" Type="http://schemas.openxmlformats.org/officeDocument/2006/relationships/customXml" Target="../ink/ink308.xml"/><Relationship Id="rId80" Type="http://schemas.openxmlformats.org/officeDocument/2006/relationships/customXml" Target="../ink/ink312.xml"/><Relationship Id="rId3" Type="http://schemas.openxmlformats.org/officeDocument/2006/relationships/oleObject" Target="../embeddings/oleObject20.bin"/><Relationship Id="rId12" Type="http://schemas.openxmlformats.org/officeDocument/2006/relationships/customXml" Target="../ink/ink278.xml"/><Relationship Id="rId17" Type="http://schemas.openxmlformats.org/officeDocument/2006/relationships/image" Target="../media/image1490.png"/><Relationship Id="rId25" Type="http://schemas.openxmlformats.org/officeDocument/2006/relationships/image" Target="../media/image1530.png"/><Relationship Id="rId33" Type="http://schemas.openxmlformats.org/officeDocument/2006/relationships/image" Target="../media/image1570.png"/><Relationship Id="rId38" Type="http://schemas.openxmlformats.org/officeDocument/2006/relationships/customXml" Target="../ink/ink291.xml"/><Relationship Id="rId46" Type="http://schemas.openxmlformats.org/officeDocument/2006/relationships/customXml" Target="../ink/ink295.xml"/><Relationship Id="rId59" Type="http://schemas.openxmlformats.org/officeDocument/2006/relationships/image" Target="../media/image1700.png"/><Relationship Id="rId67" Type="http://schemas.openxmlformats.org/officeDocument/2006/relationships/image" Target="../media/image1740.png"/><Relationship Id="rId20" Type="http://schemas.openxmlformats.org/officeDocument/2006/relationships/customXml" Target="../ink/ink282.xml"/><Relationship Id="rId41" Type="http://schemas.openxmlformats.org/officeDocument/2006/relationships/image" Target="../media/image1610.png"/><Relationship Id="rId54" Type="http://schemas.openxmlformats.org/officeDocument/2006/relationships/customXml" Target="../ink/ink299.xml"/><Relationship Id="rId62" Type="http://schemas.openxmlformats.org/officeDocument/2006/relationships/customXml" Target="../ink/ink303.xml"/><Relationship Id="rId70" Type="http://schemas.openxmlformats.org/officeDocument/2006/relationships/customXml" Target="../ink/ink307.xml"/><Relationship Id="rId75" Type="http://schemas.openxmlformats.org/officeDocument/2006/relationships/image" Target="../media/image1780.png"/><Relationship Id="rId83" Type="http://schemas.openxmlformats.org/officeDocument/2006/relationships/image" Target="../media/image4940.png"/><Relationship Id="rId1" Type="http://schemas.openxmlformats.org/officeDocument/2006/relationships/tags" Target="../tags/tag21.xml"/><Relationship Id="rId6" Type="http://schemas.openxmlformats.org/officeDocument/2006/relationships/customXml" Target="../ink/ink275.xml"/><Relationship Id="rId15" Type="http://schemas.openxmlformats.org/officeDocument/2006/relationships/image" Target="../media/image1480.png"/><Relationship Id="rId23" Type="http://schemas.openxmlformats.org/officeDocument/2006/relationships/image" Target="../media/image1520.png"/><Relationship Id="rId28" Type="http://schemas.openxmlformats.org/officeDocument/2006/relationships/customXml" Target="../ink/ink286.xml"/><Relationship Id="rId36" Type="http://schemas.openxmlformats.org/officeDocument/2006/relationships/customXml" Target="../ink/ink290.xml"/><Relationship Id="rId49" Type="http://schemas.openxmlformats.org/officeDocument/2006/relationships/image" Target="../media/image1650.png"/><Relationship Id="rId57" Type="http://schemas.openxmlformats.org/officeDocument/2006/relationships/image" Target="../media/image1690.png"/><Relationship Id="rId10" Type="http://schemas.openxmlformats.org/officeDocument/2006/relationships/customXml" Target="../ink/ink277.xml"/><Relationship Id="rId31" Type="http://schemas.openxmlformats.org/officeDocument/2006/relationships/image" Target="../media/image1560.png"/><Relationship Id="rId44" Type="http://schemas.openxmlformats.org/officeDocument/2006/relationships/customXml" Target="../ink/ink294.xml"/><Relationship Id="rId52" Type="http://schemas.openxmlformats.org/officeDocument/2006/relationships/customXml" Target="../ink/ink298.xml"/><Relationship Id="rId60" Type="http://schemas.openxmlformats.org/officeDocument/2006/relationships/customXml" Target="../ink/ink302.xml"/><Relationship Id="rId65" Type="http://schemas.openxmlformats.org/officeDocument/2006/relationships/image" Target="../media/image1730.png"/><Relationship Id="rId73" Type="http://schemas.openxmlformats.org/officeDocument/2006/relationships/image" Target="../media/image1770.png"/><Relationship Id="rId78" Type="http://schemas.openxmlformats.org/officeDocument/2006/relationships/customXml" Target="../ink/ink311.xml"/><Relationship Id="rId81" Type="http://schemas.openxmlformats.org/officeDocument/2006/relationships/image" Target="../media/image2711.png"/><Relationship Id="rId4" Type="http://schemas.openxmlformats.org/officeDocument/2006/relationships/image" Target="../media/image1.emf"/><Relationship Id="rId9" Type="http://schemas.openxmlformats.org/officeDocument/2006/relationships/image" Target="../media/image1450.png"/><Relationship Id="rId13" Type="http://schemas.openxmlformats.org/officeDocument/2006/relationships/image" Target="../media/image1470.png"/><Relationship Id="rId18" Type="http://schemas.openxmlformats.org/officeDocument/2006/relationships/customXml" Target="../ink/ink281.xml"/><Relationship Id="rId39" Type="http://schemas.openxmlformats.org/officeDocument/2006/relationships/image" Target="../media/image1600.png"/><Relationship Id="rId34" Type="http://schemas.openxmlformats.org/officeDocument/2006/relationships/customXml" Target="../ink/ink289.xml"/><Relationship Id="rId50" Type="http://schemas.openxmlformats.org/officeDocument/2006/relationships/customXml" Target="../ink/ink297.xml"/><Relationship Id="rId55" Type="http://schemas.openxmlformats.org/officeDocument/2006/relationships/image" Target="../media/image1680.png"/><Relationship Id="rId76" Type="http://schemas.openxmlformats.org/officeDocument/2006/relationships/customXml" Target="../ink/ink310.xml"/><Relationship Id="rId7" Type="http://schemas.openxmlformats.org/officeDocument/2006/relationships/image" Target="../media/image1440.png"/><Relationship Id="rId71" Type="http://schemas.openxmlformats.org/officeDocument/2006/relationships/image" Target="../media/image1760.png"/><Relationship Id="rId2" Type="http://schemas.openxmlformats.org/officeDocument/2006/relationships/slideLayout" Target="../slideLayouts/slideLayout2.xml"/><Relationship Id="rId29" Type="http://schemas.openxmlformats.org/officeDocument/2006/relationships/image" Target="../media/image1550.png"/><Relationship Id="rId24" Type="http://schemas.openxmlformats.org/officeDocument/2006/relationships/customXml" Target="../ink/ink284.xml"/><Relationship Id="rId40" Type="http://schemas.openxmlformats.org/officeDocument/2006/relationships/customXml" Target="../ink/ink292.xml"/><Relationship Id="rId45" Type="http://schemas.openxmlformats.org/officeDocument/2006/relationships/image" Target="../media/image1630.png"/><Relationship Id="rId66" Type="http://schemas.openxmlformats.org/officeDocument/2006/relationships/customXml" Target="../ink/ink305.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29.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117" Type="http://schemas.openxmlformats.org/officeDocument/2006/relationships/image" Target="../media/image2370.png"/><Relationship Id="rId299" Type="http://schemas.openxmlformats.org/officeDocument/2006/relationships/image" Target="../media/image777.png"/><Relationship Id="rId303" Type="http://schemas.openxmlformats.org/officeDocument/2006/relationships/image" Target="../media/image779.png"/><Relationship Id="rId21" Type="http://schemas.openxmlformats.org/officeDocument/2006/relationships/image" Target="../media/image1890.png"/><Relationship Id="rId42" Type="http://schemas.openxmlformats.org/officeDocument/2006/relationships/customXml" Target="../ink/ink331.xml"/><Relationship Id="rId138" Type="http://schemas.openxmlformats.org/officeDocument/2006/relationships/customXml" Target="../ink/ink374.xml"/><Relationship Id="rId159" Type="http://schemas.openxmlformats.org/officeDocument/2006/relationships/image" Target="../media/image2580.png"/><Relationship Id="rId170" Type="http://schemas.openxmlformats.org/officeDocument/2006/relationships/customXml" Target="../ink/ink390.xml"/><Relationship Id="rId191" Type="http://schemas.openxmlformats.org/officeDocument/2006/relationships/image" Target="../media/image2740.png"/><Relationship Id="rId107" Type="http://schemas.openxmlformats.org/officeDocument/2006/relationships/image" Target="../media/image2320.png"/><Relationship Id="rId289" Type="http://schemas.openxmlformats.org/officeDocument/2006/relationships/image" Target="../media/image772.png"/><Relationship Id="rId11" Type="http://schemas.openxmlformats.org/officeDocument/2006/relationships/image" Target="../media/image1840.png"/><Relationship Id="rId32" Type="http://schemas.openxmlformats.org/officeDocument/2006/relationships/customXml" Target="../ink/ink327.xml"/><Relationship Id="rId53" Type="http://schemas.openxmlformats.org/officeDocument/2006/relationships/image" Target="../media/image2050.png"/><Relationship Id="rId74" Type="http://schemas.openxmlformats.org/officeDocument/2006/relationships/customXml" Target="../ink/ink344.xml"/><Relationship Id="rId128" Type="http://schemas.openxmlformats.org/officeDocument/2006/relationships/customXml" Target="../ink/ink369.xml"/><Relationship Id="rId149" Type="http://schemas.openxmlformats.org/officeDocument/2006/relationships/image" Target="../media/image2530.png"/><Relationship Id="rId5" Type="http://schemas.openxmlformats.org/officeDocument/2006/relationships/image" Target="../media/image30.png"/><Relationship Id="rId95" Type="http://schemas.openxmlformats.org/officeDocument/2006/relationships/image" Target="../media/image2260.png"/><Relationship Id="rId160" Type="http://schemas.openxmlformats.org/officeDocument/2006/relationships/customXml" Target="../ink/ink385.xml"/><Relationship Id="rId181" Type="http://schemas.openxmlformats.org/officeDocument/2006/relationships/image" Target="../media/image2690.png"/><Relationship Id="rId22" Type="http://schemas.openxmlformats.org/officeDocument/2006/relationships/customXml" Target="../ink/ink322.xml"/><Relationship Id="rId43" Type="http://schemas.openxmlformats.org/officeDocument/2006/relationships/image" Target="../media/image2000.png"/><Relationship Id="rId118" Type="http://schemas.openxmlformats.org/officeDocument/2006/relationships/customXml" Target="../ink/ink364.xml"/><Relationship Id="rId139" Type="http://schemas.openxmlformats.org/officeDocument/2006/relationships/image" Target="../media/image2480.png"/><Relationship Id="rId290" Type="http://schemas.openxmlformats.org/officeDocument/2006/relationships/customXml" Target="../ink/ink411.xml"/><Relationship Id="rId304" Type="http://schemas.openxmlformats.org/officeDocument/2006/relationships/customXml" Target="../ink/ink418.xml"/><Relationship Id="rId85" Type="http://schemas.openxmlformats.org/officeDocument/2006/relationships/image" Target="../media/image2210.png"/><Relationship Id="rId150" Type="http://schemas.openxmlformats.org/officeDocument/2006/relationships/customXml" Target="../ink/ink380.xml"/><Relationship Id="rId171" Type="http://schemas.openxmlformats.org/officeDocument/2006/relationships/image" Target="../media/image2640.png"/><Relationship Id="rId192" Type="http://schemas.openxmlformats.org/officeDocument/2006/relationships/customXml" Target="../ink/ink401.xml"/><Relationship Id="rId12" Type="http://schemas.openxmlformats.org/officeDocument/2006/relationships/customXml" Target="../ink/ink317.xml"/><Relationship Id="rId33" Type="http://schemas.openxmlformats.org/officeDocument/2006/relationships/image" Target="../media/image1950.png"/><Relationship Id="rId108" Type="http://schemas.openxmlformats.org/officeDocument/2006/relationships/customXml" Target="../ink/ink359.xml"/><Relationship Id="rId129" Type="http://schemas.openxmlformats.org/officeDocument/2006/relationships/image" Target="../media/image2430.png"/><Relationship Id="rId54" Type="http://schemas.openxmlformats.org/officeDocument/2006/relationships/customXml" Target="../ink/ink337.xml"/><Relationship Id="rId75" Type="http://schemas.openxmlformats.org/officeDocument/2006/relationships/image" Target="../media/image2160.png"/><Relationship Id="rId96" Type="http://schemas.openxmlformats.org/officeDocument/2006/relationships/customXml" Target="../ink/ink353.xml"/><Relationship Id="rId140" Type="http://schemas.openxmlformats.org/officeDocument/2006/relationships/customXml" Target="../ink/ink375.xml"/><Relationship Id="rId161" Type="http://schemas.openxmlformats.org/officeDocument/2006/relationships/image" Target="../media/image2590.png"/><Relationship Id="rId182" Type="http://schemas.openxmlformats.org/officeDocument/2006/relationships/customXml" Target="../ink/ink396.xml"/><Relationship Id="rId6" Type="http://schemas.openxmlformats.org/officeDocument/2006/relationships/customXml" Target="../ink/ink314.xml"/><Relationship Id="rId23" Type="http://schemas.openxmlformats.org/officeDocument/2006/relationships/image" Target="../media/image1900.png"/><Relationship Id="rId119" Type="http://schemas.openxmlformats.org/officeDocument/2006/relationships/image" Target="../media/image2380.png"/><Relationship Id="rId291" Type="http://schemas.openxmlformats.org/officeDocument/2006/relationships/image" Target="../media/image773.png"/><Relationship Id="rId305" Type="http://schemas.openxmlformats.org/officeDocument/2006/relationships/image" Target="../media/image781.png"/><Relationship Id="rId44" Type="http://schemas.openxmlformats.org/officeDocument/2006/relationships/customXml" Target="../ink/ink332.xml"/><Relationship Id="rId86" Type="http://schemas.openxmlformats.org/officeDocument/2006/relationships/customXml" Target="../ink/ink348.xml"/><Relationship Id="rId130" Type="http://schemas.openxmlformats.org/officeDocument/2006/relationships/customXml" Target="../ink/ink370.xml"/><Relationship Id="rId151" Type="http://schemas.openxmlformats.org/officeDocument/2006/relationships/image" Target="../media/image2540.png"/><Relationship Id="rId172" Type="http://schemas.openxmlformats.org/officeDocument/2006/relationships/customXml" Target="../ink/ink391.xml"/><Relationship Id="rId193" Type="http://schemas.openxmlformats.org/officeDocument/2006/relationships/image" Target="../media/image2750.png"/><Relationship Id="rId13" Type="http://schemas.openxmlformats.org/officeDocument/2006/relationships/image" Target="../media/image1850.png"/><Relationship Id="rId109" Type="http://schemas.openxmlformats.org/officeDocument/2006/relationships/image" Target="../media/image2330.png"/><Relationship Id="rId34" Type="http://schemas.openxmlformats.org/officeDocument/2006/relationships/customXml" Target="../ink/ink328.xml"/><Relationship Id="rId55" Type="http://schemas.openxmlformats.org/officeDocument/2006/relationships/image" Target="../media/image2060.png"/><Relationship Id="rId76" Type="http://schemas.openxmlformats.org/officeDocument/2006/relationships/customXml" Target="../ink/ink345.xml"/><Relationship Id="rId97" Type="http://schemas.openxmlformats.org/officeDocument/2006/relationships/image" Target="../media/image2270.png"/><Relationship Id="rId120" Type="http://schemas.openxmlformats.org/officeDocument/2006/relationships/customXml" Target="../ink/ink365.xml"/><Relationship Id="rId141" Type="http://schemas.openxmlformats.org/officeDocument/2006/relationships/image" Target="../media/image2490.png"/><Relationship Id="rId7" Type="http://schemas.openxmlformats.org/officeDocument/2006/relationships/image" Target="../media/image1820.png"/><Relationship Id="rId162" Type="http://schemas.openxmlformats.org/officeDocument/2006/relationships/customXml" Target="../ink/ink386.xml"/><Relationship Id="rId183" Type="http://schemas.openxmlformats.org/officeDocument/2006/relationships/image" Target="../media/image2700.png"/><Relationship Id="rId292" Type="http://schemas.openxmlformats.org/officeDocument/2006/relationships/customXml" Target="../ink/ink412.xml"/><Relationship Id="rId306" Type="http://schemas.openxmlformats.org/officeDocument/2006/relationships/customXml" Target="../ink/ink419.xml"/><Relationship Id="rId24" Type="http://schemas.openxmlformats.org/officeDocument/2006/relationships/customXml" Target="../ink/ink323.xml"/><Relationship Id="rId45" Type="http://schemas.openxmlformats.org/officeDocument/2006/relationships/image" Target="../media/image2011.png"/><Relationship Id="rId87" Type="http://schemas.openxmlformats.org/officeDocument/2006/relationships/image" Target="../media/image2220.png"/><Relationship Id="rId110" Type="http://schemas.openxmlformats.org/officeDocument/2006/relationships/customXml" Target="../ink/ink360.xml"/><Relationship Id="rId131" Type="http://schemas.openxmlformats.org/officeDocument/2006/relationships/image" Target="../media/image2440.png"/><Relationship Id="rId152" Type="http://schemas.openxmlformats.org/officeDocument/2006/relationships/customXml" Target="../ink/ink381.xml"/><Relationship Id="rId173" Type="http://schemas.openxmlformats.org/officeDocument/2006/relationships/image" Target="../media/image2650.png"/><Relationship Id="rId194" Type="http://schemas.openxmlformats.org/officeDocument/2006/relationships/customXml" Target="../ink/ink402.xml"/><Relationship Id="rId14" Type="http://schemas.openxmlformats.org/officeDocument/2006/relationships/customXml" Target="../ink/ink318.xml"/><Relationship Id="rId30" Type="http://schemas.openxmlformats.org/officeDocument/2006/relationships/customXml" Target="../ink/ink326.xml"/><Relationship Id="rId56" Type="http://schemas.openxmlformats.org/officeDocument/2006/relationships/customXml" Target="../ink/ink338.xml"/><Relationship Id="rId77" Type="http://schemas.openxmlformats.org/officeDocument/2006/relationships/image" Target="../media/image2170.png"/><Relationship Id="rId100" Type="http://schemas.openxmlformats.org/officeDocument/2006/relationships/customXml" Target="../ink/ink355.xml"/><Relationship Id="rId105" Type="http://schemas.openxmlformats.org/officeDocument/2006/relationships/image" Target="../media/image2310.png"/><Relationship Id="rId126" Type="http://schemas.openxmlformats.org/officeDocument/2006/relationships/customXml" Target="../ink/ink368.xml"/><Relationship Id="rId147" Type="http://schemas.openxmlformats.org/officeDocument/2006/relationships/image" Target="../media/image2520.png"/><Relationship Id="rId168" Type="http://schemas.openxmlformats.org/officeDocument/2006/relationships/customXml" Target="../ink/ink389.xml"/><Relationship Id="rId8" Type="http://schemas.openxmlformats.org/officeDocument/2006/relationships/customXml" Target="../ink/ink315.xml"/><Relationship Id="rId51" Type="http://schemas.openxmlformats.org/officeDocument/2006/relationships/image" Target="../media/image2040.png"/><Relationship Id="rId72" Type="http://schemas.openxmlformats.org/officeDocument/2006/relationships/customXml" Target="../ink/ink343.xml"/><Relationship Id="rId93" Type="http://schemas.openxmlformats.org/officeDocument/2006/relationships/image" Target="../media/image2250.png"/><Relationship Id="rId98" Type="http://schemas.openxmlformats.org/officeDocument/2006/relationships/customXml" Target="../ink/ink354.xml"/><Relationship Id="rId121" Type="http://schemas.openxmlformats.org/officeDocument/2006/relationships/image" Target="../media/image2390.png"/><Relationship Id="rId142" Type="http://schemas.openxmlformats.org/officeDocument/2006/relationships/customXml" Target="../ink/ink376.xml"/><Relationship Id="rId163" Type="http://schemas.openxmlformats.org/officeDocument/2006/relationships/image" Target="../media/image2600.png"/><Relationship Id="rId184" Type="http://schemas.openxmlformats.org/officeDocument/2006/relationships/customXml" Target="../ink/ink397.xml"/><Relationship Id="rId189" Type="http://schemas.openxmlformats.org/officeDocument/2006/relationships/image" Target="../media/image2730.png"/><Relationship Id="rId3" Type="http://schemas.openxmlformats.org/officeDocument/2006/relationships/oleObject" Target="../embeddings/oleObject22.bin"/><Relationship Id="rId298" Type="http://schemas.openxmlformats.org/officeDocument/2006/relationships/customXml" Target="../ink/ink415.xml"/><Relationship Id="rId25" Type="http://schemas.openxmlformats.org/officeDocument/2006/relationships/image" Target="../media/image1911.png"/><Relationship Id="rId46" Type="http://schemas.openxmlformats.org/officeDocument/2006/relationships/customXml" Target="../ink/ink333.xml"/><Relationship Id="rId67" Type="http://schemas.openxmlformats.org/officeDocument/2006/relationships/image" Target="../media/image2120.png"/><Relationship Id="rId116" Type="http://schemas.openxmlformats.org/officeDocument/2006/relationships/customXml" Target="../ink/ink363.xml"/><Relationship Id="rId137" Type="http://schemas.openxmlformats.org/officeDocument/2006/relationships/image" Target="../media/image2470.png"/><Relationship Id="rId158" Type="http://schemas.openxmlformats.org/officeDocument/2006/relationships/customXml" Target="../ink/ink384.xml"/><Relationship Id="rId293" Type="http://schemas.openxmlformats.org/officeDocument/2006/relationships/image" Target="../media/image774.png"/><Relationship Id="rId302" Type="http://schemas.openxmlformats.org/officeDocument/2006/relationships/customXml" Target="../ink/ink417.xml"/><Relationship Id="rId307" Type="http://schemas.openxmlformats.org/officeDocument/2006/relationships/image" Target="../media/image782.png"/><Relationship Id="rId20" Type="http://schemas.openxmlformats.org/officeDocument/2006/relationships/customXml" Target="../ink/ink321.xml"/><Relationship Id="rId41" Type="http://schemas.openxmlformats.org/officeDocument/2006/relationships/image" Target="../media/image1990.png"/><Relationship Id="rId88" Type="http://schemas.openxmlformats.org/officeDocument/2006/relationships/customXml" Target="../ink/ink349.xml"/><Relationship Id="rId111" Type="http://schemas.openxmlformats.org/officeDocument/2006/relationships/image" Target="../media/image2340.png"/><Relationship Id="rId132" Type="http://schemas.openxmlformats.org/officeDocument/2006/relationships/customXml" Target="../ink/ink371.xml"/><Relationship Id="rId153" Type="http://schemas.openxmlformats.org/officeDocument/2006/relationships/image" Target="../media/image2550.png"/><Relationship Id="rId174" Type="http://schemas.openxmlformats.org/officeDocument/2006/relationships/customXml" Target="../ink/ink392.xml"/><Relationship Id="rId179" Type="http://schemas.openxmlformats.org/officeDocument/2006/relationships/image" Target="../media/image2680.png"/><Relationship Id="rId195" Type="http://schemas.openxmlformats.org/officeDocument/2006/relationships/image" Target="../media/image2760.png"/><Relationship Id="rId190" Type="http://schemas.openxmlformats.org/officeDocument/2006/relationships/customXml" Target="../ink/ink400.xml"/><Relationship Id="rId288" Type="http://schemas.openxmlformats.org/officeDocument/2006/relationships/customXml" Target="../ink/ink410.xml"/><Relationship Id="rId15" Type="http://schemas.openxmlformats.org/officeDocument/2006/relationships/image" Target="../media/image1860.png"/><Relationship Id="rId57" Type="http://schemas.openxmlformats.org/officeDocument/2006/relationships/image" Target="../media/image2070.png"/><Relationship Id="rId106" Type="http://schemas.openxmlformats.org/officeDocument/2006/relationships/customXml" Target="../ink/ink358.xml"/><Relationship Id="rId127" Type="http://schemas.openxmlformats.org/officeDocument/2006/relationships/image" Target="../media/image2420.png"/><Relationship Id="rId283" Type="http://schemas.openxmlformats.org/officeDocument/2006/relationships/image" Target="../media/image5150.png"/><Relationship Id="rId10" Type="http://schemas.openxmlformats.org/officeDocument/2006/relationships/customXml" Target="../ink/ink316.xml"/><Relationship Id="rId31" Type="http://schemas.openxmlformats.org/officeDocument/2006/relationships/image" Target="../media/image1940.png"/><Relationship Id="rId52" Type="http://schemas.openxmlformats.org/officeDocument/2006/relationships/customXml" Target="../ink/ink336.xml"/><Relationship Id="rId73" Type="http://schemas.openxmlformats.org/officeDocument/2006/relationships/image" Target="../media/image2150.png"/><Relationship Id="rId78" Type="http://schemas.openxmlformats.org/officeDocument/2006/relationships/customXml" Target="../ink/ink346.xml"/><Relationship Id="rId94" Type="http://schemas.openxmlformats.org/officeDocument/2006/relationships/customXml" Target="../ink/ink352.xml"/><Relationship Id="rId99" Type="http://schemas.openxmlformats.org/officeDocument/2006/relationships/image" Target="../media/image2280.png"/><Relationship Id="rId101" Type="http://schemas.openxmlformats.org/officeDocument/2006/relationships/image" Target="../media/image2290.png"/><Relationship Id="rId122" Type="http://schemas.openxmlformats.org/officeDocument/2006/relationships/customXml" Target="../ink/ink366.xml"/><Relationship Id="rId143" Type="http://schemas.openxmlformats.org/officeDocument/2006/relationships/image" Target="../media/image2500.png"/><Relationship Id="rId148" Type="http://schemas.openxmlformats.org/officeDocument/2006/relationships/customXml" Target="../ink/ink379.xml"/><Relationship Id="rId164" Type="http://schemas.openxmlformats.org/officeDocument/2006/relationships/customXml" Target="../ink/ink387.xml"/><Relationship Id="rId169" Type="http://schemas.openxmlformats.org/officeDocument/2006/relationships/image" Target="../media/image2630.png"/><Relationship Id="rId185" Type="http://schemas.openxmlformats.org/officeDocument/2006/relationships/image" Target="../media/image2710.png"/><Relationship Id="rId4" Type="http://schemas.openxmlformats.org/officeDocument/2006/relationships/image" Target="../media/image1.emf"/><Relationship Id="rId9" Type="http://schemas.openxmlformats.org/officeDocument/2006/relationships/image" Target="../media/image1830.png"/><Relationship Id="rId180" Type="http://schemas.openxmlformats.org/officeDocument/2006/relationships/customXml" Target="../ink/ink395.xml"/><Relationship Id="rId26" Type="http://schemas.openxmlformats.org/officeDocument/2006/relationships/customXml" Target="../ink/ink324.xml"/><Relationship Id="rId273" Type="http://schemas.openxmlformats.org/officeDocument/2006/relationships/image" Target="../media/image5090.png"/><Relationship Id="rId294" Type="http://schemas.openxmlformats.org/officeDocument/2006/relationships/customXml" Target="../ink/ink413.xml"/><Relationship Id="rId47" Type="http://schemas.openxmlformats.org/officeDocument/2006/relationships/image" Target="../media/image2020.png"/><Relationship Id="rId68" Type="http://schemas.openxmlformats.org/officeDocument/2006/relationships/customXml" Target="../ink/ink341.xml"/><Relationship Id="rId89" Type="http://schemas.openxmlformats.org/officeDocument/2006/relationships/image" Target="../media/image2230.png"/><Relationship Id="rId112" Type="http://schemas.openxmlformats.org/officeDocument/2006/relationships/customXml" Target="../ink/ink361.xml"/><Relationship Id="rId133" Type="http://schemas.openxmlformats.org/officeDocument/2006/relationships/image" Target="../media/image2450.png"/><Relationship Id="rId154" Type="http://schemas.openxmlformats.org/officeDocument/2006/relationships/customXml" Target="../ink/ink382.xml"/><Relationship Id="rId175" Type="http://schemas.openxmlformats.org/officeDocument/2006/relationships/image" Target="../media/image2660.png"/><Relationship Id="rId196" Type="http://schemas.openxmlformats.org/officeDocument/2006/relationships/customXml" Target="../ink/ink403.xml"/><Relationship Id="rId16" Type="http://schemas.openxmlformats.org/officeDocument/2006/relationships/customXml" Target="../ink/ink319.xml"/><Relationship Id="rId284" Type="http://schemas.openxmlformats.org/officeDocument/2006/relationships/customXml" Target="../ink/ink408.xml"/><Relationship Id="rId37" Type="http://schemas.openxmlformats.org/officeDocument/2006/relationships/image" Target="../media/image1970.png"/><Relationship Id="rId58" Type="http://schemas.openxmlformats.org/officeDocument/2006/relationships/customXml" Target="../ink/ink339.xml"/><Relationship Id="rId79" Type="http://schemas.openxmlformats.org/officeDocument/2006/relationships/image" Target="../media/image2180.png"/><Relationship Id="rId102" Type="http://schemas.openxmlformats.org/officeDocument/2006/relationships/customXml" Target="../ink/ink356.xml"/><Relationship Id="rId123" Type="http://schemas.openxmlformats.org/officeDocument/2006/relationships/image" Target="../media/image2400.png"/><Relationship Id="rId144" Type="http://schemas.openxmlformats.org/officeDocument/2006/relationships/customXml" Target="../ink/ink377.xml"/><Relationship Id="rId90" Type="http://schemas.openxmlformats.org/officeDocument/2006/relationships/customXml" Target="../ink/ink350.xml"/><Relationship Id="rId165" Type="http://schemas.openxmlformats.org/officeDocument/2006/relationships/image" Target="../media/image2610.png"/><Relationship Id="rId186" Type="http://schemas.openxmlformats.org/officeDocument/2006/relationships/customXml" Target="../ink/ink398.xml"/><Relationship Id="rId274" Type="http://schemas.openxmlformats.org/officeDocument/2006/relationships/customXml" Target="../ink/ink406.xml"/><Relationship Id="rId295" Type="http://schemas.openxmlformats.org/officeDocument/2006/relationships/image" Target="../media/image775.png"/><Relationship Id="rId27" Type="http://schemas.openxmlformats.org/officeDocument/2006/relationships/image" Target="../media/image1920.png"/><Relationship Id="rId48" Type="http://schemas.openxmlformats.org/officeDocument/2006/relationships/customXml" Target="../ink/ink334.xml"/><Relationship Id="rId69" Type="http://schemas.openxmlformats.org/officeDocument/2006/relationships/image" Target="../media/image2130.png"/><Relationship Id="rId113" Type="http://schemas.openxmlformats.org/officeDocument/2006/relationships/image" Target="../media/image2350.png"/><Relationship Id="rId134" Type="http://schemas.openxmlformats.org/officeDocument/2006/relationships/customXml" Target="../ink/ink372.xml"/><Relationship Id="rId80" Type="http://schemas.openxmlformats.org/officeDocument/2006/relationships/customXml" Target="../ink/ink347.xml"/><Relationship Id="rId155" Type="http://schemas.openxmlformats.org/officeDocument/2006/relationships/image" Target="../media/image2560.png"/><Relationship Id="rId176" Type="http://schemas.openxmlformats.org/officeDocument/2006/relationships/customXml" Target="../ink/ink393.xml"/><Relationship Id="rId197" Type="http://schemas.openxmlformats.org/officeDocument/2006/relationships/image" Target="../media/image5710.png"/><Relationship Id="rId285" Type="http://schemas.openxmlformats.org/officeDocument/2006/relationships/image" Target="../media/image769.png"/><Relationship Id="rId17" Type="http://schemas.openxmlformats.org/officeDocument/2006/relationships/image" Target="../media/image1870.png"/><Relationship Id="rId38" Type="http://schemas.openxmlformats.org/officeDocument/2006/relationships/customXml" Target="../ink/ink329.xml"/><Relationship Id="rId59" Type="http://schemas.openxmlformats.org/officeDocument/2006/relationships/image" Target="../media/image2080.png"/><Relationship Id="rId103" Type="http://schemas.openxmlformats.org/officeDocument/2006/relationships/image" Target="../media/image2300.png"/><Relationship Id="rId124" Type="http://schemas.openxmlformats.org/officeDocument/2006/relationships/customXml" Target="../ink/ink367.xml"/><Relationship Id="rId70" Type="http://schemas.openxmlformats.org/officeDocument/2006/relationships/customXml" Target="../ink/ink342.xml"/><Relationship Id="rId91" Type="http://schemas.openxmlformats.org/officeDocument/2006/relationships/image" Target="../media/image2240.png"/><Relationship Id="rId145" Type="http://schemas.openxmlformats.org/officeDocument/2006/relationships/image" Target="../media/image2510.png"/><Relationship Id="rId166" Type="http://schemas.openxmlformats.org/officeDocument/2006/relationships/customXml" Target="../ink/ink388.xml"/><Relationship Id="rId187" Type="http://schemas.openxmlformats.org/officeDocument/2006/relationships/image" Target="../media/image2720.png"/><Relationship Id="rId1" Type="http://schemas.openxmlformats.org/officeDocument/2006/relationships/tags" Target="../tags/tag23.xml"/><Relationship Id="rId28" Type="http://schemas.openxmlformats.org/officeDocument/2006/relationships/customXml" Target="../ink/ink325.xml"/><Relationship Id="rId49" Type="http://schemas.openxmlformats.org/officeDocument/2006/relationships/image" Target="../media/image2030.png"/><Relationship Id="rId114" Type="http://schemas.openxmlformats.org/officeDocument/2006/relationships/customXml" Target="../ink/ink362.xml"/><Relationship Id="rId275" Type="http://schemas.openxmlformats.org/officeDocument/2006/relationships/image" Target="../media/image5110.png"/><Relationship Id="rId296" Type="http://schemas.openxmlformats.org/officeDocument/2006/relationships/customXml" Target="../ink/ink414.xml"/><Relationship Id="rId300" Type="http://schemas.openxmlformats.org/officeDocument/2006/relationships/customXml" Target="../ink/ink416.xml"/><Relationship Id="rId60" Type="http://schemas.openxmlformats.org/officeDocument/2006/relationships/customXml" Target="../ink/ink340.xml"/><Relationship Id="rId135" Type="http://schemas.openxmlformats.org/officeDocument/2006/relationships/image" Target="../media/image2460.png"/><Relationship Id="rId156" Type="http://schemas.openxmlformats.org/officeDocument/2006/relationships/customXml" Target="../ink/ink383.xml"/><Relationship Id="rId177" Type="http://schemas.openxmlformats.org/officeDocument/2006/relationships/image" Target="../media/image2670.png"/><Relationship Id="rId198" Type="http://schemas.openxmlformats.org/officeDocument/2006/relationships/customXml" Target="../ink/ink404.xml"/><Relationship Id="rId18" Type="http://schemas.openxmlformats.org/officeDocument/2006/relationships/customXml" Target="../ink/ink320.xml"/><Relationship Id="rId39" Type="http://schemas.openxmlformats.org/officeDocument/2006/relationships/image" Target="../media/image1980.png"/><Relationship Id="rId265" Type="http://schemas.openxmlformats.org/officeDocument/2006/relationships/image" Target="../media/image5050.png"/><Relationship Id="rId286" Type="http://schemas.openxmlformats.org/officeDocument/2006/relationships/customXml" Target="../ink/ink409.xml"/><Relationship Id="rId50" Type="http://schemas.openxmlformats.org/officeDocument/2006/relationships/customXml" Target="../ink/ink335.xml"/><Relationship Id="rId104" Type="http://schemas.openxmlformats.org/officeDocument/2006/relationships/customXml" Target="../ink/ink357.xml"/><Relationship Id="rId125" Type="http://schemas.openxmlformats.org/officeDocument/2006/relationships/image" Target="../media/image2410.png"/><Relationship Id="rId146" Type="http://schemas.openxmlformats.org/officeDocument/2006/relationships/customXml" Target="../ink/ink378.xml"/><Relationship Id="rId167" Type="http://schemas.openxmlformats.org/officeDocument/2006/relationships/image" Target="../media/image2620.png"/><Relationship Id="rId188" Type="http://schemas.openxmlformats.org/officeDocument/2006/relationships/customXml" Target="../ink/ink399.xml"/><Relationship Id="rId71" Type="http://schemas.openxmlformats.org/officeDocument/2006/relationships/image" Target="../media/image2140.png"/><Relationship Id="rId92" Type="http://schemas.openxmlformats.org/officeDocument/2006/relationships/customXml" Target="../ink/ink351.xml"/><Relationship Id="rId2" Type="http://schemas.openxmlformats.org/officeDocument/2006/relationships/slideLayout" Target="../slideLayouts/slideLayout2.xml"/><Relationship Id="rId29" Type="http://schemas.openxmlformats.org/officeDocument/2006/relationships/image" Target="../media/image1930.png"/><Relationship Id="rId276" Type="http://schemas.openxmlformats.org/officeDocument/2006/relationships/customXml" Target="../ink/ink407.xml"/><Relationship Id="rId297" Type="http://schemas.openxmlformats.org/officeDocument/2006/relationships/image" Target="../media/image776.png"/><Relationship Id="rId40" Type="http://schemas.openxmlformats.org/officeDocument/2006/relationships/customXml" Target="../ink/ink330.xml"/><Relationship Id="rId115" Type="http://schemas.openxmlformats.org/officeDocument/2006/relationships/image" Target="../media/image2360.png"/><Relationship Id="rId136" Type="http://schemas.openxmlformats.org/officeDocument/2006/relationships/customXml" Target="../ink/ink373.xml"/><Relationship Id="rId157" Type="http://schemas.openxmlformats.org/officeDocument/2006/relationships/image" Target="../media/image2570.png"/><Relationship Id="rId178" Type="http://schemas.openxmlformats.org/officeDocument/2006/relationships/customXml" Target="../ink/ink394.xml"/><Relationship Id="rId301" Type="http://schemas.openxmlformats.org/officeDocument/2006/relationships/image" Target="../media/image778.png"/><Relationship Id="rId19" Type="http://schemas.openxmlformats.org/officeDocument/2006/relationships/image" Target="../media/image1880.png"/><Relationship Id="rId266" Type="http://schemas.openxmlformats.org/officeDocument/2006/relationships/customXml" Target="../ink/ink405.xml"/><Relationship Id="rId287" Type="http://schemas.openxmlformats.org/officeDocument/2006/relationships/image" Target="../media/image771.png"/></Relationships>
</file>

<file path=ppt/slides/_rels/slide25.xml.rels><?xml version="1.0" encoding="UTF-8" standalone="yes"?>
<Relationships xmlns="http://schemas.openxmlformats.org/package/2006/relationships"><Relationship Id="rId8" Type="http://schemas.openxmlformats.org/officeDocument/2006/relationships/customXml" Target="../ink/ink421.xml"/><Relationship Id="rId13" Type="http://schemas.openxmlformats.org/officeDocument/2006/relationships/image" Target="../media/image5450.png"/><Relationship Id="rId18" Type="http://schemas.openxmlformats.org/officeDocument/2006/relationships/customXml" Target="../ink/ink426.xml"/><Relationship Id="rId3" Type="http://schemas.openxmlformats.org/officeDocument/2006/relationships/oleObject" Target="../embeddings/oleObject23.bin"/><Relationship Id="rId7" Type="http://schemas.openxmlformats.org/officeDocument/2006/relationships/image" Target="../media/image3090.png"/><Relationship Id="rId12" Type="http://schemas.openxmlformats.org/officeDocument/2006/relationships/customXml" Target="../ink/ink423.xml"/><Relationship Id="rId17" Type="http://schemas.openxmlformats.org/officeDocument/2006/relationships/image" Target="../media/image5470.png"/><Relationship Id="rId2" Type="http://schemas.openxmlformats.org/officeDocument/2006/relationships/slideLayout" Target="../slideLayouts/slideLayout2.xml"/><Relationship Id="rId16" Type="http://schemas.openxmlformats.org/officeDocument/2006/relationships/customXml" Target="../ink/ink425.xml"/><Relationship Id="rId1" Type="http://schemas.openxmlformats.org/officeDocument/2006/relationships/tags" Target="../tags/tag24.xml"/><Relationship Id="rId6" Type="http://schemas.openxmlformats.org/officeDocument/2006/relationships/customXml" Target="../ink/ink420.xml"/><Relationship Id="rId11" Type="http://schemas.openxmlformats.org/officeDocument/2006/relationships/image" Target="../media/image5440.png"/><Relationship Id="rId5" Type="http://schemas.openxmlformats.org/officeDocument/2006/relationships/image" Target="../media/image31.png"/><Relationship Id="rId15" Type="http://schemas.openxmlformats.org/officeDocument/2006/relationships/image" Target="../media/image5460.png"/><Relationship Id="rId10" Type="http://schemas.openxmlformats.org/officeDocument/2006/relationships/customXml" Target="../ink/ink422.xml"/><Relationship Id="rId19" Type="http://schemas.openxmlformats.org/officeDocument/2006/relationships/image" Target="../media/image5480.png"/><Relationship Id="rId4" Type="http://schemas.openxmlformats.org/officeDocument/2006/relationships/image" Target="../media/image1.emf"/><Relationship Id="rId9" Type="http://schemas.openxmlformats.org/officeDocument/2006/relationships/image" Target="../media/image3120.png"/><Relationship Id="rId14" Type="http://schemas.openxmlformats.org/officeDocument/2006/relationships/customXml" Target="../ink/ink424.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5.xml"/><Relationship Id="rId5" Type="http://schemas.openxmlformats.org/officeDocument/2006/relationships/image" Target="../media/image32.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image" Target="../media/image33.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7.xml"/><Relationship Id="rId5" Type="http://schemas.openxmlformats.org/officeDocument/2006/relationships/image" Target="../media/image34.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35.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231" Type="http://schemas.openxmlformats.org/officeDocument/2006/relationships/customXml" Target="../ink/ink36.xml"/><Relationship Id="rId175" Type="http://schemas.openxmlformats.org/officeDocument/2006/relationships/customXml" Target="../ink/ink9.xml"/><Relationship Id="rId170" Type="http://schemas.openxmlformats.org/officeDocument/2006/relationships/image" Target="../media/image1810.png"/><Relationship Id="rId191" Type="http://schemas.openxmlformats.org/officeDocument/2006/relationships/customXml" Target="../ink/ink16.xml"/><Relationship Id="rId196" Type="http://schemas.openxmlformats.org/officeDocument/2006/relationships/image" Target="../media/image484.png"/><Relationship Id="rId200" Type="http://schemas.openxmlformats.org/officeDocument/2006/relationships/image" Target="../media/image486.png"/><Relationship Id="rId205" Type="http://schemas.openxmlformats.org/officeDocument/2006/relationships/customXml" Target="../ink/ink23.xml"/><Relationship Id="rId226" Type="http://schemas.openxmlformats.org/officeDocument/2006/relationships/image" Target="../media/image499.png"/><Relationship Id="rId247" Type="http://schemas.openxmlformats.org/officeDocument/2006/relationships/customXml" Target="../ink/ink44.xml"/><Relationship Id="rId221" Type="http://schemas.openxmlformats.org/officeDocument/2006/relationships/customXml" Target="../ink/ink31.xml"/><Relationship Id="rId242" Type="http://schemas.openxmlformats.org/officeDocument/2006/relationships/image" Target="../media/image507.png"/><Relationship Id="rId5" Type="http://schemas.openxmlformats.org/officeDocument/2006/relationships/image" Target="../media/image1.emf"/><Relationship Id="rId165" Type="http://schemas.openxmlformats.org/officeDocument/2006/relationships/customXml" Target="../ink/ink4.xml"/><Relationship Id="rId181" Type="http://schemas.openxmlformats.org/officeDocument/2006/relationships/customXml" Target="../ink/ink12.xml"/><Relationship Id="rId186" Type="http://schemas.openxmlformats.org/officeDocument/2006/relationships/image" Target="../media/image1892.png"/><Relationship Id="rId216" Type="http://schemas.openxmlformats.org/officeDocument/2006/relationships/image" Target="../media/image494.png"/><Relationship Id="rId237" Type="http://schemas.openxmlformats.org/officeDocument/2006/relationships/customXml" Target="../ink/ink39.xml"/><Relationship Id="rId211" Type="http://schemas.openxmlformats.org/officeDocument/2006/relationships/customXml" Target="../ink/ink26.xml"/><Relationship Id="rId232" Type="http://schemas.openxmlformats.org/officeDocument/2006/relationships/image" Target="../media/image502.png"/><Relationship Id="rId8" Type="http://schemas.openxmlformats.org/officeDocument/2006/relationships/image" Target="../media/image3110.png"/><Relationship Id="rId163" Type="http://schemas.openxmlformats.org/officeDocument/2006/relationships/customXml" Target="../ink/ink3.xml"/><Relationship Id="rId171" Type="http://schemas.openxmlformats.org/officeDocument/2006/relationships/customXml" Target="../ink/ink7.xml"/><Relationship Id="rId176" Type="http://schemas.openxmlformats.org/officeDocument/2006/relationships/image" Target="../media/image1842.png"/><Relationship Id="rId184" Type="http://schemas.openxmlformats.org/officeDocument/2006/relationships/image" Target="../media/image1882.png"/><Relationship Id="rId192" Type="http://schemas.openxmlformats.org/officeDocument/2006/relationships/image" Target="../media/image482.png"/><Relationship Id="rId197" Type="http://schemas.openxmlformats.org/officeDocument/2006/relationships/customXml" Target="../ink/ink19.xml"/><Relationship Id="rId206" Type="http://schemas.openxmlformats.org/officeDocument/2006/relationships/image" Target="../media/image489.png"/><Relationship Id="rId219" Type="http://schemas.openxmlformats.org/officeDocument/2006/relationships/customXml" Target="../ink/ink30.xml"/><Relationship Id="rId227" Type="http://schemas.openxmlformats.org/officeDocument/2006/relationships/customXml" Target="../ink/ink34.xml"/><Relationship Id="rId3" Type="http://schemas.openxmlformats.org/officeDocument/2006/relationships/notesSlide" Target="../notesSlides/notesSlide2.xml"/><Relationship Id="rId201" Type="http://schemas.openxmlformats.org/officeDocument/2006/relationships/customXml" Target="../ink/ink21.xml"/><Relationship Id="rId214" Type="http://schemas.openxmlformats.org/officeDocument/2006/relationships/image" Target="../media/image493.png"/><Relationship Id="rId222" Type="http://schemas.openxmlformats.org/officeDocument/2006/relationships/image" Target="../media/image497.png"/><Relationship Id="rId230" Type="http://schemas.openxmlformats.org/officeDocument/2006/relationships/image" Target="../media/image501.png"/><Relationship Id="rId235" Type="http://schemas.openxmlformats.org/officeDocument/2006/relationships/customXml" Target="../ink/ink38.xml"/><Relationship Id="rId243" Type="http://schemas.openxmlformats.org/officeDocument/2006/relationships/customXml" Target="../ink/ink42.xml"/><Relationship Id="rId248" Type="http://schemas.openxmlformats.org/officeDocument/2006/relationships/image" Target="../media/image510.png"/><Relationship Id="rId166" Type="http://schemas.openxmlformats.org/officeDocument/2006/relationships/image" Target="../media/image1792.png"/><Relationship Id="rId174" Type="http://schemas.openxmlformats.org/officeDocument/2006/relationships/image" Target="../media/image1832.png"/><Relationship Id="rId179" Type="http://schemas.openxmlformats.org/officeDocument/2006/relationships/customXml" Target="../ink/ink11.xml"/><Relationship Id="rId182" Type="http://schemas.openxmlformats.org/officeDocument/2006/relationships/image" Target="../media/image1872.png"/><Relationship Id="rId187" Type="http://schemas.openxmlformats.org/officeDocument/2006/relationships/customXml" Target="../ink/ink15.xml"/><Relationship Id="rId195" Type="http://schemas.openxmlformats.org/officeDocument/2006/relationships/customXml" Target="../ink/ink18.xml"/><Relationship Id="rId209" Type="http://schemas.openxmlformats.org/officeDocument/2006/relationships/customXml" Target="../ink/ink25.xml"/><Relationship Id="rId217" Type="http://schemas.openxmlformats.org/officeDocument/2006/relationships/customXml" Target="../ink/ink29.xml"/><Relationship Id="rId1" Type="http://schemas.openxmlformats.org/officeDocument/2006/relationships/tags" Target="../tags/tag5.xml"/><Relationship Id="rId6" Type="http://schemas.openxmlformats.org/officeDocument/2006/relationships/image" Target="../media/image3.png"/><Relationship Id="rId190" Type="http://schemas.openxmlformats.org/officeDocument/2006/relationships/image" Target="../media/image1910.png"/><Relationship Id="rId204" Type="http://schemas.openxmlformats.org/officeDocument/2006/relationships/image" Target="../media/image488.png"/><Relationship Id="rId212" Type="http://schemas.openxmlformats.org/officeDocument/2006/relationships/image" Target="../media/image492.png"/><Relationship Id="rId220" Type="http://schemas.openxmlformats.org/officeDocument/2006/relationships/image" Target="../media/image496.png"/><Relationship Id="rId225" Type="http://schemas.openxmlformats.org/officeDocument/2006/relationships/customXml" Target="../ink/ink33.xml"/><Relationship Id="rId233" Type="http://schemas.openxmlformats.org/officeDocument/2006/relationships/customXml" Target="../ink/ink37.xml"/><Relationship Id="rId238" Type="http://schemas.openxmlformats.org/officeDocument/2006/relationships/image" Target="../media/image505.png"/><Relationship Id="rId241" Type="http://schemas.openxmlformats.org/officeDocument/2006/relationships/customXml" Target="../ink/ink41.xml"/><Relationship Id="rId246" Type="http://schemas.openxmlformats.org/officeDocument/2006/relationships/image" Target="../media/image509.png"/><Relationship Id="rId164" Type="http://schemas.openxmlformats.org/officeDocument/2006/relationships/image" Target="../media/image1302.png"/><Relationship Id="rId169" Type="http://schemas.openxmlformats.org/officeDocument/2006/relationships/customXml" Target="../ink/ink6.xml"/><Relationship Id="rId177" Type="http://schemas.openxmlformats.org/officeDocument/2006/relationships/customXml" Target="../ink/ink10.xml"/><Relationship Id="rId185" Type="http://schemas.openxmlformats.org/officeDocument/2006/relationships/customXml" Target="../ink/ink14.xml"/><Relationship Id="rId198" Type="http://schemas.openxmlformats.org/officeDocument/2006/relationships/image" Target="../media/image485.png"/><Relationship Id="rId4" Type="http://schemas.openxmlformats.org/officeDocument/2006/relationships/oleObject" Target="../embeddings/oleObject4.bin"/><Relationship Id="rId9" Type="http://schemas.openxmlformats.org/officeDocument/2006/relationships/customXml" Target="../ink/ink2.xml"/><Relationship Id="rId172" Type="http://schemas.openxmlformats.org/officeDocument/2006/relationships/image" Target="../media/image1822.png"/><Relationship Id="rId180" Type="http://schemas.openxmlformats.org/officeDocument/2006/relationships/image" Target="../media/image1862.png"/><Relationship Id="rId193" Type="http://schemas.openxmlformats.org/officeDocument/2006/relationships/customXml" Target="../ink/ink17.xml"/><Relationship Id="rId202" Type="http://schemas.openxmlformats.org/officeDocument/2006/relationships/image" Target="../media/image487.png"/><Relationship Id="rId207" Type="http://schemas.openxmlformats.org/officeDocument/2006/relationships/customXml" Target="../ink/ink24.xml"/><Relationship Id="rId210" Type="http://schemas.openxmlformats.org/officeDocument/2006/relationships/image" Target="../media/image491.png"/><Relationship Id="rId215" Type="http://schemas.openxmlformats.org/officeDocument/2006/relationships/customXml" Target="../ink/ink28.xml"/><Relationship Id="rId223" Type="http://schemas.openxmlformats.org/officeDocument/2006/relationships/customXml" Target="../ink/ink32.xml"/><Relationship Id="rId228" Type="http://schemas.openxmlformats.org/officeDocument/2006/relationships/image" Target="../media/image500.png"/><Relationship Id="rId236" Type="http://schemas.openxmlformats.org/officeDocument/2006/relationships/image" Target="../media/image504.png"/><Relationship Id="rId244" Type="http://schemas.openxmlformats.org/officeDocument/2006/relationships/image" Target="../media/image508.png"/><Relationship Id="rId249" Type="http://schemas.openxmlformats.org/officeDocument/2006/relationships/customXml" Target="../ink/ink45.xml"/><Relationship Id="rId167" Type="http://schemas.openxmlformats.org/officeDocument/2006/relationships/customXml" Target="../ink/ink5.xml"/><Relationship Id="rId7" Type="http://schemas.openxmlformats.org/officeDocument/2006/relationships/customXml" Target="../ink/ink1.xml"/><Relationship Id="rId162" Type="http://schemas.openxmlformats.org/officeDocument/2006/relationships/image" Target="../media/image1262.png"/><Relationship Id="rId183" Type="http://schemas.openxmlformats.org/officeDocument/2006/relationships/customXml" Target="../ink/ink13.xml"/><Relationship Id="rId213" Type="http://schemas.openxmlformats.org/officeDocument/2006/relationships/customXml" Target="../ink/ink27.xml"/><Relationship Id="rId218" Type="http://schemas.openxmlformats.org/officeDocument/2006/relationships/image" Target="../media/image495.png"/><Relationship Id="rId234" Type="http://schemas.openxmlformats.org/officeDocument/2006/relationships/image" Target="../media/image503.png"/><Relationship Id="rId239" Type="http://schemas.openxmlformats.org/officeDocument/2006/relationships/customXml" Target="../ink/ink40.xml"/><Relationship Id="rId2" Type="http://schemas.openxmlformats.org/officeDocument/2006/relationships/slideLayout" Target="../slideLayouts/slideLayout2.xml"/><Relationship Id="rId250" Type="http://schemas.openxmlformats.org/officeDocument/2006/relationships/image" Target="../media/image511.png"/><Relationship Id="rId178" Type="http://schemas.openxmlformats.org/officeDocument/2006/relationships/image" Target="../media/image1852.png"/><Relationship Id="rId173" Type="http://schemas.openxmlformats.org/officeDocument/2006/relationships/customXml" Target="../ink/ink8.xml"/><Relationship Id="rId194" Type="http://schemas.openxmlformats.org/officeDocument/2006/relationships/image" Target="../media/image483.png"/><Relationship Id="rId199" Type="http://schemas.openxmlformats.org/officeDocument/2006/relationships/customXml" Target="../ink/ink20.xml"/><Relationship Id="rId203" Type="http://schemas.openxmlformats.org/officeDocument/2006/relationships/customXml" Target="../ink/ink22.xml"/><Relationship Id="rId208" Type="http://schemas.openxmlformats.org/officeDocument/2006/relationships/image" Target="../media/image490.png"/><Relationship Id="rId229" Type="http://schemas.openxmlformats.org/officeDocument/2006/relationships/customXml" Target="../ink/ink35.xml"/><Relationship Id="rId224" Type="http://schemas.openxmlformats.org/officeDocument/2006/relationships/image" Target="../media/image498.png"/><Relationship Id="rId240" Type="http://schemas.openxmlformats.org/officeDocument/2006/relationships/image" Target="../media/image506.png"/><Relationship Id="rId245" Type="http://schemas.openxmlformats.org/officeDocument/2006/relationships/customXml" Target="../ink/ink43.xml"/><Relationship Id="rId168" Type="http://schemas.openxmlformats.org/officeDocument/2006/relationships/image" Target="../media/image1801.png"/></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image" Target="../media/image36.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5.xml"/><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480" Type="http://schemas.openxmlformats.org/officeDocument/2006/relationships/image" Target="../media/image5140.png"/><Relationship Id="rId485" Type="http://schemas.openxmlformats.org/officeDocument/2006/relationships/customXml" Target="../ink/ink70.xml"/><Relationship Id="rId515" Type="http://schemas.openxmlformats.org/officeDocument/2006/relationships/customXml" Target="../ink/ink85.xml"/><Relationship Id="rId536" Type="http://schemas.openxmlformats.org/officeDocument/2006/relationships/image" Target="../media/image542.png"/><Relationship Id="rId510" Type="http://schemas.openxmlformats.org/officeDocument/2006/relationships/image" Target="../media/image529.png"/><Relationship Id="rId531" Type="http://schemas.openxmlformats.org/officeDocument/2006/relationships/customXml" Target="../ink/ink93.xml"/><Relationship Id="rId552" Type="http://schemas.openxmlformats.org/officeDocument/2006/relationships/image" Target="../media/image550.png"/><Relationship Id="rId557" Type="http://schemas.openxmlformats.org/officeDocument/2006/relationships/customXml" Target="../ink/ink106.xml"/><Relationship Id="rId438" Type="http://schemas.openxmlformats.org/officeDocument/2006/relationships/image" Target="../media/image2221.png"/><Relationship Id="rId459" Type="http://schemas.openxmlformats.org/officeDocument/2006/relationships/customXml" Target="../ink/ink57.xml"/><Relationship Id="rId454" Type="http://schemas.openxmlformats.org/officeDocument/2006/relationships/image" Target="../media/image5011.png"/><Relationship Id="rId470" Type="http://schemas.openxmlformats.org/officeDocument/2006/relationships/image" Target="../media/image5091.png"/><Relationship Id="rId475" Type="http://schemas.openxmlformats.org/officeDocument/2006/relationships/customXml" Target="../ink/ink65.xml"/><Relationship Id="rId491" Type="http://schemas.openxmlformats.org/officeDocument/2006/relationships/customXml" Target="../ink/ink73.xml"/><Relationship Id="rId496" Type="http://schemas.openxmlformats.org/officeDocument/2006/relationships/image" Target="../media/image5220.png"/><Relationship Id="rId505" Type="http://schemas.openxmlformats.org/officeDocument/2006/relationships/customXml" Target="../ink/ink80.xml"/><Relationship Id="rId526" Type="http://schemas.openxmlformats.org/officeDocument/2006/relationships/image" Target="../media/image537.png"/><Relationship Id="rId500" Type="http://schemas.openxmlformats.org/officeDocument/2006/relationships/image" Target="../media/image524.png"/><Relationship Id="rId521" Type="http://schemas.openxmlformats.org/officeDocument/2006/relationships/customXml" Target="../ink/ink88.xml"/><Relationship Id="rId542" Type="http://schemas.openxmlformats.org/officeDocument/2006/relationships/image" Target="../media/image545.png"/><Relationship Id="rId547" Type="http://schemas.openxmlformats.org/officeDocument/2006/relationships/customXml" Target="../ink/ink101.xml"/><Relationship Id="rId5" Type="http://schemas.openxmlformats.org/officeDocument/2006/relationships/image" Target="../media/image1.emf"/><Relationship Id="rId449" Type="http://schemas.openxmlformats.org/officeDocument/2006/relationships/customXml" Target="../ink/ink52.xml"/><Relationship Id="rId444" Type="http://schemas.openxmlformats.org/officeDocument/2006/relationships/image" Target="../media/image4960.png"/><Relationship Id="rId460" Type="http://schemas.openxmlformats.org/officeDocument/2006/relationships/image" Target="../media/image5040.png"/><Relationship Id="rId465" Type="http://schemas.openxmlformats.org/officeDocument/2006/relationships/customXml" Target="../ink/ink60.xml"/><Relationship Id="rId481" Type="http://schemas.openxmlformats.org/officeDocument/2006/relationships/customXml" Target="../ink/ink68.xml"/><Relationship Id="rId486" Type="http://schemas.openxmlformats.org/officeDocument/2006/relationships/image" Target="../media/image5170.png"/><Relationship Id="rId516" Type="http://schemas.openxmlformats.org/officeDocument/2006/relationships/image" Target="../media/image532.png"/><Relationship Id="rId511" Type="http://schemas.openxmlformats.org/officeDocument/2006/relationships/customXml" Target="../ink/ink83.xml"/><Relationship Id="rId532" Type="http://schemas.openxmlformats.org/officeDocument/2006/relationships/image" Target="../media/image540.png"/><Relationship Id="rId537" Type="http://schemas.openxmlformats.org/officeDocument/2006/relationships/customXml" Target="../ink/ink96.xml"/><Relationship Id="rId553" Type="http://schemas.openxmlformats.org/officeDocument/2006/relationships/customXml" Target="../ink/ink104.xml"/><Relationship Id="rId558" Type="http://schemas.openxmlformats.org/officeDocument/2006/relationships/image" Target="../media/image553.png"/><Relationship Id="rId439" Type="http://schemas.openxmlformats.org/officeDocument/2006/relationships/customXml" Target="../ink/ink47.xml"/><Relationship Id="rId450" Type="http://schemas.openxmlformats.org/officeDocument/2006/relationships/image" Target="../media/image4990.png"/><Relationship Id="rId455" Type="http://schemas.openxmlformats.org/officeDocument/2006/relationships/customXml" Target="../ink/ink55.xml"/><Relationship Id="rId471" Type="http://schemas.openxmlformats.org/officeDocument/2006/relationships/customXml" Target="../ink/ink63.xml"/><Relationship Id="rId476" Type="http://schemas.openxmlformats.org/officeDocument/2006/relationships/image" Target="../media/image5120.png"/><Relationship Id="rId497" Type="http://schemas.openxmlformats.org/officeDocument/2006/relationships/customXml" Target="../ink/ink76.xml"/><Relationship Id="rId506" Type="http://schemas.openxmlformats.org/officeDocument/2006/relationships/image" Target="../media/image527.png"/><Relationship Id="rId492" Type="http://schemas.openxmlformats.org/officeDocument/2006/relationships/image" Target="../media/image5201.png"/><Relationship Id="rId501" Type="http://schemas.openxmlformats.org/officeDocument/2006/relationships/customXml" Target="../ink/ink78.xml"/><Relationship Id="rId522" Type="http://schemas.openxmlformats.org/officeDocument/2006/relationships/image" Target="../media/image535.png"/><Relationship Id="rId527" Type="http://schemas.openxmlformats.org/officeDocument/2006/relationships/customXml" Target="../ink/ink91.xml"/><Relationship Id="rId543" Type="http://schemas.openxmlformats.org/officeDocument/2006/relationships/customXml" Target="../ink/ink99.xml"/><Relationship Id="rId548" Type="http://schemas.openxmlformats.org/officeDocument/2006/relationships/image" Target="../media/image548.png"/><Relationship Id="rId1" Type="http://schemas.openxmlformats.org/officeDocument/2006/relationships/tags" Target="../tags/tag9.xml"/><Relationship Id="rId6" Type="http://schemas.openxmlformats.org/officeDocument/2006/relationships/image" Target="../media/image10.png"/><Relationship Id="rId440" Type="http://schemas.openxmlformats.org/officeDocument/2006/relationships/image" Target="../media/image2002.png"/><Relationship Id="rId445" Type="http://schemas.openxmlformats.org/officeDocument/2006/relationships/customXml" Target="../ink/ink50.xml"/><Relationship Id="rId466" Type="http://schemas.openxmlformats.org/officeDocument/2006/relationships/image" Target="../media/image5070.png"/><Relationship Id="rId487" Type="http://schemas.openxmlformats.org/officeDocument/2006/relationships/customXml" Target="../ink/ink71.xml"/><Relationship Id="rId461" Type="http://schemas.openxmlformats.org/officeDocument/2006/relationships/customXml" Target="../ink/ink58.xml"/><Relationship Id="rId482" Type="http://schemas.openxmlformats.org/officeDocument/2006/relationships/image" Target="../media/image5151.png"/><Relationship Id="rId512" Type="http://schemas.openxmlformats.org/officeDocument/2006/relationships/image" Target="../media/image530.png"/><Relationship Id="rId517" Type="http://schemas.openxmlformats.org/officeDocument/2006/relationships/customXml" Target="../ink/ink86.xml"/><Relationship Id="rId533" Type="http://schemas.openxmlformats.org/officeDocument/2006/relationships/customXml" Target="../ink/ink94.xml"/><Relationship Id="rId538" Type="http://schemas.openxmlformats.org/officeDocument/2006/relationships/image" Target="../media/image543.png"/><Relationship Id="rId554" Type="http://schemas.openxmlformats.org/officeDocument/2006/relationships/image" Target="../media/image551.png"/><Relationship Id="rId456" Type="http://schemas.openxmlformats.org/officeDocument/2006/relationships/image" Target="../media/image5020.png"/><Relationship Id="rId477" Type="http://schemas.openxmlformats.org/officeDocument/2006/relationships/customXml" Target="../ink/ink66.xml"/><Relationship Id="rId498" Type="http://schemas.openxmlformats.org/officeDocument/2006/relationships/image" Target="../media/image523.png"/><Relationship Id="rId451" Type="http://schemas.openxmlformats.org/officeDocument/2006/relationships/customXml" Target="../ink/ink53.xml"/><Relationship Id="rId472" Type="http://schemas.openxmlformats.org/officeDocument/2006/relationships/image" Target="../media/image5102.png"/><Relationship Id="rId493" Type="http://schemas.openxmlformats.org/officeDocument/2006/relationships/customXml" Target="../ink/ink74.xml"/><Relationship Id="rId502" Type="http://schemas.openxmlformats.org/officeDocument/2006/relationships/image" Target="../media/image525.png"/><Relationship Id="rId507" Type="http://schemas.openxmlformats.org/officeDocument/2006/relationships/customXml" Target="../ink/ink81.xml"/><Relationship Id="rId523" Type="http://schemas.openxmlformats.org/officeDocument/2006/relationships/customXml" Target="../ink/ink89.xml"/><Relationship Id="rId528" Type="http://schemas.openxmlformats.org/officeDocument/2006/relationships/image" Target="../media/image538.png"/><Relationship Id="rId549" Type="http://schemas.openxmlformats.org/officeDocument/2006/relationships/customXml" Target="../ink/ink102.xml"/><Relationship Id="rId544" Type="http://schemas.openxmlformats.org/officeDocument/2006/relationships/image" Target="../media/image546.png"/><Relationship Id="rId7" Type="http://schemas.openxmlformats.org/officeDocument/2006/relationships/customXml" Target="../ink/ink46.xml"/><Relationship Id="rId446" Type="http://schemas.openxmlformats.org/officeDocument/2006/relationships/image" Target="../media/image4970.png"/><Relationship Id="rId467" Type="http://schemas.openxmlformats.org/officeDocument/2006/relationships/customXml" Target="../ink/ink61.xml"/><Relationship Id="rId2" Type="http://schemas.openxmlformats.org/officeDocument/2006/relationships/slideLayout" Target="../slideLayouts/slideLayout2.xml"/><Relationship Id="rId441" Type="http://schemas.openxmlformats.org/officeDocument/2006/relationships/customXml" Target="../ink/ink48.xml"/><Relationship Id="rId462" Type="http://schemas.openxmlformats.org/officeDocument/2006/relationships/image" Target="../media/image5051.png"/><Relationship Id="rId483" Type="http://schemas.openxmlformats.org/officeDocument/2006/relationships/customXml" Target="../ink/ink69.xml"/><Relationship Id="rId488" Type="http://schemas.openxmlformats.org/officeDocument/2006/relationships/image" Target="../media/image5180.png"/><Relationship Id="rId518" Type="http://schemas.openxmlformats.org/officeDocument/2006/relationships/image" Target="../media/image533.png"/><Relationship Id="rId539" Type="http://schemas.openxmlformats.org/officeDocument/2006/relationships/customXml" Target="../ink/ink97.xml"/><Relationship Id="rId513" Type="http://schemas.openxmlformats.org/officeDocument/2006/relationships/customXml" Target="../ink/ink84.xml"/><Relationship Id="rId534" Type="http://schemas.openxmlformats.org/officeDocument/2006/relationships/image" Target="../media/image541.png"/><Relationship Id="rId550" Type="http://schemas.openxmlformats.org/officeDocument/2006/relationships/image" Target="../media/image549.png"/><Relationship Id="rId555" Type="http://schemas.openxmlformats.org/officeDocument/2006/relationships/customXml" Target="../ink/ink105.xml"/><Relationship Id="rId457" Type="http://schemas.openxmlformats.org/officeDocument/2006/relationships/customXml" Target="../ink/ink56.xml"/><Relationship Id="rId452" Type="http://schemas.openxmlformats.org/officeDocument/2006/relationships/image" Target="../media/image5001.png"/><Relationship Id="rId473" Type="http://schemas.openxmlformats.org/officeDocument/2006/relationships/customXml" Target="../ink/ink64.xml"/><Relationship Id="rId478" Type="http://schemas.openxmlformats.org/officeDocument/2006/relationships/image" Target="../media/image5130.png"/><Relationship Id="rId494" Type="http://schemas.openxmlformats.org/officeDocument/2006/relationships/image" Target="../media/image5211.png"/><Relationship Id="rId499" Type="http://schemas.openxmlformats.org/officeDocument/2006/relationships/customXml" Target="../ink/ink77.xml"/><Relationship Id="rId508" Type="http://schemas.openxmlformats.org/officeDocument/2006/relationships/image" Target="../media/image528.png"/><Relationship Id="rId529" Type="http://schemas.openxmlformats.org/officeDocument/2006/relationships/customXml" Target="../ink/ink92.xml"/><Relationship Id="rId503" Type="http://schemas.openxmlformats.org/officeDocument/2006/relationships/customXml" Target="../ink/ink79.xml"/><Relationship Id="rId524" Type="http://schemas.openxmlformats.org/officeDocument/2006/relationships/image" Target="../media/image536.png"/><Relationship Id="rId540" Type="http://schemas.openxmlformats.org/officeDocument/2006/relationships/image" Target="../media/image544.png"/><Relationship Id="rId545" Type="http://schemas.openxmlformats.org/officeDocument/2006/relationships/customXml" Target="../ink/ink100.xml"/><Relationship Id="rId447" Type="http://schemas.openxmlformats.org/officeDocument/2006/relationships/customXml" Target="../ink/ink51.xml"/><Relationship Id="rId3" Type="http://schemas.openxmlformats.org/officeDocument/2006/relationships/notesSlide" Target="../notesSlides/notesSlide6.xml"/><Relationship Id="rId442" Type="http://schemas.openxmlformats.org/officeDocument/2006/relationships/image" Target="../media/image4950.png"/><Relationship Id="rId463" Type="http://schemas.openxmlformats.org/officeDocument/2006/relationships/customXml" Target="../ink/ink59.xml"/><Relationship Id="rId468" Type="http://schemas.openxmlformats.org/officeDocument/2006/relationships/image" Target="../media/image5080.png"/><Relationship Id="rId484" Type="http://schemas.openxmlformats.org/officeDocument/2006/relationships/image" Target="../media/image5160.png"/><Relationship Id="rId489" Type="http://schemas.openxmlformats.org/officeDocument/2006/relationships/customXml" Target="../ink/ink72.xml"/><Relationship Id="rId519" Type="http://schemas.openxmlformats.org/officeDocument/2006/relationships/customXml" Target="../ink/ink87.xml"/><Relationship Id="rId514" Type="http://schemas.openxmlformats.org/officeDocument/2006/relationships/image" Target="../media/image531.png"/><Relationship Id="rId530" Type="http://schemas.openxmlformats.org/officeDocument/2006/relationships/image" Target="../media/image539.png"/><Relationship Id="rId535" Type="http://schemas.openxmlformats.org/officeDocument/2006/relationships/customXml" Target="../ink/ink95.xml"/><Relationship Id="rId556" Type="http://schemas.openxmlformats.org/officeDocument/2006/relationships/image" Target="../media/image552.png"/><Relationship Id="rId551" Type="http://schemas.openxmlformats.org/officeDocument/2006/relationships/customXml" Target="../ink/ink103.xml"/><Relationship Id="rId453" Type="http://schemas.openxmlformats.org/officeDocument/2006/relationships/customXml" Target="../ink/ink54.xml"/><Relationship Id="rId458" Type="http://schemas.openxmlformats.org/officeDocument/2006/relationships/image" Target="../media/image5030.png"/><Relationship Id="rId474" Type="http://schemas.openxmlformats.org/officeDocument/2006/relationships/image" Target="../media/image5112.png"/><Relationship Id="rId479" Type="http://schemas.openxmlformats.org/officeDocument/2006/relationships/customXml" Target="../ink/ink67.xml"/><Relationship Id="rId509" Type="http://schemas.openxmlformats.org/officeDocument/2006/relationships/customXml" Target="../ink/ink82.xml"/><Relationship Id="rId490" Type="http://schemas.openxmlformats.org/officeDocument/2006/relationships/image" Target="../media/image5190.png"/><Relationship Id="rId495" Type="http://schemas.openxmlformats.org/officeDocument/2006/relationships/customXml" Target="../ink/ink75.xml"/><Relationship Id="rId504" Type="http://schemas.openxmlformats.org/officeDocument/2006/relationships/image" Target="../media/image526.png"/><Relationship Id="rId525" Type="http://schemas.openxmlformats.org/officeDocument/2006/relationships/customXml" Target="../ink/ink90.xml"/><Relationship Id="rId546" Type="http://schemas.openxmlformats.org/officeDocument/2006/relationships/image" Target="../media/image547.png"/><Relationship Id="rId520" Type="http://schemas.openxmlformats.org/officeDocument/2006/relationships/image" Target="../media/image534.png"/><Relationship Id="rId541" Type="http://schemas.openxmlformats.org/officeDocument/2006/relationships/customXml" Target="../ink/ink98.xml"/><Relationship Id="rId4" Type="http://schemas.openxmlformats.org/officeDocument/2006/relationships/oleObject" Target="../embeddings/oleObject8.bin"/><Relationship Id="rId443" Type="http://schemas.openxmlformats.org/officeDocument/2006/relationships/customXml" Target="../ink/ink49.xml"/><Relationship Id="rId448" Type="http://schemas.openxmlformats.org/officeDocument/2006/relationships/image" Target="../media/image4980.png"/><Relationship Id="rId464" Type="http://schemas.openxmlformats.org/officeDocument/2006/relationships/image" Target="../media/image5060.png"/><Relationship Id="rId469" Type="http://schemas.openxmlformats.org/officeDocument/2006/relationships/customXml" Target="../ink/ink62.xml"/></Relationships>
</file>

<file path=ppt/slides/_rels/slide8.xml.rels><?xml version="1.0" encoding="UTF-8" standalone="yes"?>
<Relationships xmlns="http://schemas.openxmlformats.org/package/2006/relationships"><Relationship Id="rId13" Type="http://schemas.openxmlformats.org/officeDocument/2006/relationships/customXml" Target="../ink/ink110.xml"/><Relationship Id="rId18" Type="http://schemas.openxmlformats.org/officeDocument/2006/relationships/image" Target="../media/image5461.png"/><Relationship Id="rId26" Type="http://schemas.openxmlformats.org/officeDocument/2006/relationships/image" Target="../media/image5501.png"/><Relationship Id="rId39" Type="http://schemas.openxmlformats.org/officeDocument/2006/relationships/customXml" Target="../ink/ink123.xml"/><Relationship Id="rId21" Type="http://schemas.openxmlformats.org/officeDocument/2006/relationships/customXml" Target="../ink/ink114.xml"/><Relationship Id="rId34" Type="http://schemas.openxmlformats.org/officeDocument/2006/relationships/image" Target="../media/image5530.png"/><Relationship Id="rId42" Type="http://schemas.openxmlformats.org/officeDocument/2006/relationships/image" Target="../media/image558.png"/><Relationship Id="rId47" Type="http://schemas.openxmlformats.org/officeDocument/2006/relationships/customXml" Target="../ink/ink127.xml"/><Relationship Id="rId50" Type="http://schemas.openxmlformats.org/officeDocument/2006/relationships/image" Target="../media/image562.png"/><Relationship Id="rId55" Type="http://schemas.openxmlformats.org/officeDocument/2006/relationships/customXml" Target="../ink/ink131.xml"/><Relationship Id="rId7" Type="http://schemas.openxmlformats.org/officeDocument/2006/relationships/customXml" Target="../ink/ink107.xml"/><Relationship Id="rId2" Type="http://schemas.openxmlformats.org/officeDocument/2006/relationships/slideLayout" Target="../slideLayouts/slideLayout2.xml"/><Relationship Id="rId16" Type="http://schemas.openxmlformats.org/officeDocument/2006/relationships/image" Target="../media/image5451.png"/><Relationship Id="rId29" Type="http://schemas.openxmlformats.org/officeDocument/2006/relationships/customXml" Target="../ink/ink118.xml"/><Relationship Id="rId11" Type="http://schemas.openxmlformats.org/officeDocument/2006/relationships/customXml" Target="../ink/ink109.xml"/><Relationship Id="rId24" Type="http://schemas.openxmlformats.org/officeDocument/2006/relationships/image" Target="../media/image5490.png"/><Relationship Id="rId32" Type="http://schemas.openxmlformats.org/officeDocument/2006/relationships/image" Target="../media/image5520.png"/><Relationship Id="rId37" Type="http://schemas.openxmlformats.org/officeDocument/2006/relationships/customXml" Target="../ink/ink122.xml"/><Relationship Id="rId40" Type="http://schemas.openxmlformats.org/officeDocument/2006/relationships/image" Target="../media/image557.png"/><Relationship Id="rId45" Type="http://schemas.openxmlformats.org/officeDocument/2006/relationships/customXml" Target="../ink/ink126.xml"/><Relationship Id="rId53" Type="http://schemas.openxmlformats.org/officeDocument/2006/relationships/customXml" Target="../ink/ink130.xml"/><Relationship Id="rId5" Type="http://schemas.openxmlformats.org/officeDocument/2006/relationships/image" Target="../media/image1.emf"/><Relationship Id="rId10" Type="http://schemas.openxmlformats.org/officeDocument/2006/relationships/image" Target="../media/image5420.png"/><Relationship Id="rId19" Type="http://schemas.openxmlformats.org/officeDocument/2006/relationships/customXml" Target="../ink/ink113.xml"/><Relationship Id="rId31" Type="http://schemas.openxmlformats.org/officeDocument/2006/relationships/customXml" Target="../ink/ink119.xml"/><Relationship Id="rId44" Type="http://schemas.openxmlformats.org/officeDocument/2006/relationships/image" Target="../media/image559.png"/><Relationship Id="rId52" Type="http://schemas.openxmlformats.org/officeDocument/2006/relationships/image" Target="../media/image563.png"/><Relationship Id="rId4" Type="http://schemas.openxmlformats.org/officeDocument/2006/relationships/oleObject" Target="../embeddings/oleObject9.bin"/><Relationship Id="rId9" Type="http://schemas.openxmlformats.org/officeDocument/2006/relationships/customXml" Target="../ink/ink108.xml"/><Relationship Id="rId14" Type="http://schemas.openxmlformats.org/officeDocument/2006/relationships/image" Target="../media/image5441.png"/><Relationship Id="rId22" Type="http://schemas.openxmlformats.org/officeDocument/2006/relationships/image" Target="../media/image5481.png"/><Relationship Id="rId27" Type="http://schemas.openxmlformats.org/officeDocument/2006/relationships/customXml" Target="../ink/ink117.xml"/><Relationship Id="rId30" Type="http://schemas.openxmlformats.org/officeDocument/2006/relationships/image" Target="../media/image3510.png"/><Relationship Id="rId35" Type="http://schemas.openxmlformats.org/officeDocument/2006/relationships/customXml" Target="../ink/ink121.xml"/><Relationship Id="rId43" Type="http://schemas.openxmlformats.org/officeDocument/2006/relationships/customXml" Target="../ink/ink125.xml"/><Relationship Id="rId48" Type="http://schemas.openxmlformats.org/officeDocument/2006/relationships/image" Target="../media/image561.png"/><Relationship Id="rId56" Type="http://schemas.openxmlformats.org/officeDocument/2006/relationships/image" Target="../media/image565.png"/><Relationship Id="rId8" Type="http://schemas.openxmlformats.org/officeDocument/2006/relationships/image" Target="../media/image2022.png"/><Relationship Id="rId51" Type="http://schemas.openxmlformats.org/officeDocument/2006/relationships/customXml" Target="../ink/ink129.xml"/><Relationship Id="rId3" Type="http://schemas.openxmlformats.org/officeDocument/2006/relationships/notesSlide" Target="../notesSlides/notesSlide7.xml"/><Relationship Id="rId12" Type="http://schemas.openxmlformats.org/officeDocument/2006/relationships/image" Target="../media/image5430.png"/><Relationship Id="rId17" Type="http://schemas.openxmlformats.org/officeDocument/2006/relationships/customXml" Target="../ink/ink112.xml"/><Relationship Id="rId25" Type="http://schemas.openxmlformats.org/officeDocument/2006/relationships/customXml" Target="../ink/ink116.xml"/><Relationship Id="rId33" Type="http://schemas.openxmlformats.org/officeDocument/2006/relationships/customXml" Target="../ink/ink120.xml"/><Relationship Id="rId38" Type="http://schemas.openxmlformats.org/officeDocument/2006/relationships/image" Target="../media/image556.png"/><Relationship Id="rId46" Type="http://schemas.openxmlformats.org/officeDocument/2006/relationships/image" Target="../media/image560.png"/><Relationship Id="rId20" Type="http://schemas.openxmlformats.org/officeDocument/2006/relationships/image" Target="../media/image5471.png"/><Relationship Id="rId41" Type="http://schemas.openxmlformats.org/officeDocument/2006/relationships/customXml" Target="../ink/ink124.xml"/><Relationship Id="rId54" Type="http://schemas.openxmlformats.org/officeDocument/2006/relationships/image" Target="../media/image564.png"/><Relationship Id="rId1" Type="http://schemas.openxmlformats.org/officeDocument/2006/relationships/tags" Target="../tags/tag10.xml"/><Relationship Id="rId6" Type="http://schemas.openxmlformats.org/officeDocument/2006/relationships/image" Target="../media/image11.png"/><Relationship Id="rId15" Type="http://schemas.openxmlformats.org/officeDocument/2006/relationships/customXml" Target="../ink/ink111.xml"/><Relationship Id="rId23" Type="http://schemas.openxmlformats.org/officeDocument/2006/relationships/customXml" Target="../ink/ink115.xml"/><Relationship Id="rId28" Type="http://schemas.openxmlformats.org/officeDocument/2006/relationships/image" Target="../media/image5511.png"/><Relationship Id="rId36" Type="http://schemas.openxmlformats.org/officeDocument/2006/relationships/image" Target="../media/image555.png"/><Relationship Id="rId49" Type="http://schemas.openxmlformats.org/officeDocument/2006/relationships/customXml" Target="../ink/ink12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479633-7C2A-4CC3-ACF3-6285A0A3AE7B}"/>
              </a:ext>
            </a:extLst>
          </p:cNvPr>
          <p:cNvGraphicFramePr>
            <a:graphicFrameLocks noChangeAspect="1"/>
          </p:cNvGraphicFramePr>
          <p:nvPr>
            <p:custDataLst>
              <p:tags r:id="rId1"/>
            </p:custDataLst>
            <p:extLst>
              <p:ext uri="{D42A27DB-BD31-4B8C-83A1-F6EECF244321}">
                <p14:modId xmlns:p14="http://schemas.microsoft.com/office/powerpoint/2010/main" val="23325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78479633-7C2A-4CC3-ACF3-6285A0A3AE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40" name="Rectangle 39">
            <a:extLst>
              <a:ext uri="{FF2B5EF4-FFF2-40B4-BE49-F238E27FC236}">
                <a16:creationId xmlns:a16="http://schemas.microsoft.com/office/drawing/2014/main" id="{16F9E488-0718-4E1E-9D12-26779F6062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Shape 41">
            <a:extLst>
              <a:ext uri="{FF2B5EF4-FFF2-40B4-BE49-F238E27FC236}">
                <a16:creationId xmlns:a16="http://schemas.microsoft.com/office/drawing/2014/main" id="{D20AEB5B-DFC7-42B4-9FAA-6B95E01D0F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15124" y="0"/>
            <a:ext cx="7476877" cy="6858000"/>
          </a:xfrm>
          <a:custGeom>
            <a:avLst/>
            <a:gdLst>
              <a:gd name="connsiteX0" fmla="*/ 637332 w 7476877"/>
              <a:gd name="connsiteY0" fmla="*/ 4332728 h 6858000"/>
              <a:gd name="connsiteX1" fmla="*/ 1576347 w 7476877"/>
              <a:gd name="connsiteY1" fmla="*/ 4332728 h 6858000"/>
              <a:gd name="connsiteX2" fmla="*/ 1720345 w 7476877"/>
              <a:gd name="connsiteY2" fmla="*/ 4419228 h 6858000"/>
              <a:gd name="connsiteX3" fmla="*/ 2190864 w 7476877"/>
              <a:gd name="connsiteY3" fmla="*/ 5245095 h 6858000"/>
              <a:gd name="connsiteX4" fmla="*/ 2190864 w 7476877"/>
              <a:gd name="connsiteY4" fmla="*/ 5413976 h 6858000"/>
              <a:gd name="connsiteX5" fmla="*/ 1720345 w 7476877"/>
              <a:gd name="connsiteY5" fmla="*/ 6239844 h 6858000"/>
              <a:gd name="connsiteX6" fmla="*/ 1576347 w 7476877"/>
              <a:gd name="connsiteY6" fmla="*/ 6326343 h 6858000"/>
              <a:gd name="connsiteX7" fmla="*/ 637332 w 7476877"/>
              <a:gd name="connsiteY7" fmla="*/ 6326343 h 6858000"/>
              <a:gd name="connsiteX8" fmla="*/ 491309 w 7476877"/>
              <a:gd name="connsiteY8" fmla="*/ 6239844 h 6858000"/>
              <a:gd name="connsiteX9" fmla="*/ 22817 w 7476877"/>
              <a:gd name="connsiteY9" fmla="*/ 5413976 h 6858000"/>
              <a:gd name="connsiteX10" fmla="*/ 22817 w 7476877"/>
              <a:gd name="connsiteY10" fmla="*/ 5245095 h 6858000"/>
              <a:gd name="connsiteX11" fmla="*/ 491309 w 7476877"/>
              <a:gd name="connsiteY11" fmla="*/ 4419228 h 6858000"/>
              <a:gd name="connsiteX12" fmla="*/ 637332 w 7476877"/>
              <a:gd name="connsiteY12" fmla="*/ 4332728 h 6858000"/>
              <a:gd name="connsiteX13" fmla="*/ 3853980 w 7476877"/>
              <a:gd name="connsiteY13" fmla="*/ 0 h 6858000"/>
              <a:gd name="connsiteX14" fmla="*/ 5043644 w 7476877"/>
              <a:gd name="connsiteY14" fmla="*/ 0 h 6858000"/>
              <a:gd name="connsiteX15" fmla="*/ 5083740 w 7476877"/>
              <a:gd name="connsiteY15" fmla="*/ 70378 h 6858000"/>
              <a:gd name="connsiteX16" fmla="*/ 5225307 w 7476877"/>
              <a:gd name="connsiteY16" fmla="*/ 318859 h 6858000"/>
              <a:gd name="connsiteX17" fmla="*/ 5225307 w 7476877"/>
              <a:gd name="connsiteY17" fmla="*/ 577503 h 6858000"/>
              <a:gd name="connsiteX18" fmla="*/ 4504695 w 7476877"/>
              <a:gd name="connsiteY18" fmla="*/ 1842337 h 6858000"/>
              <a:gd name="connsiteX19" fmla="*/ 4284162 w 7476877"/>
              <a:gd name="connsiteY19" fmla="*/ 1974811 h 6858000"/>
              <a:gd name="connsiteX20" fmla="*/ 2846045 w 7476877"/>
              <a:gd name="connsiteY20" fmla="*/ 1974811 h 6858000"/>
              <a:gd name="connsiteX21" fmla="*/ 2778342 w 7476877"/>
              <a:gd name="connsiteY21" fmla="*/ 1965645 h 6858000"/>
              <a:gd name="connsiteX22" fmla="*/ 2731777 w 7476877"/>
              <a:gd name="connsiteY22" fmla="*/ 1945746 h 6858000"/>
              <a:gd name="connsiteX23" fmla="*/ 2760233 w 7476877"/>
              <a:gd name="connsiteY23" fmla="*/ 1895581 h 6858000"/>
              <a:gd name="connsiteX24" fmla="*/ 3768459 w 7476877"/>
              <a:gd name="connsiteY24" fmla="*/ 118263 h 6858000"/>
              <a:gd name="connsiteX25" fmla="*/ 3819932 w 7476877"/>
              <a:gd name="connsiteY25" fmla="*/ 39732 h 6858000"/>
              <a:gd name="connsiteX26" fmla="*/ 1880237 w 7476877"/>
              <a:gd name="connsiteY26" fmla="*/ 0 h 6858000"/>
              <a:gd name="connsiteX27" fmla="*/ 2102124 w 7476877"/>
              <a:gd name="connsiteY27" fmla="*/ 0 h 6858000"/>
              <a:gd name="connsiteX28" fmla="*/ 2086946 w 7476877"/>
              <a:gd name="connsiteY28" fmla="*/ 26756 h 6858000"/>
              <a:gd name="connsiteX29" fmla="*/ 1911773 w 7476877"/>
              <a:gd name="connsiteY29" fmla="*/ 335552 h 6858000"/>
              <a:gd name="connsiteX30" fmla="*/ 1911773 w 7476877"/>
              <a:gd name="connsiteY30" fmla="*/ 594199 h 6858000"/>
              <a:gd name="connsiteX31" fmla="*/ 2629280 w 7476877"/>
              <a:gd name="connsiteY31" fmla="*/ 1859030 h 6858000"/>
              <a:gd name="connsiteX32" fmla="*/ 2723627 w 7476877"/>
              <a:gd name="connsiteY32" fmla="*/ 1956020 h 6858000"/>
              <a:gd name="connsiteX33" fmla="*/ 2734544 w 7476877"/>
              <a:gd name="connsiteY33" fmla="*/ 1960685 h 6858000"/>
              <a:gd name="connsiteX34" fmla="*/ 2676021 w 7476877"/>
              <a:gd name="connsiteY34" fmla="*/ 2063851 h 6858000"/>
              <a:gd name="connsiteX35" fmla="*/ 2632495 w 7476877"/>
              <a:gd name="connsiteY35" fmla="*/ 2140578 h 6858000"/>
              <a:gd name="connsiteX36" fmla="*/ 2677641 w 7476877"/>
              <a:gd name="connsiteY36" fmla="*/ 2159871 h 6858000"/>
              <a:gd name="connsiteX37" fmla="*/ 2754009 w 7476877"/>
              <a:gd name="connsiteY37" fmla="*/ 2170210 h 6858000"/>
              <a:gd name="connsiteX38" fmla="*/ 4376198 w 7476877"/>
              <a:gd name="connsiteY38" fmla="*/ 2170210 h 6858000"/>
              <a:gd name="connsiteX39" fmla="*/ 4624956 w 7476877"/>
              <a:gd name="connsiteY39" fmla="*/ 2020780 h 6858000"/>
              <a:gd name="connsiteX40" fmla="*/ 5437803 w 7476877"/>
              <a:gd name="connsiteY40" fmla="*/ 594055 h 6858000"/>
              <a:gd name="connsiteX41" fmla="*/ 5437803 w 7476877"/>
              <a:gd name="connsiteY41" fmla="*/ 302307 h 6858000"/>
              <a:gd name="connsiteX42" fmla="*/ 5294722 w 7476877"/>
              <a:gd name="connsiteY42" fmla="*/ 51168 h 6858000"/>
              <a:gd name="connsiteX43" fmla="*/ 5265570 w 7476877"/>
              <a:gd name="connsiteY43" fmla="*/ 0 h 6858000"/>
              <a:gd name="connsiteX44" fmla="*/ 7476877 w 7476877"/>
              <a:gd name="connsiteY44" fmla="*/ 0 h 6858000"/>
              <a:gd name="connsiteX45" fmla="*/ 7476877 w 7476877"/>
              <a:gd name="connsiteY45" fmla="*/ 6858000 h 6858000"/>
              <a:gd name="connsiteX46" fmla="*/ 3343303 w 7476877"/>
              <a:gd name="connsiteY46" fmla="*/ 6858000 h 6858000"/>
              <a:gd name="connsiteX47" fmla="*/ 3297958 w 7476877"/>
              <a:gd name="connsiteY47" fmla="*/ 6778065 h 6858000"/>
              <a:gd name="connsiteX48" fmla="*/ 1841286 w 7476877"/>
              <a:gd name="connsiteY48" fmla="*/ 4210218 h 6858000"/>
              <a:gd name="connsiteX49" fmla="*/ 1841286 w 7476877"/>
              <a:gd name="connsiteY49" fmla="*/ 3515516 h 6858000"/>
              <a:gd name="connsiteX50" fmla="*/ 2556859 w 7476877"/>
              <a:gd name="connsiteY50" fmla="*/ 2254092 h 6858000"/>
              <a:gd name="connsiteX51" fmla="*/ 2617166 w 7476877"/>
              <a:gd name="connsiteY51" fmla="*/ 2147787 h 6858000"/>
              <a:gd name="connsiteX52" fmla="*/ 2615044 w 7476877"/>
              <a:gd name="connsiteY52" fmla="*/ 2146880 h 6858000"/>
              <a:gd name="connsiteX53" fmla="*/ 2508620 w 7476877"/>
              <a:gd name="connsiteY53" fmla="*/ 2037473 h 6858000"/>
              <a:gd name="connsiteX54" fmla="*/ 1699276 w 7476877"/>
              <a:gd name="connsiteY54" fmla="*/ 610749 h 6858000"/>
              <a:gd name="connsiteX55" fmla="*/ 1699276 w 7476877"/>
              <a:gd name="connsiteY55" fmla="*/ 319000 h 6858000"/>
              <a:gd name="connsiteX56" fmla="*/ 1843322 w 7476877"/>
              <a:gd name="connsiteY56" fmla="*/ 650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7476877" h="6858000">
                <a:moveTo>
                  <a:pt x="637332" y="4332728"/>
                </a:moveTo>
                <a:cubicBezTo>
                  <a:pt x="637332" y="4332728"/>
                  <a:pt x="637332" y="4332728"/>
                  <a:pt x="1576347" y="4332728"/>
                </a:cubicBezTo>
                <a:cubicBezTo>
                  <a:pt x="1635163" y="4332728"/>
                  <a:pt x="1691949" y="4365681"/>
                  <a:pt x="1720345" y="4419228"/>
                </a:cubicBezTo>
                <a:cubicBezTo>
                  <a:pt x="1720345" y="4419228"/>
                  <a:pt x="1720345" y="4419228"/>
                  <a:pt x="2190864" y="5245095"/>
                </a:cubicBezTo>
                <a:cubicBezTo>
                  <a:pt x="2221287" y="5296583"/>
                  <a:pt x="2221287" y="5362488"/>
                  <a:pt x="2190864" y="5413976"/>
                </a:cubicBezTo>
                <a:cubicBezTo>
                  <a:pt x="2190864" y="5413976"/>
                  <a:pt x="2190864" y="5413976"/>
                  <a:pt x="1720345" y="6239844"/>
                </a:cubicBezTo>
                <a:cubicBezTo>
                  <a:pt x="1691949" y="6293391"/>
                  <a:pt x="1635163" y="6326343"/>
                  <a:pt x="1576347" y="6326343"/>
                </a:cubicBezTo>
                <a:cubicBezTo>
                  <a:pt x="1576347" y="6326343"/>
                  <a:pt x="1576347" y="6326343"/>
                  <a:pt x="637332" y="6326343"/>
                </a:cubicBezTo>
                <a:cubicBezTo>
                  <a:pt x="576490" y="6326343"/>
                  <a:pt x="521732" y="6293391"/>
                  <a:pt x="491309" y="6239844"/>
                </a:cubicBezTo>
                <a:cubicBezTo>
                  <a:pt x="491309" y="6239844"/>
                  <a:pt x="491309" y="6239844"/>
                  <a:pt x="22817" y="5413976"/>
                </a:cubicBezTo>
                <a:cubicBezTo>
                  <a:pt x="-7605" y="5362488"/>
                  <a:pt x="-7605" y="5296583"/>
                  <a:pt x="22817" y="5245095"/>
                </a:cubicBezTo>
                <a:cubicBezTo>
                  <a:pt x="22817" y="5245095"/>
                  <a:pt x="22817" y="5245095"/>
                  <a:pt x="491309" y="4419228"/>
                </a:cubicBezTo>
                <a:cubicBezTo>
                  <a:pt x="521732" y="4365681"/>
                  <a:pt x="576490" y="4332728"/>
                  <a:pt x="637332" y="4332728"/>
                </a:cubicBezTo>
                <a:close/>
                <a:moveTo>
                  <a:pt x="3853980" y="0"/>
                </a:moveTo>
                <a:lnTo>
                  <a:pt x="5043644" y="0"/>
                </a:lnTo>
                <a:lnTo>
                  <a:pt x="5083740" y="70378"/>
                </a:lnTo>
                <a:cubicBezTo>
                  <a:pt x="5127533" y="147245"/>
                  <a:pt x="5174639" y="229925"/>
                  <a:pt x="5225307" y="318859"/>
                </a:cubicBezTo>
                <a:cubicBezTo>
                  <a:pt x="5271897" y="397715"/>
                  <a:pt x="5271897" y="498649"/>
                  <a:pt x="5225307" y="577503"/>
                </a:cubicBezTo>
                <a:cubicBezTo>
                  <a:pt x="5225307" y="577503"/>
                  <a:pt x="5225307" y="577503"/>
                  <a:pt x="4504695" y="1842337"/>
                </a:cubicBezTo>
                <a:cubicBezTo>
                  <a:pt x="4461209" y="1924345"/>
                  <a:pt x="4374239" y="1974811"/>
                  <a:pt x="4284162" y="1974811"/>
                </a:cubicBezTo>
                <a:cubicBezTo>
                  <a:pt x="4284162" y="1974811"/>
                  <a:pt x="4284162" y="1974811"/>
                  <a:pt x="2846045" y="1974811"/>
                </a:cubicBezTo>
                <a:cubicBezTo>
                  <a:pt x="2822750" y="1974811"/>
                  <a:pt x="2800035" y="1971656"/>
                  <a:pt x="2778342" y="1965645"/>
                </a:cubicBezTo>
                <a:lnTo>
                  <a:pt x="2731777" y="1945746"/>
                </a:lnTo>
                <a:lnTo>
                  <a:pt x="2760233" y="1895581"/>
                </a:lnTo>
                <a:cubicBezTo>
                  <a:pt x="3017539" y="1441999"/>
                  <a:pt x="3346890" y="861413"/>
                  <a:pt x="3768459" y="118263"/>
                </a:cubicBezTo>
                <a:cubicBezTo>
                  <a:pt x="3784101" y="90729"/>
                  <a:pt x="3801308" y="64519"/>
                  <a:pt x="3819932" y="39732"/>
                </a:cubicBezTo>
                <a:close/>
                <a:moveTo>
                  <a:pt x="1880237" y="0"/>
                </a:moveTo>
                <a:lnTo>
                  <a:pt x="2102124" y="0"/>
                </a:lnTo>
                <a:lnTo>
                  <a:pt x="2086946" y="26756"/>
                </a:lnTo>
                <a:cubicBezTo>
                  <a:pt x="1911773" y="335552"/>
                  <a:pt x="1911773" y="335552"/>
                  <a:pt x="1911773" y="335552"/>
                </a:cubicBezTo>
                <a:cubicBezTo>
                  <a:pt x="1865182" y="414408"/>
                  <a:pt x="1865182" y="515344"/>
                  <a:pt x="1911773" y="594199"/>
                </a:cubicBezTo>
                <a:cubicBezTo>
                  <a:pt x="2629280" y="1859030"/>
                  <a:pt x="2629280" y="1859030"/>
                  <a:pt x="2629280" y="1859030"/>
                </a:cubicBezTo>
                <a:cubicBezTo>
                  <a:pt x="2652576" y="1900035"/>
                  <a:pt x="2685189" y="1933154"/>
                  <a:pt x="2723627" y="1956020"/>
                </a:cubicBezTo>
                <a:lnTo>
                  <a:pt x="2734544" y="1960685"/>
                </a:lnTo>
                <a:lnTo>
                  <a:pt x="2676021" y="2063851"/>
                </a:lnTo>
                <a:lnTo>
                  <a:pt x="2632495" y="2140578"/>
                </a:lnTo>
                <a:lnTo>
                  <a:pt x="2677641" y="2159871"/>
                </a:lnTo>
                <a:cubicBezTo>
                  <a:pt x="2702113" y="2166652"/>
                  <a:pt x="2727732" y="2170210"/>
                  <a:pt x="2754009" y="2170210"/>
                </a:cubicBezTo>
                <a:cubicBezTo>
                  <a:pt x="4376198" y="2170210"/>
                  <a:pt x="4376198" y="2170210"/>
                  <a:pt x="4376198" y="2170210"/>
                </a:cubicBezTo>
                <a:cubicBezTo>
                  <a:pt x="4477805" y="2170210"/>
                  <a:pt x="4575904" y="2113286"/>
                  <a:pt x="4624956" y="2020780"/>
                </a:cubicBezTo>
                <a:cubicBezTo>
                  <a:pt x="5437803" y="594055"/>
                  <a:pt x="5437803" y="594055"/>
                  <a:pt x="5437803" y="594055"/>
                </a:cubicBezTo>
                <a:cubicBezTo>
                  <a:pt x="5490358" y="505109"/>
                  <a:pt x="5490358" y="391256"/>
                  <a:pt x="5437803" y="302307"/>
                </a:cubicBezTo>
                <a:cubicBezTo>
                  <a:pt x="5387000" y="213137"/>
                  <a:pt x="5339373" y="129540"/>
                  <a:pt x="5294722" y="51168"/>
                </a:cubicBezTo>
                <a:lnTo>
                  <a:pt x="5265570" y="0"/>
                </a:lnTo>
                <a:lnTo>
                  <a:pt x="7476877" y="0"/>
                </a:lnTo>
                <a:lnTo>
                  <a:pt x="7476877" y="6858000"/>
                </a:lnTo>
                <a:lnTo>
                  <a:pt x="3343303" y="6858000"/>
                </a:lnTo>
                <a:lnTo>
                  <a:pt x="3297958" y="6778065"/>
                </a:lnTo>
                <a:cubicBezTo>
                  <a:pt x="3015657" y="6280421"/>
                  <a:pt x="2563976" y="5484189"/>
                  <a:pt x="1841286" y="4210218"/>
                </a:cubicBezTo>
                <a:cubicBezTo>
                  <a:pt x="1716144" y="3998418"/>
                  <a:pt x="1716144" y="3727316"/>
                  <a:pt x="1841286" y="3515516"/>
                </a:cubicBezTo>
                <a:cubicBezTo>
                  <a:pt x="1841286" y="3515516"/>
                  <a:pt x="1841286" y="3515516"/>
                  <a:pt x="2556859" y="2254092"/>
                </a:cubicBezTo>
                <a:lnTo>
                  <a:pt x="2617166" y="2147787"/>
                </a:lnTo>
                <a:lnTo>
                  <a:pt x="2615044" y="2146880"/>
                </a:lnTo>
                <a:cubicBezTo>
                  <a:pt x="2571686" y="2121084"/>
                  <a:pt x="2534897" y="2083728"/>
                  <a:pt x="2508620" y="2037473"/>
                </a:cubicBezTo>
                <a:cubicBezTo>
                  <a:pt x="2508620" y="2037473"/>
                  <a:pt x="2508620" y="2037473"/>
                  <a:pt x="1699276" y="610749"/>
                </a:cubicBezTo>
                <a:cubicBezTo>
                  <a:pt x="1646720" y="521803"/>
                  <a:pt x="1646720" y="407950"/>
                  <a:pt x="1699276" y="319000"/>
                </a:cubicBezTo>
                <a:cubicBezTo>
                  <a:pt x="1699276" y="319000"/>
                  <a:pt x="1699276" y="319000"/>
                  <a:pt x="1843322" y="65075"/>
                </a:cubicBezTo>
                <a:close/>
              </a:path>
            </a:pathLst>
          </a:cu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8D06459B-BCBD-4585-9A52-58E1D4BA8255}"/>
              </a:ext>
            </a:extLst>
          </p:cNvPr>
          <p:cNvSpPr>
            <a:spLocks noGrp="1"/>
          </p:cNvSpPr>
          <p:nvPr>
            <p:ph type="ctrTitle"/>
          </p:nvPr>
        </p:nvSpPr>
        <p:spPr>
          <a:xfrm>
            <a:off x="1356919" y="2945524"/>
            <a:ext cx="6457183" cy="2274388"/>
          </a:xfrm>
        </p:spPr>
        <p:txBody>
          <a:bodyPr vert="horz" anchor="t">
            <a:normAutofit/>
          </a:bodyPr>
          <a:lstStyle/>
          <a:p>
            <a:pPr algn="l"/>
            <a:r>
              <a:rPr lang="en-US" sz="5600" dirty="0"/>
              <a:t>Word Embeddings &amp; Deep Learning - NLP</a:t>
            </a:r>
          </a:p>
        </p:txBody>
      </p:sp>
      <p:sp>
        <p:nvSpPr>
          <p:cNvPr id="3" name="Subtitle 2">
            <a:extLst>
              <a:ext uri="{FF2B5EF4-FFF2-40B4-BE49-F238E27FC236}">
                <a16:creationId xmlns:a16="http://schemas.microsoft.com/office/drawing/2014/main" id="{6C40D201-CA9C-4624-85FE-EF4BC4A47903}"/>
              </a:ext>
            </a:extLst>
          </p:cNvPr>
          <p:cNvSpPr>
            <a:spLocks noGrp="1"/>
          </p:cNvSpPr>
          <p:nvPr>
            <p:ph type="subTitle" idx="1"/>
          </p:nvPr>
        </p:nvSpPr>
        <p:spPr>
          <a:xfrm>
            <a:off x="1331480" y="1234285"/>
            <a:ext cx="5013661" cy="1683292"/>
          </a:xfrm>
        </p:spPr>
        <p:txBody>
          <a:bodyPr anchor="b">
            <a:normAutofit/>
          </a:bodyPr>
          <a:lstStyle/>
          <a:p>
            <a:pPr algn="l"/>
            <a:r>
              <a:rPr lang="en-US"/>
              <a:t>Aniket Chhabra</a:t>
            </a:r>
          </a:p>
        </p:txBody>
      </p:sp>
      <p:grpSp>
        <p:nvGrpSpPr>
          <p:cNvPr id="44" name="Group 43">
            <a:extLst>
              <a:ext uri="{FF2B5EF4-FFF2-40B4-BE49-F238E27FC236}">
                <a16:creationId xmlns:a16="http://schemas.microsoft.com/office/drawing/2014/main" id="{64B93721-934F-4F1E-A868-0B2BA110D3B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41960" y="561256"/>
            <a:ext cx="1128382" cy="847206"/>
            <a:chOff x="7393391" y="1075612"/>
            <a:chExt cx="1128382" cy="847206"/>
          </a:xfrm>
        </p:grpSpPr>
        <p:sp>
          <p:nvSpPr>
            <p:cNvPr id="45" name="Freeform 5">
              <a:extLst>
                <a:ext uri="{FF2B5EF4-FFF2-40B4-BE49-F238E27FC236}">
                  <a16:creationId xmlns:a16="http://schemas.microsoft.com/office/drawing/2014/main" id="{99494AF8-52DE-4016-B1B9-5D16974BAE2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7393391" y="1327438"/>
              <a:ext cx="675351" cy="595380"/>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46" name="Freeform 5">
              <a:extLst>
                <a:ext uri="{FF2B5EF4-FFF2-40B4-BE49-F238E27FC236}">
                  <a16:creationId xmlns:a16="http://schemas.microsoft.com/office/drawing/2014/main" id="{C27115E3-8DBD-460F-8EAD-44E12617413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7971281" y="1075612"/>
              <a:ext cx="550492" cy="485306"/>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tx1"/>
              </a:solid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483874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F5E603-548B-4576-BBB6-A50532C3D243}"/>
              </a:ext>
            </a:extLst>
          </p:cNvPr>
          <p:cNvGraphicFramePr>
            <a:graphicFrameLocks noChangeAspect="1"/>
          </p:cNvGraphicFramePr>
          <p:nvPr>
            <p:custDataLst>
              <p:tags r:id="rId1"/>
            </p:custDataLst>
            <p:extLst>
              <p:ext uri="{D42A27DB-BD31-4B8C-83A1-F6EECF244321}">
                <p14:modId xmlns:p14="http://schemas.microsoft.com/office/powerpoint/2010/main" val="126388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D9F5E603-548B-4576-BBB6-A50532C3D2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47637" y="92147"/>
            <a:ext cx="11896725" cy="615950"/>
          </a:xfrm>
        </p:spPr>
        <p:txBody>
          <a:bodyPr vert="horz">
            <a:normAutofit fontScale="90000"/>
          </a:bodyPr>
          <a:lstStyle/>
          <a:p>
            <a:r>
              <a:rPr lang="en-US" b="1" dirty="0">
                <a:solidFill>
                  <a:schemeClr val="accent1"/>
                </a:solidFill>
              </a:rPr>
              <a:t>Word2vec – </a:t>
            </a:r>
            <a:r>
              <a:rPr lang="en-US" dirty="0">
                <a:solidFill>
                  <a:schemeClr val="accent1"/>
                </a:solidFill>
              </a:rPr>
              <a:t>Skip-gram model Contd…</a:t>
            </a:r>
          </a:p>
        </p:txBody>
      </p:sp>
      <p:sp>
        <p:nvSpPr>
          <p:cNvPr id="19" name="TextBox 18">
            <a:extLst>
              <a:ext uri="{FF2B5EF4-FFF2-40B4-BE49-F238E27FC236}">
                <a16:creationId xmlns:a16="http://schemas.microsoft.com/office/drawing/2014/main" id="{58A59DC6-D3D0-4BB1-93BC-9ECA02D2F6F8}"/>
              </a:ext>
            </a:extLst>
          </p:cNvPr>
          <p:cNvSpPr txBox="1"/>
          <p:nvPr/>
        </p:nvSpPr>
        <p:spPr>
          <a:xfrm>
            <a:off x="147637" y="4247283"/>
            <a:ext cx="11777234" cy="2862322"/>
          </a:xfrm>
          <a:prstGeom prst="rect">
            <a:avLst/>
          </a:prstGeom>
          <a:noFill/>
        </p:spPr>
        <p:txBody>
          <a:bodyPr wrap="square">
            <a:spAutoFit/>
          </a:bodyPr>
          <a:lstStyle/>
          <a:p>
            <a:pPr marL="457200" indent="-457200" algn="l">
              <a:buClr>
                <a:srgbClr val="3A6008"/>
              </a:buClr>
              <a:buFont typeface="+mj-lt"/>
              <a:buAutoNum type="arabicPeriod"/>
            </a:pPr>
            <a:r>
              <a:rPr lang="en-US" altLang="en-US" sz="2000" i="1" dirty="0"/>
              <a:t>Randomly pick a context word like – </a:t>
            </a:r>
            <a:r>
              <a:rPr lang="en-US" altLang="en-US" sz="2000" b="1" i="1" dirty="0"/>
              <a:t>orange</a:t>
            </a:r>
          </a:p>
          <a:p>
            <a:pPr marL="457200" indent="-457200" algn="l">
              <a:buClr>
                <a:srgbClr val="3A6008"/>
              </a:buClr>
              <a:buFont typeface="+mj-lt"/>
              <a:buAutoNum type="arabicPeriod"/>
            </a:pPr>
            <a:r>
              <a:rPr lang="en-US" altLang="en-US" sz="2000" i="1" dirty="0"/>
              <a:t>Now, we pick randomly a word within close vicinity of </a:t>
            </a:r>
            <a:r>
              <a:rPr lang="en-US" altLang="en-US" sz="2000" b="1" i="1" dirty="0"/>
              <a:t>context word </a:t>
            </a:r>
            <a:r>
              <a:rPr lang="en-US" altLang="en-US" sz="2000" i="1" dirty="0"/>
              <a:t>(sliding window) and it will be the </a:t>
            </a:r>
            <a:r>
              <a:rPr lang="en-US" altLang="en-US" sz="2000" b="1" i="1" dirty="0"/>
              <a:t>Target word </a:t>
            </a:r>
            <a:r>
              <a:rPr lang="en-US" altLang="en-US" sz="2000" i="1" dirty="0"/>
              <a:t>like – by chance we pick the word – </a:t>
            </a:r>
            <a:r>
              <a:rPr lang="en-US" altLang="en-US" sz="2000" b="1" i="1" dirty="0"/>
              <a:t>juice </a:t>
            </a:r>
            <a:r>
              <a:rPr lang="en-US" altLang="en-US" sz="2000" i="1" dirty="0"/>
              <a:t>or </a:t>
            </a:r>
            <a:r>
              <a:rPr lang="en-US" altLang="en-US" sz="2000" b="1" i="1" dirty="0"/>
              <a:t>glass </a:t>
            </a:r>
            <a:r>
              <a:rPr lang="en-US" altLang="en-US" sz="2000" i="1" dirty="0"/>
              <a:t>or the word </a:t>
            </a:r>
            <a:r>
              <a:rPr lang="en-US" altLang="en-US" sz="2000" b="1" i="1" dirty="0"/>
              <a:t>my</a:t>
            </a:r>
          </a:p>
          <a:p>
            <a:pPr algn="l">
              <a:buClr>
                <a:srgbClr val="3A6008"/>
              </a:buClr>
            </a:pPr>
            <a:r>
              <a:rPr lang="en-US" altLang="en-US" sz="2000" dirty="0"/>
              <a:t>So, here we are fitting a supervised learning algo where given the context word we are predicting target word within suppose +- 5 words window (neighborhood of the word – </a:t>
            </a:r>
            <a:r>
              <a:rPr lang="en-US" altLang="en-US" sz="2000" b="1" dirty="0"/>
              <a:t>orange</a:t>
            </a:r>
            <a:r>
              <a:rPr lang="en-US" altLang="en-US" sz="2000" dirty="0"/>
              <a:t>) – </a:t>
            </a:r>
            <a:r>
              <a:rPr lang="en-US" altLang="en-US" sz="2000" u="sng" dirty="0"/>
              <a:t>Next page image</a:t>
            </a:r>
          </a:p>
          <a:p>
            <a:pPr algn="l">
              <a:buClr>
                <a:srgbClr val="3A6008"/>
              </a:buClr>
            </a:pPr>
            <a:endParaRPr lang="en-US" altLang="en-US" sz="2000" dirty="0"/>
          </a:p>
          <a:p>
            <a:pPr algn="l">
              <a:buClr>
                <a:srgbClr val="3A6008"/>
              </a:buClr>
            </a:pPr>
            <a:r>
              <a:rPr lang="en-US" altLang="en-US" dirty="0"/>
              <a:t>Note - But we face computational challenges with </a:t>
            </a:r>
            <a:r>
              <a:rPr lang="en-US" altLang="en-US" dirty="0" err="1"/>
              <a:t>softmax</a:t>
            </a:r>
            <a:r>
              <a:rPr lang="en-US" altLang="en-US" dirty="0"/>
              <a:t> classification, -                                        Negative sampling technique comes into play</a:t>
            </a:r>
          </a:p>
          <a:p>
            <a:pPr algn="l">
              <a:buClr>
                <a:srgbClr val="3A6008"/>
              </a:buClr>
            </a:pPr>
            <a:endParaRPr lang="en-US" altLang="en-US" sz="2000" dirty="0"/>
          </a:p>
        </p:txBody>
      </p:sp>
      <p:pic>
        <p:nvPicPr>
          <p:cNvPr id="22" name="Picture 21">
            <a:extLst>
              <a:ext uri="{FF2B5EF4-FFF2-40B4-BE49-F238E27FC236}">
                <a16:creationId xmlns:a16="http://schemas.microsoft.com/office/drawing/2014/main" id="{46A6BBE5-82A0-45D0-9362-714303403AB0}"/>
              </a:ext>
            </a:extLst>
          </p:cNvPr>
          <p:cNvPicPr>
            <a:picLocks noChangeAspect="1"/>
          </p:cNvPicPr>
          <p:nvPr/>
        </p:nvPicPr>
        <p:blipFill>
          <a:blip r:embed="rId6"/>
          <a:stretch>
            <a:fillRect/>
          </a:stretch>
        </p:blipFill>
        <p:spPr>
          <a:xfrm>
            <a:off x="84094" y="708097"/>
            <a:ext cx="5965859" cy="3499956"/>
          </a:xfrm>
          <a:prstGeom prst="rect">
            <a:avLst/>
          </a:prstGeom>
        </p:spPr>
      </p:pic>
      <p:pic>
        <p:nvPicPr>
          <p:cNvPr id="26" name="Picture 25">
            <a:extLst>
              <a:ext uri="{FF2B5EF4-FFF2-40B4-BE49-F238E27FC236}">
                <a16:creationId xmlns:a16="http://schemas.microsoft.com/office/drawing/2014/main" id="{006D12FA-0EEE-4929-BA51-E85995209E48}"/>
              </a:ext>
            </a:extLst>
          </p:cNvPr>
          <p:cNvPicPr>
            <a:picLocks noChangeAspect="1"/>
          </p:cNvPicPr>
          <p:nvPr/>
        </p:nvPicPr>
        <p:blipFill>
          <a:blip r:embed="rId7"/>
          <a:stretch>
            <a:fillRect/>
          </a:stretch>
        </p:blipFill>
        <p:spPr>
          <a:xfrm>
            <a:off x="6142046" y="708097"/>
            <a:ext cx="5965859" cy="3499956"/>
          </a:xfrm>
          <a:prstGeom prst="rect">
            <a:avLst/>
          </a:prstGeom>
        </p:spPr>
      </p:pic>
      <p:pic>
        <p:nvPicPr>
          <p:cNvPr id="32" name="Picture 31">
            <a:extLst>
              <a:ext uri="{FF2B5EF4-FFF2-40B4-BE49-F238E27FC236}">
                <a16:creationId xmlns:a16="http://schemas.microsoft.com/office/drawing/2014/main" id="{F4D11DC8-F5A7-4EDB-B96C-091EFDDD181E}"/>
              </a:ext>
            </a:extLst>
          </p:cNvPr>
          <p:cNvPicPr>
            <a:picLocks noChangeAspect="1"/>
          </p:cNvPicPr>
          <p:nvPr/>
        </p:nvPicPr>
        <p:blipFill>
          <a:blip r:embed="rId8"/>
          <a:stretch>
            <a:fillRect/>
          </a:stretch>
        </p:blipFill>
        <p:spPr>
          <a:xfrm>
            <a:off x="6963496" y="5805295"/>
            <a:ext cx="2161479" cy="966515"/>
          </a:xfrm>
          <a:prstGeom prst="rect">
            <a:avLst/>
          </a:prstGeom>
        </p:spPr>
      </p:pic>
    </p:spTree>
    <p:extLst>
      <p:ext uri="{BB962C8B-B14F-4D97-AF65-F5344CB8AC3E}">
        <p14:creationId xmlns:p14="http://schemas.microsoft.com/office/powerpoint/2010/main" val="33690820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E67714F-36E8-4527-9106-62AA5ABF9D16}"/>
              </a:ext>
            </a:extLst>
          </p:cNvPr>
          <p:cNvPicPr>
            <a:picLocks noChangeAspect="1"/>
          </p:cNvPicPr>
          <p:nvPr/>
        </p:nvPicPr>
        <p:blipFill>
          <a:blip r:embed="rId2"/>
          <a:stretch>
            <a:fillRect/>
          </a:stretch>
        </p:blipFill>
        <p:spPr>
          <a:xfrm>
            <a:off x="-78769" y="0"/>
            <a:ext cx="12192000" cy="6858000"/>
          </a:xfrm>
          <a:prstGeom prst="rect">
            <a:avLst/>
          </a:prstGeom>
        </p:spPr>
      </p:pic>
      <p:sp>
        <p:nvSpPr>
          <p:cNvPr id="6" name="Rectangle 5">
            <a:extLst>
              <a:ext uri="{FF2B5EF4-FFF2-40B4-BE49-F238E27FC236}">
                <a16:creationId xmlns:a16="http://schemas.microsoft.com/office/drawing/2014/main" id="{2888FCF2-0528-4FC9-8DF3-C90EB79D1E9B}"/>
              </a:ext>
            </a:extLst>
          </p:cNvPr>
          <p:cNvSpPr/>
          <p:nvPr/>
        </p:nvSpPr>
        <p:spPr>
          <a:xfrm>
            <a:off x="11353800" y="6176963"/>
            <a:ext cx="759431" cy="53206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882294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220298-4C0B-4CB6-AC91-760169709E20}"/>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45220133-1987-44FB-9866-B3CC539ACF30}"/>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BF85E241-DDAC-4E18-A6AD-6A50CBA9E22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1851567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B8C3C8-DC84-465D-947E-AF1C1A920A7D}"/>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CB4EA5B-A77D-44CD-AE3E-70087F469D0C}"/>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6C2BC105-180C-48C3-B18A-4FA8348B5B3C}"/>
              </a:ext>
            </a:extLst>
          </p:cNvPr>
          <p:cNvPicPr>
            <a:picLocks noChangeAspect="1"/>
          </p:cNvPicPr>
          <p:nvPr/>
        </p:nvPicPr>
        <p:blipFill>
          <a:blip r:embed="rId2"/>
          <a:stretch>
            <a:fillRect/>
          </a:stretch>
        </p:blipFill>
        <p:spPr>
          <a:xfrm>
            <a:off x="0" y="0"/>
            <a:ext cx="12192000" cy="6858000"/>
          </a:xfrm>
          <a:prstGeom prst="rect">
            <a:avLst/>
          </a:prstGeom>
        </p:spPr>
      </p:pic>
      <p:grpSp>
        <p:nvGrpSpPr>
          <p:cNvPr id="7" name="Group 6">
            <a:extLst>
              <a:ext uri="{FF2B5EF4-FFF2-40B4-BE49-F238E27FC236}">
                <a16:creationId xmlns:a16="http://schemas.microsoft.com/office/drawing/2014/main" id="{FA7200A6-428B-2FA9-6B09-ABB8333E46F4}"/>
              </a:ext>
            </a:extLst>
          </p:cNvPr>
          <p:cNvGrpSpPr/>
          <p:nvPr/>
        </p:nvGrpSpPr>
        <p:grpSpPr>
          <a:xfrm>
            <a:off x="7974947" y="1812640"/>
            <a:ext cx="751320" cy="240120"/>
            <a:chOff x="7974947" y="1812640"/>
            <a:chExt cx="751320" cy="240120"/>
          </a:xfrm>
        </p:grpSpPr>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77B8C637-D983-D6F0-C70E-DB120AD2A164}"/>
                    </a:ext>
                  </a:extLst>
                </p14:cNvPr>
                <p14:cNvContentPartPr/>
                <p14:nvPr/>
              </p14:nvContentPartPr>
              <p14:xfrm>
                <a:off x="7974947" y="1812640"/>
                <a:ext cx="751320" cy="34920"/>
              </p14:xfrm>
            </p:contentPart>
          </mc:Choice>
          <mc:Fallback xmlns="">
            <p:pic>
              <p:nvPicPr>
                <p:cNvPr id="4" name="Ink 3">
                  <a:extLst>
                    <a:ext uri="{FF2B5EF4-FFF2-40B4-BE49-F238E27FC236}">
                      <a16:creationId xmlns:a16="http://schemas.microsoft.com/office/drawing/2014/main" id="{77B8C637-D983-D6F0-C70E-DB120AD2A164}"/>
                    </a:ext>
                  </a:extLst>
                </p:cNvPr>
                <p:cNvPicPr/>
                <p:nvPr/>
              </p:nvPicPr>
              <p:blipFill>
                <a:blip r:embed="rId4"/>
                <a:stretch>
                  <a:fillRect/>
                </a:stretch>
              </p:blipFill>
              <p:spPr>
                <a:xfrm>
                  <a:off x="7959827" y="1797520"/>
                  <a:ext cx="78192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6" name="Ink 5">
                  <a:extLst>
                    <a:ext uri="{FF2B5EF4-FFF2-40B4-BE49-F238E27FC236}">
                      <a16:creationId xmlns:a16="http://schemas.microsoft.com/office/drawing/2014/main" id="{EBCBBB1B-DD25-8DD7-811F-882B74DB26CB}"/>
                    </a:ext>
                  </a:extLst>
                </p14:cNvPr>
                <p14:cNvContentPartPr/>
                <p14:nvPr/>
              </p14:nvContentPartPr>
              <p14:xfrm>
                <a:off x="8043707" y="1986520"/>
                <a:ext cx="582120" cy="66240"/>
              </p14:xfrm>
            </p:contentPart>
          </mc:Choice>
          <mc:Fallback xmlns="">
            <p:pic>
              <p:nvPicPr>
                <p:cNvPr id="6" name="Ink 5">
                  <a:extLst>
                    <a:ext uri="{FF2B5EF4-FFF2-40B4-BE49-F238E27FC236}">
                      <a16:creationId xmlns:a16="http://schemas.microsoft.com/office/drawing/2014/main" id="{EBCBBB1B-DD25-8DD7-811F-882B74DB26CB}"/>
                    </a:ext>
                  </a:extLst>
                </p:cNvPr>
                <p:cNvPicPr/>
                <p:nvPr/>
              </p:nvPicPr>
              <p:blipFill>
                <a:blip r:embed="rId6"/>
                <a:stretch>
                  <a:fillRect/>
                </a:stretch>
              </p:blipFill>
              <p:spPr>
                <a:xfrm>
                  <a:off x="8028587" y="1971400"/>
                  <a:ext cx="612720" cy="96840"/>
                </a:xfrm>
                <a:prstGeom prst="rect">
                  <a:avLst/>
                </a:prstGeom>
              </p:spPr>
            </p:pic>
          </mc:Fallback>
        </mc:AlternateContent>
      </p:grpSp>
    </p:spTree>
    <p:extLst>
      <p:ext uri="{BB962C8B-B14F-4D97-AF65-F5344CB8AC3E}">
        <p14:creationId xmlns:p14="http://schemas.microsoft.com/office/powerpoint/2010/main" val="22515390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9620596-AD83-40A9-A123-08EA0734F453}"/>
              </a:ext>
            </a:extLst>
          </p:cNvPr>
          <p:cNvGraphicFramePr>
            <a:graphicFrameLocks noChangeAspect="1"/>
          </p:cNvGraphicFramePr>
          <p:nvPr>
            <p:custDataLst>
              <p:tags r:id="rId1"/>
            </p:custDataLst>
            <p:extLst>
              <p:ext uri="{D42A27DB-BD31-4B8C-83A1-F6EECF244321}">
                <p14:modId xmlns:p14="http://schemas.microsoft.com/office/powerpoint/2010/main" val="2039166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A9620596-AD83-40A9-A123-08EA0734F4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D663A7A6-8D3C-4DC5-AF22-6DCB113B898B}"/>
              </a:ext>
            </a:extLst>
          </p:cNvPr>
          <p:cNvPicPr>
            <a:picLocks noChangeAspect="1"/>
          </p:cNvPicPr>
          <p:nvPr/>
        </p:nvPicPr>
        <p:blipFill>
          <a:blip r:embed="rId5"/>
          <a:stretch>
            <a:fillRect/>
          </a:stretch>
        </p:blipFill>
        <p:spPr>
          <a:xfrm>
            <a:off x="328773" y="288167"/>
            <a:ext cx="11344015" cy="6359213"/>
          </a:xfrm>
          <a:prstGeom prst="rect">
            <a:avLst/>
          </a:prstGeom>
        </p:spPr>
      </p:pic>
    </p:spTree>
    <p:extLst>
      <p:ext uri="{BB962C8B-B14F-4D97-AF65-F5344CB8AC3E}">
        <p14:creationId xmlns:p14="http://schemas.microsoft.com/office/powerpoint/2010/main" val="32537606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B4B6A66-9E04-4833-B57D-9EA7EBBA1686}"/>
              </a:ext>
            </a:extLst>
          </p:cNvPr>
          <p:cNvGraphicFramePr>
            <a:graphicFrameLocks noChangeAspect="1"/>
          </p:cNvGraphicFramePr>
          <p:nvPr>
            <p:custDataLst>
              <p:tags r:id="rId1"/>
            </p:custDataLst>
            <p:extLst>
              <p:ext uri="{D42A27DB-BD31-4B8C-83A1-F6EECF244321}">
                <p14:modId xmlns:p14="http://schemas.microsoft.com/office/powerpoint/2010/main" val="2750536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9B4B6A66-9E04-4833-B57D-9EA7EBBA16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BCC83302-EA50-4C23-858B-75286211623A}"/>
              </a:ext>
            </a:extLst>
          </p:cNvPr>
          <p:cNvPicPr>
            <a:picLocks noChangeAspect="1"/>
          </p:cNvPicPr>
          <p:nvPr/>
        </p:nvPicPr>
        <p:blipFill>
          <a:blip r:embed="rId5"/>
          <a:stretch>
            <a:fillRect/>
          </a:stretch>
        </p:blipFill>
        <p:spPr>
          <a:xfrm>
            <a:off x="172948" y="129763"/>
            <a:ext cx="11846103" cy="6598474"/>
          </a:xfrm>
          <a:prstGeom prst="rect">
            <a:avLst/>
          </a:prstGeom>
        </p:spPr>
      </p:pic>
    </p:spTree>
    <p:extLst>
      <p:ext uri="{BB962C8B-B14F-4D97-AF65-F5344CB8AC3E}">
        <p14:creationId xmlns:p14="http://schemas.microsoft.com/office/powerpoint/2010/main" val="33488775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F5E603-548B-4576-BBB6-A50532C3D243}"/>
              </a:ext>
            </a:extLst>
          </p:cNvPr>
          <p:cNvGraphicFramePr>
            <a:graphicFrameLocks noChangeAspect="1"/>
          </p:cNvGraphicFramePr>
          <p:nvPr>
            <p:custDataLst>
              <p:tags r:id="rId1"/>
            </p:custDataLst>
            <p:extLst>
              <p:ext uri="{D42A27DB-BD31-4B8C-83A1-F6EECF244321}">
                <p14:modId xmlns:p14="http://schemas.microsoft.com/office/powerpoint/2010/main" val="2850543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D9F5E603-548B-4576-BBB6-A50532C3D2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47637" y="92147"/>
            <a:ext cx="11896725" cy="615950"/>
          </a:xfrm>
        </p:spPr>
        <p:txBody>
          <a:bodyPr vert="horz">
            <a:normAutofit fontScale="90000"/>
          </a:bodyPr>
          <a:lstStyle/>
          <a:p>
            <a:r>
              <a:rPr lang="en-US" b="1" dirty="0">
                <a:solidFill>
                  <a:schemeClr val="accent1"/>
                </a:solidFill>
              </a:rPr>
              <a:t>Word2vec – </a:t>
            </a:r>
            <a:r>
              <a:rPr lang="en-US" dirty="0">
                <a:solidFill>
                  <a:schemeClr val="accent1"/>
                </a:solidFill>
              </a:rPr>
              <a:t>Negative Sampling Introduction</a:t>
            </a:r>
          </a:p>
        </p:txBody>
      </p:sp>
      <p:sp>
        <p:nvSpPr>
          <p:cNvPr id="19" name="TextBox 18">
            <a:extLst>
              <a:ext uri="{FF2B5EF4-FFF2-40B4-BE49-F238E27FC236}">
                <a16:creationId xmlns:a16="http://schemas.microsoft.com/office/drawing/2014/main" id="{58A59DC6-D3D0-4BB1-93BC-9ECA02D2F6F8}"/>
              </a:ext>
            </a:extLst>
          </p:cNvPr>
          <p:cNvSpPr txBox="1"/>
          <p:nvPr/>
        </p:nvSpPr>
        <p:spPr>
          <a:xfrm>
            <a:off x="147637" y="4162278"/>
            <a:ext cx="11982352" cy="2585323"/>
          </a:xfrm>
          <a:prstGeom prst="rect">
            <a:avLst/>
          </a:prstGeom>
          <a:noFill/>
        </p:spPr>
        <p:txBody>
          <a:bodyPr wrap="square">
            <a:spAutoFit/>
          </a:bodyPr>
          <a:lstStyle/>
          <a:p>
            <a:pPr marL="457200" indent="-457200" algn="l">
              <a:buClr>
                <a:srgbClr val="3A6008"/>
              </a:buClr>
              <a:buFont typeface="+mj-lt"/>
              <a:buAutoNum type="arabicPeriod"/>
            </a:pPr>
            <a:r>
              <a:rPr lang="en-US" altLang="en-US" i="1" dirty="0"/>
              <a:t>A new supervised learning algo with picking up a couple of sample pairs (context, target)</a:t>
            </a:r>
            <a:endParaRPr lang="en-US" altLang="en-US" b="1" i="1" dirty="0"/>
          </a:p>
          <a:p>
            <a:pPr marL="914400" lvl="1" indent="-457200">
              <a:buClr>
                <a:srgbClr val="3A6008"/>
              </a:buClr>
              <a:buFont typeface="+mj-lt"/>
              <a:buAutoNum type="arabicPeriod"/>
            </a:pPr>
            <a:r>
              <a:rPr lang="en-US" altLang="en-US" i="1" dirty="0"/>
              <a:t>Generate with the same </a:t>
            </a:r>
            <a:r>
              <a:rPr lang="en-US" altLang="en-US" i="1" dirty="0" err="1"/>
              <a:t>softmax</a:t>
            </a:r>
            <a:r>
              <a:rPr lang="en-US" altLang="en-US" i="1" dirty="0"/>
              <a:t> highest probability and call it as a +ve example – orange, juice</a:t>
            </a:r>
          </a:p>
          <a:p>
            <a:pPr marL="914400" lvl="1" indent="-457200">
              <a:buClr>
                <a:srgbClr val="3A6008"/>
              </a:buClr>
              <a:buFont typeface="+mj-lt"/>
              <a:buAutoNum type="arabicPeriod"/>
            </a:pPr>
            <a:r>
              <a:rPr lang="en-US" altLang="en-US" i="1" dirty="0"/>
              <a:t>Generate another sample pair but with picking a word </a:t>
            </a:r>
            <a:r>
              <a:rPr lang="en-US" altLang="en-US" b="1" i="1" dirty="0"/>
              <a:t>randomly</a:t>
            </a:r>
            <a:r>
              <a:rPr lang="en-US" altLang="en-US" i="1" dirty="0"/>
              <a:t> (with any prob) – orange, king and a couple of other pairs and label it as 0</a:t>
            </a:r>
          </a:p>
          <a:p>
            <a:pPr>
              <a:buClr>
                <a:srgbClr val="3A6008"/>
              </a:buClr>
            </a:pPr>
            <a:r>
              <a:rPr lang="en-US" altLang="en-US" b="1" i="1" dirty="0"/>
              <a:t>The problem here is to solve that given the pair of words like – (orange, juice) What is probability that they will occur together? Training set is generated on the same</a:t>
            </a:r>
          </a:p>
          <a:p>
            <a:pPr>
              <a:buClr>
                <a:srgbClr val="3A6008"/>
              </a:buClr>
            </a:pPr>
            <a:endParaRPr lang="en-US" altLang="en-US" b="1" i="1" dirty="0"/>
          </a:p>
          <a:p>
            <a:pPr>
              <a:buClr>
                <a:srgbClr val="3A6008"/>
              </a:buClr>
            </a:pPr>
            <a:r>
              <a:rPr lang="en-US" altLang="en-US" b="1" i="1" dirty="0"/>
              <a:t>Now, instead of running 10K models (based on vocab size for each of the word) we run K+1 models (Spatial logistic Regression). For every iteration (no. of iterations we pick) we choose k different words and select with highest prob</a:t>
            </a:r>
          </a:p>
        </p:txBody>
      </p:sp>
      <p:pic>
        <p:nvPicPr>
          <p:cNvPr id="26" name="Picture 25">
            <a:extLst>
              <a:ext uri="{FF2B5EF4-FFF2-40B4-BE49-F238E27FC236}">
                <a16:creationId xmlns:a16="http://schemas.microsoft.com/office/drawing/2014/main" id="{82D65F50-CE82-4CCF-BA96-BFC6E6A0E305}"/>
              </a:ext>
            </a:extLst>
          </p:cNvPr>
          <p:cNvPicPr>
            <a:picLocks noChangeAspect="1"/>
          </p:cNvPicPr>
          <p:nvPr/>
        </p:nvPicPr>
        <p:blipFill>
          <a:blip r:embed="rId6"/>
          <a:stretch>
            <a:fillRect/>
          </a:stretch>
        </p:blipFill>
        <p:spPr>
          <a:xfrm>
            <a:off x="147637" y="706854"/>
            <a:ext cx="5934645" cy="3455424"/>
          </a:xfrm>
          <a:prstGeom prst="rect">
            <a:avLst/>
          </a:prstGeom>
        </p:spPr>
      </p:pic>
      <p:pic>
        <p:nvPicPr>
          <p:cNvPr id="30" name="Picture 29">
            <a:extLst>
              <a:ext uri="{FF2B5EF4-FFF2-40B4-BE49-F238E27FC236}">
                <a16:creationId xmlns:a16="http://schemas.microsoft.com/office/drawing/2014/main" id="{11139691-92FF-46B1-AE75-3280A963A97B}"/>
              </a:ext>
            </a:extLst>
          </p:cNvPr>
          <p:cNvPicPr>
            <a:picLocks noChangeAspect="1"/>
          </p:cNvPicPr>
          <p:nvPr/>
        </p:nvPicPr>
        <p:blipFill>
          <a:blip r:embed="rId7"/>
          <a:stretch>
            <a:fillRect/>
          </a:stretch>
        </p:blipFill>
        <p:spPr>
          <a:xfrm>
            <a:off x="6195344" y="706854"/>
            <a:ext cx="5934645" cy="3455424"/>
          </a:xfrm>
          <a:prstGeom prst="rect">
            <a:avLst/>
          </a:prstGeom>
        </p:spPr>
      </p:pic>
    </p:spTree>
    <p:extLst>
      <p:ext uri="{BB962C8B-B14F-4D97-AF65-F5344CB8AC3E}">
        <p14:creationId xmlns:p14="http://schemas.microsoft.com/office/powerpoint/2010/main" val="15701904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A0C3038-4D95-4DDB-8628-407CF2BC4743}"/>
              </a:ext>
            </a:extLst>
          </p:cNvPr>
          <p:cNvGraphicFramePr>
            <a:graphicFrameLocks noChangeAspect="1"/>
          </p:cNvGraphicFramePr>
          <p:nvPr>
            <p:custDataLst>
              <p:tags r:id="rId1"/>
            </p:custDataLst>
            <p:extLst>
              <p:ext uri="{D42A27DB-BD31-4B8C-83A1-F6EECF244321}">
                <p14:modId xmlns:p14="http://schemas.microsoft.com/office/powerpoint/2010/main" val="399050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FA0C3038-4D95-4DDB-8628-407CF2BC47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415AE3F7-8DFD-48BD-BE3C-2A39508804B1}"/>
              </a:ext>
            </a:extLst>
          </p:cNvPr>
          <p:cNvGrpSpPr/>
          <p:nvPr/>
        </p:nvGrpSpPr>
        <p:grpSpPr>
          <a:xfrm>
            <a:off x="578777" y="267174"/>
            <a:ext cx="10866634" cy="5702111"/>
            <a:chOff x="123291" y="393842"/>
            <a:chExt cx="11918022" cy="6279092"/>
          </a:xfrm>
        </p:grpSpPr>
        <p:pic>
          <p:nvPicPr>
            <p:cNvPr id="11" name="Picture 10">
              <a:extLst>
                <a:ext uri="{FF2B5EF4-FFF2-40B4-BE49-F238E27FC236}">
                  <a16:creationId xmlns:a16="http://schemas.microsoft.com/office/drawing/2014/main" id="{EE3479BC-23B1-464C-B79C-8A7F8D9018AE}"/>
                </a:ext>
              </a:extLst>
            </p:cNvPr>
            <p:cNvPicPr>
              <a:picLocks noChangeAspect="1"/>
            </p:cNvPicPr>
            <p:nvPr/>
          </p:nvPicPr>
          <p:blipFill>
            <a:blip r:embed="rId5"/>
            <a:stretch>
              <a:fillRect/>
            </a:stretch>
          </p:blipFill>
          <p:spPr>
            <a:xfrm>
              <a:off x="123291" y="393842"/>
              <a:ext cx="11918022" cy="6279092"/>
            </a:xfrm>
            <a:prstGeom prst="rect">
              <a:avLst/>
            </a:prstGeom>
          </p:spPr>
        </p:pic>
        <p:sp>
          <p:nvSpPr>
            <p:cNvPr id="13" name="Rectangle 12">
              <a:extLst>
                <a:ext uri="{FF2B5EF4-FFF2-40B4-BE49-F238E27FC236}">
                  <a16:creationId xmlns:a16="http://schemas.microsoft.com/office/drawing/2014/main" id="{8B36D79A-3317-4FB2-A7FB-0940C43B3E38}"/>
                </a:ext>
              </a:extLst>
            </p:cNvPr>
            <p:cNvSpPr/>
            <p:nvPr/>
          </p:nvSpPr>
          <p:spPr>
            <a:xfrm>
              <a:off x="8794678" y="3059669"/>
              <a:ext cx="2219219" cy="36933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Juice</a:t>
              </a:r>
            </a:p>
          </p:txBody>
        </p:sp>
        <p:sp>
          <p:nvSpPr>
            <p:cNvPr id="14" name="Rectangle 13">
              <a:extLst>
                <a:ext uri="{FF2B5EF4-FFF2-40B4-BE49-F238E27FC236}">
                  <a16:creationId xmlns:a16="http://schemas.microsoft.com/office/drawing/2014/main" id="{E04BDCCC-FA69-4BE5-AAC0-5E8B4826031C}"/>
                </a:ext>
              </a:extLst>
            </p:cNvPr>
            <p:cNvSpPr/>
            <p:nvPr/>
          </p:nvSpPr>
          <p:spPr>
            <a:xfrm>
              <a:off x="226032" y="3867760"/>
              <a:ext cx="1175912" cy="113627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Orange</a:t>
              </a:r>
            </a:p>
          </p:txBody>
        </p:sp>
      </p:grpSp>
      <p:grpSp>
        <p:nvGrpSpPr>
          <p:cNvPr id="30" name="Group 29">
            <a:extLst>
              <a:ext uri="{FF2B5EF4-FFF2-40B4-BE49-F238E27FC236}">
                <a16:creationId xmlns:a16="http://schemas.microsoft.com/office/drawing/2014/main" id="{A7EFFDCA-9ABE-23E6-5036-9D49DE4B9F14}"/>
              </a:ext>
            </a:extLst>
          </p:cNvPr>
          <p:cNvGrpSpPr/>
          <p:nvPr/>
        </p:nvGrpSpPr>
        <p:grpSpPr>
          <a:xfrm>
            <a:off x="7283960" y="1546600"/>
            <a:ext cx="3282480" cy="3142440"/>
            <a:chOff x="7283960" y="1546600"/>
            <a:chExt cx="3282480" cy="3142440"/>
          </a:xfrm>
        </p:grpSpPr>
        <mc:AlternateContent xmlns:mc="http://schemas.openxmlformats.org/markup-compatibility/2006" xmlns:p14="http://schemas.microsoft.com/office/powerpoint/2010/main">
          <mc:Choice Requires="p14">
            <p:contentPart p14:bwMode="auto" r:id="rId6">
              <p14:nvContentPartPr>
                <p14:cNvPr id="2" name="Ink 1">
                  <a:extLst>
                    <a:ext uri="{FF2B5EF4-FFF2-40B4-BE49-F238E27FC236}">
                      <a16:creationId xmlns:a16="http://schemas.microsoft.com/office/drawing/2014/main" id="{746BB211-21E0-1312-47A5-F3F04A1B0F23}"/>
                    </a:ext>
                  </a:extLst>
                </p14:cNvPr>
                <p14:cNvContentPartPr/>
                <p14:nvPr/>
              </p14:nvContentPartPr>
              <p14:xfrm>
                <a:off x="9312560" y="2490880"/>
                <a:ext cx="276840" cy="115560"/>
              </p14:xfrm>
            </p:contentPart>
          </mc:Choice>
          <mc:Fallback xmlns="">
            <p:pic>
              <p:nvPicPr>
                <p:cNvPr id="2" name="Ink 1">
                  <a:extLst>
                    <a:ext uri="{FF2B5EF4-FFF2-40B4-BE49-F238E27FC236}">
                      <a16:creationId xmlns:a16="http://schemas.microsoft.com/office/drawing/2014/main" id="{746BB211-21E0-1312-47A5-F3F04A1B0F23}"/>
                    </a:ext>
                  </a:extLst>
                </p:cNvPr>
                <p:cNvPicPr/>
                <p:nvPr/>
              </p:nvPicPr>
              <p:blipFill>
                <a:blip r:embed="rId7"/>
                <a:stretch>
                  <a:fillRect/>
                </a:stretch>
              </p:blipFill>
              <p:spPr>
                <a:xfrm>
                  <a:off x="9297440" y="2475400"/>
                  <a:ext cx="307440" cy="1461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3" name="Ink 2">
                  <a:extLst>
                    <a:ext uri="{FF2B5EF4-FFF2-40B4-BE49-F238E27FC236}">
                      <a16:creationId xmlns:a16="http://schemas.microsoft.com/office/drawing/2014/main" id="{E1DEC513-A57C-2840-4E05-CAC8912D3D80}"/>
                    </a:ext>
                  </a:extLst>
                </p14:cNvPr>
                <p14:cNvContentPartPr/>
                <p14:nvPr/>
              </p14:nvContentPartPr>
              <p14:xfrm>
                <a:off x="10184480" y="3131320"/>
                <a:ext cx="220680" cy="1179720"/>
              </p14:xfrm>
            </p:contentPart>
          </mc:Choice>
          <mc:Fallback xmlns="">
            <p:pic>
              <p:nvPicPr>
                <p:cNvPr id="3" name="Ink 2">
                  <a:extLst>
                    <a:ext uri="{FF2B5EF4-FFF2-40B4-BE49-F238E27FC236}">
                      <a16:creationId xmlns:a16="http://schemas.microsoft.com/office/drawing/2014/main" id="{E1DEC513-A57C-2840-4E05-CAC8912D3D80}"/>
                    </a:ext>
                  </a:extLst>
                </p:cNvPr>
                <p:cNvPicPr/>
                <p:nvPr/>
              </p:nvPicPr>
              <p:blipFill>
                <a:blip r:embed="rId9"/>
                <a:stretch>
                  <a:fillRect/>
                </a:stretch>
              </p:blipFill>
              <p:spPr>
                <a:xfrm>
                  <a:off x="10169360" y="3116200"/>
                  <a:ext cx="251280" cy="121032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4" name="Ink 3">
                  <a:extLst>
                    <a:ext uri="{FF2B5EF4-FFF2-40B4-BE49-F238E27FC236}">
                      <a16:creationId xmlns:a16="http://schemas.microsoft.com/office/drawing/2014/main" id="{86D855E4-F108-28FA-6AF8-52853B9E6A11}"/>
                    </a:ext>
                  </a:extLst>
                </p14:cNvPr>
                <p14:cNvContentPartPr/>
                <p14:nvPr/>
              </p14:nvContentPartPr>
              <p14:xfrm>
                <a:off x="7283960" y="2634160"/>
                <a:ext cx="41760" cy="1180800"/>
              </p14:xfrm>
            </p:contentPart>
          </mc:Choice>
          <mc:Fallback xmlns="">
            <p:pic>
              <p:nvPicPr>
                <p:cNvPr id="4" name="Ink 3">
                  <a:extLst>
                    <a:ext uri="{FF2B5EF4-FFF2-40B4-BE49-F238E27FC236}">
                      <a16:creationId xmlns:a16="http://schemas.microsoft.com/office/drawing/2014/main" id="{86D855E4-F108-28FA-6AF8-52853B9E6A11}"/>
                    </a:ext>
                  </a:extLst>
                </p:cNvPr>
                <p:cNvPicPr/>
                <p:nvPr/>
              </p:nvPicPr>
              <p:blipFill>
                <a:blip r:embed="rId11"/>
                <a:stretch>
                  <a:fillRect/>
                </a:stretch>
              </p:blipFill>
              <p:spPr>
                <a:xfrm>
                  <a:off x="7268480" y="2618680"/>
                  <a:ext cx="72360" cy="12114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5" name="Ink 4">
                  <a:extLst>
                    <a:ext uri="{FF2B5EF4-FFF2-40B4-BE49-F238E27FC236}">
                      <a16:creationId xmlns:a16="http://schemas.microsoft.com/office/drawing/2014/main" id="{3D68A387-8A2D-31EC-7D09-E3CD001949FF}"/>
                    </a:ext>
                  </a:extLst>
                </p14:cNvPr>
                <p14:cNvContentPartPr/>
                <p14:nvPr/>
              </p14:nvContentPartPr>
              <p14:xfrm>
                <a:off x="7336880" y="2358400"/>
                <a:ext cx="3034080" cy="2237040"/>
              </p14:xfrm>
            </p:contentPart>
          </mc:Choice>
          <mc:Fallback xmlns="">
            <p:pic>
              <p:nvPicPr>
                <p:cNvPr id="5" name="Ink 4">
                  <a:extLst>
                    <a:ext uri="{FF2B5EF4-FFF2-40B4-BE49-F238E27FC236}">
                      <a16:creationId xmlns:a16="http://schemas.microsoft.com/office/drawing/2014/main" id="{3D68A387-8A2D-31EC-7D09-E3CD001949FF}"/>
                    </a:ext>
                  </a:extLst>
                </p:cNvPr>
                <p:cNvPicPr/>
                <p:nvPr/>
              </p:nvPicPr>
              <p:blipFill>
                <a:blip r:embed="rId13"/>
                <a:stretch>
                  <a:fillRect/>
                </a:stretch>
              </p:blipFill>
              <p:spPr>
                <a:xfrm>
                  <a:off x="7321760" y="2343280"/>
                  <a:ext cx="3064320" cy="226764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7" name="Ink 6">
                  <a:extLst>
                    <a:ext uri="{FF2B5EF4-FFF2-40B4-BE49-F238E27FC236}">
                      <a16:creationId xmlns:a16="http://schemas.microsoft.com/office/drawing/2014/main" id="{2D27B16A-92DB-FDFF-AE2D-662FD1A0964C}"/>
                    </a:ext>
                  </a:extLst>
                </p14:cNvPr>
                <p14:cNvContentPartPr/>
                <p14:nvPr/>
              </p14:nvContentPartPr>
              <p14:xfrm>
                <a:off x="9003680" y="2976880"/>
                <a:ext cx="65520" cy="20160"/>
              </p14:xfrm>
            </p:contentPart>
          </mc:Choice>
          <mc:Fallback xmlns="">
            <p:pic>
              <p:nvPicPr>
                <p:cNvPr id="7" name="Ink 6">
                  <a:extLst>
                    <a:ext uri="{FF2B5EF4-FFF2-40B4-BE49-F238E27FC236}">
                      <a16:creationId xmlns:a16="http://schemas.microsoft.com/office/drawing/2014/main" id="{2D27B16A-92DB-FDFF-AE2D-662FD1A0964C}"/>
                    </a:ext>
                  </a:extLst>
                </p:cNvPr>
                <p:cNvPicPr/>
                <p:nvPr/>
              </p:nvPicPr>
              <p:blipFill>
                <a:blip r:embed="rId15"/>
                <a:stretch>
                  <a:fillRect/>
                </a:stretch>
              </p:blipFill>
              <p:spPr>
                <a:xfrm>
                  <a:off x="8988560" y="2961400"/>
                  <a:ext cx="96120" cy="5040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8" name="Ink 7">
                  <a:extLst>
                    <a:ext uri="{FF2B5EF4-FFF2-40B4-BE49-F238E27FC236}">
                      <a16:creationId xmlns:a16="http://schemas.microsoft.com/office/drawing/2014/main" id="{B306476F-0362-A3D6-518E-DD3A15DBB8B8}"/>
                    </a:ext>
                  </a:extLst>
                </p14:cNvPr>
                <p14:cNvContentPartPr/>
                <p14:nvPr/>
              </p14:nvContentPartPr>
              <p14:xfrm>
                <a:off x="9956960" y="2768080"/>
                <a:ext cx="149040" cy="27720"/>
              </p14:xfrm>
            </p:contentPart>
          </mc:Choice>
          <mc:Fallback xmlns="">
            <p:pic>
              <p:nvPicPr>
                <p:cNvPr id="8" name="Ink 7">
                  <a:extLst>
                    <a:ext uri="{FF2B5EF4-FFF2-40B4-BE49-F238E27FC236}">
                      <a16:creationId xmlns:a16="http://schemas.microsoft.com/office/drawing/2014/main" id="{B306476F-0362-A3D6-518E-DD3A15DBB8B8}"/>
                    </a:ext>
                  </a:extLst>
                </p:cNvPr>
                <p:cNvPicPr/>
                <p:nvPr/>
              </p:nvPicPr>
              <p:blipFill>
                <a:blip r:embed="rId17"/>
                <a:stretch>
                  <a:fillRect/>
                </a:stretch>
              </p:blipFill>
              <p:spPr>
                <a:xfrm>
                  <a:off x="9941480" y="2752960"/>
                  <a:ext cx="179640" cy="579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0" name="Ink 9">
                  <a:extLst>
                    <a:ext uri="{FF2B5EF4-FFF2-40B4-BE49-F238E27FC236}">
                      <a16:creationId xmlns:a16="http://schemas.microsoft.com/office/drawing/2014/main" id="{7CA54BC3-8DDD-7C01-8B8E-BF311859AF05}"/>
                    </a:ext>
                  </a:extLst>
                </p14:cNvPr>
                <p14:cNvContentPartPr/>
                <p14:nvPr/>
              </p14:nvContentPartPr>
              <p14:xfrm>
                <a:off x="9797120" y="1673680"/>
                <a:ext cx="34200" cy="213120"/>
              </p14:xfrm>
            </p:contentPart>
          </mc:Choice>
          <mc:Fallback xmlns="">
            <p:pic>
              <p:nvPicPr>
                <p:cNvPr id="10" name="Ink 9">
                  <a:extLst>
                    <a:ext uri="{FF2B5EF4-FFF2-40B4-BE49-F238E27FC236}">
                      <a16:creationId xmlns:a16="http://schemas.microsoft.com/office/drawing/2014/main" id="{7CA54BC3-8DDD-7C01-8B8E-BF311859AF05}"/>
                    </a:ext>
                  </a:extLst>
                </p:cNvPr>
                <p:cNvPicPr/>
                <p:nvPr/>
              </p:nvPicPr>
              <p:blipFill>
                <a:blip r:embed="rId19"/>
                <a:stretch>
                  <a:fillRect/>
                </a:stretch>
              </p:blipFill>
              <p:spPr>
                <a:xfrm>
                  <a:off x="9782000" y="1658560"/>
                  <a:ext cx="64440" cy="24372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2" name="Ink 11">
                  <a:extLst>
                    <a:ext uri="{FF2B5EF4-FFF2-40B4-BE49-F238E27FC236}">
                      <a16:creationId xmlns:a16="http://schemas.microsoft.com/office/drawing/2014/main" id="{284FF708-2398-27EC-51FE-37CDB446F825}"/>
                    </a:ext>
                  </a:extLst>
                </p14:cNvPr>
                <p14:cNvContentPartPr/>
                <p14:nvPr/>
              </p14:nvContentPartPr>
              <p14:xfrm>
                <a:off x="9720080" y="1653520"/>
                <a:ext cx="100440" cy="260640"/>
              </p14:xfrm>
            </p:contentPart>
          </mc:Choice>
          <mc:Fallback xmlns="">
            <p:pic>
              <p:nvPicPr>
                <p:cNvPr id="12" name="Ink 11">
                  <a:extLst>
                    <a:ext uri="{FF2B5EF4-FFF2-40B4-BE49-F238E27FC236}">
                      <a16:creationId xmlns:a16="http://schemas.microsoft.com/office/drawing/2014/main" id="{284FF708-2398-27EC-51FE-37CDB446F825}"/>
                    </a:ext>
                  </a:extLst>
                </p:cNvPr>
                <p:cNvPicPr/>
                <p:nvPr/>
              </p:nvPicPr>
              <p:blipFill>
                <a:blip r:embed="rId21"/>
                <a:stretch>
                  <a:fillRect/>
                </a:stretch>
              </p:blipFill>
              <p:spPr>
                <a:xfrm>
                  <a:off x="9704600" y="1638400"/>
                  <a:ext cx="130680" cy="29124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6" name="Ink 15">
                  <a:extLst>
                    <a:ext uri="{FF2B5EF4-FFF2-40B4-BE49-F238E27FC236}">
                      <a16:creationId xmlns:a16="http://schemas.microsoft.com/office/drawing/2014/main" id="{55D85825-D66A-E211-4B91-34690B8336C5}"/>
                    </a:ext>
                  </a:extLst>
                </p14:cNvPr>
                <p14:cNvContentPartPr/>
                <p14:nvPr/>
              </p14:nvContentPartPr>
              <p14:xfrm>
                <a:off x="9806840" y="1685200"/>
                <a:ext cx="150480" cy="160200"/>
              </p14:xfrm>
            </p:contentPart>
          </mc:Choice>
          <mc:Fallback xmlns="">
            <p:pic>
              <p:nvPicPr>
                <p:cNvPr id="16" name="Ink 15">
                  <a:extLst>
                    <a:ext uri="{FF2B5EF4-FFF2-40B4-BE49-F238E27FC236}">
                      <a16:creationId xmlns:a16="http://schemas.microsoft.com/office/drawing/2014/main" id="{55D85825-D66A-E211-4B91-34690B8336C5}"/>
                    </a:ext>
                  </a:extLst>
                </p:cNvPr>
                <p:cNvPicPr/>
                <p:nvPr/>
              </p:nvPicPr>
              <p:blipFill>
                <a:blip r:embed="rId23"/>
                <a:stretch>
                  <a:fillRect/>
                </a:stretch>
              </p:blipFill>
              <p:spPr>
                <a:xfrm>
                  <a:off x="9791360" y="1670080"/>
                  <a:ext cx="181080" cy="19044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7" name="Ink 16">
                  <a:extLst>
                    <a:ext uri="{FF2B5EF4-FFF2-40B4-BE49-F238E27FC236}">
                      <a16:creationId xmlns:a16="http://schemas.microsoft.com/office/drawing/2014/main" id="{E31C6CA3-AF1C-918B-9750-15BFF513B871}"/>
                    </a:ext>
                  </a:extLst>
                </p14:cNvPr>
                <p14:cNvContentPartPr/>
                <p14:nvPr/>
              </p14:nvContentPartPr>
              <p14:xfrm>
                <a:off x="9958400" y="1701040"/>
                <a:ext cx="29880" cy="143640"/>
              </p14:xfrm>
            </p:contentPart>
          </mc:Choice>
          <mc:Fallback xmlns="">
            <p:pic>
              <p:nvPicPr>
                <p:cNvPr id="17" name="Ink 16">
                  <a:extLst>
                    <a:ext uri="{FF2B5EF4-FFF2-40B4-BE49-F238E27FC236}">
                      <a16:creationId xmlns:a16="http://schemas.microsoft.com/office/drawing/2014/main" id="{E31C6CA3-AF1C-918B-9750-15BFF513B871}"/>
                    </a:ext>
                  </a:extLst>
                </p:cNvPr>
                <p:cNvPicPr/>
                <p:nvPr/>
              </p:nvPicPr>
              <p:blipFill>
                <a:blip r:embed="rId25"/>
                <a:stretch>
                  <a:fillRect/>
                </a:stretch>
              </p:blipFill>
              <p:spPr>
                <a:xfrm>
                  <a:off x="9942920" y="1685920"/>
                  <a:ext cx="60480" cy="17424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8" name="Ink 17">
                  <a:extLst>
                    <a:ext uri="{FF2B5EF4-FFF2-40B4-BE49-F238E27FC236}">
                      <a16:creationId xmlns:a16="http://schemas.microsoft.com/office/drawing/2014/main" id="{1DCC4E01-8E1D-F255-6DC2-462CD61D4F68}"/>
                    </a:ext>
                  </a:extLst>
                </p14:cNvPr>
                <p14:cNvContentPartPr/>
                <p14:nvPr/>
              </p14:nvContentPartPr>
              <p14:xfrm>
                <a:off x="10046600" y="1663600"/>
                <a:ext cx="26640" cy="137520"/>
              </p14:xfrm>
            </p:contentPart>
          </mc:Choice>
          <mc:Fallback xmlns="">
            <p:pic>
              <p:nvPicPr>
                <p:cNvPr id="18" name="Ink 17">
                  <a:extLst>
                    <a:ext uri="{FF2B5EF4-FFF2-40B4-BE49-F238E27FC236}">
                      <a16:creationId xmlns:a16="http://schemas.microsoft.com/office/drawing/2014/main" id="{1DCC4E01-8E1D-F255-6DC2-462CD61D4F68}"/>
                    </a:ext>
                  </a:extLst>
                </p:cNvPr>
                <p:cNvPicPr/>
                <p:nvPr/>
              </p:nvPicPr>
              <p:blipFill>
                <a:blip r:embed="rId27"/>
                <a:stretch>
                  <a:fillRect/>
                </a:stretch>
              </p:blipFill>
              <p:spPr>
                <a:xfrm>
                  <a:off x="10031480" y="1648120"/>
                  <a:ext cx="57240" cy="16812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9" name="Ink 18">
                  <a:extLst>
                    <a:ext uri="{FF2B5EF4-FFF2-40B4-BE49-F238E27FC236}">
                      <a16:creationId xmlns:a16="http://schemas.microsoft.com/office/drawing/2014/main" id="{77E07BF1-C2F7-A154-A221-AAE931135A02}"/>
                    </a:ext>
                  </a:extLst>
                </p14:cNvPr>
                <p14:cNvContentPartPr/>
                <p14:nvPr/>
              </p14:nvContentPartPr>
              <p14:xfrm>
                <a:off x="10079000" y="1559560"/>
                <a:ext cx="13680" cy="79200"/>
              </p14:xfrm>
            </p:contentPart>
          </mc:Choice>
          <mc:Fallback xmlns="">
            <p:pic>
              <p:nvPicPr>
                <p:cNvPr id="19" name="Ink 18">
                  <a:extLst>
                    <a:ext uri="{FF2B5EF4-FFF2-40B4-BE49-F238E27FC236}">
                      <a16:creationId xmlns:a16="http://schemas.microsoft.com/office/drawing/2014/main" id="{77E07BF1-C2F7-A154-A221-AAE931135A02}"/>
                    </a:ext>
                  </a:extLst>
                </p:cNvPr>
                <p:cNvPicPr/>
                <p:nvPr/>
              </p:nvPicPr>
              <p:blipFill>
                <a:blip r:embed="rId29"/>
                <a:stretch>
                  <a:fillRect/>
                </a:stretch>
              </p:blipFill>
              <p:spPr>
                <a:xfrm>
                  <a:off x="10063520" y="1544080"/>
                  <a:ext cx="44280" cy="1098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20" name="Ink 19">
                  <a:extLst>
                    <a:ext uri="{FF2B5EF4-FFF2-40B4-BE49-F238E27FC236}">
                      <a16:creationId xmlns:a16="http://schemas.microsoft.com/office/drawing/2014/main" id="{A1A055EB-F09A-0B5A-E64D-1EBEBD457CC5}"/>
                    </a:ext>
                  </a:extLst>
                </p14:cNvPr>
                <p14:cNvContentPartPr/>
                <p14:nvPr/>
              </p14:nvContentPartPr>
              <p14:xfrm>
                <a:off x="10136960" y="1553080"/>
                <a:ext cx="128880" cy="202320"/>
              </p14:xfrm>
            </p:contentPart>
          </mc:Choice>
          <mc:Fallback xmlns="">
            <p:pic>
              <p:nvPicPr>
                <p:cNvPr id="20" name="Ink 19">
                  <a:extLst>
                    <a:ext uri="{FF2B5EF4-FFF2-40B4-BE49-F238E27FC236}">
                      <a16:creationId xmlns:a16="http://schemas.microsoft.com/office/drawing/2014/main" id="{A1A055EB-F09A-0B5A-E64D-1EBEBD457CC5}"/>
                    </a:ext>
                  </a:extLst>
                </p:cNvPr>
                <p:cNvPicPr/>
                <p:nvPr/>
              </p:nvPicPr>
              <p:blipFill>
                <a:blip r:embed="rId31"/>
                <a:stretch>
                  <a:fillRect/>
                </a:stretch>
              </p:blipFill>
              <p:spPr>
                <a:xfrm>
                  <a:off x="10121840" y="1537960"/>
                  <a:ext cx="159480" cy="23292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21" name="Ink 20">
                  <a:extLst>
                    <a:ext uri="{FF2B5EF4-FFF2-40B4-BE49-F238E27FC236}">
                      <a16:creationId xmlns:a16="http://schemas.microsoft.com/office/drawing/2014/main" id="{5B1F2EFC-3F2B-7644-A018-4EA16C0DCF57}"/>
                    </a:ext>
                  </a:extLst>
                </p14:cNvPr>
                <p14:cNvContentPartPr/>
                <p14:nvPr/>
              </p14:nvContentPartPr>
              <p14:xfrm>
                <a:off x="10265840" y="1546600"/>
                <a:ext cx="145440" cy="212760"/>
              </p14:xfrm>
            </p:contentPart>
          </mc:Choice>
          <mc:Fallback xmlns="">
            <p:pic>
              <p:nvPicPr>
                <p:cNvPr id="21" name="Ink 20">
                  <a:extLst>
                    <a:ext uri="{FF2B5EF4-FFF2-40B4-BE49-F238E27FC236}">
                      <a16:creationId xmlns:a16="http://schemas.microsoft.com/office/drawing/2014/main" id="{5B1F2EFC-3F2B-7644-A018-4EA16C0DCF57}"/>
                    </a:ext>
                  </a:extLst>
                </p:cNvPr>
                <p:cNvPicPr/>
                <p:nvPr/>
              </p:nvPicPr>
              <p:blipFill>
                <a:blip r:embed="rId33"/>
                <a:stretch>
                  <a:fillRect/>
                </a:stretch>
              </p:blipFill>
              <p:spPr>
                <a:xfrm>
                  <a:off x="10250720" y="1531480"/>
                  <a:ext cx="176040" cy="24336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22" name="Ink 21">
                  <a:extLst>
                    <a:ext uri="{FF2B5EF4-FFF2-40B4-BE49-F238E27FC236}">
                      <a16:creationId xmlns:a16="http://schemas.microsoft.com/office/drawing/2014/main" id="{0A599630-0D2E-9F8D-DEA8-D9EB8F65402D}"/>
                    </a:ext>
                  </a:extLst>
                </p14:cNvPr>
                <p14:cNvContentPartPr/>
                <p14:nvPr/>
              </p14:nvContentPartPr>
              <p14:xfrm>
                <a:off x="9792440" y="1958440"/>
                <a:ext cx="697680" cy="115560"/>
              </p14:xfrm>
            </p:contentPart>
          </mc:Choice>
          <mc:Fallback xmlns="">
            <p:pic>
              <p:nvPicPr>
                <p:cNvPr id="22" name="Ink 21">
                  <a:extLst>
                    <a:ext uri="{FF2B5EF4-FFF2-40B4-BE49-F238E27FC236}">
                      <a16:creationId xmlns:a16="http://schemas.microsoft.com/office/drawing/2014/main" id="{0A599630-0D2E-9F8D-DEA8-D9EB8F65402D}"/>
                    </a:ext>
                  </a:extLst>
                </p:cNvPr>
                <p:cNvPicPr/>
                <p:nvPr/>
              </p:nvPicPr>
              <p:blipFill>
                <a:blip r:embed="rId35"/>
                <a:stretch>
                  <a:fillRect/>
                </a:stretch>
              </p:blipFill>
              <p:spPr>
                <a:xfrm>
                  <a:off x="9777320" y="1942960"/>
                  <a:ext cx="728280" cy="14616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23" name="Ink 22">
                  <a:extLst>
                    <a:ext uri="{FF2B5EF4-FFF2-40B4-BE49-F238E27FC236}">
                      <a16:creationId xmlns:a16="http://schemas.microsoft.com/office/drawing/2014/main" id="{4B6D21EA-FBD9-D9E5-9EC8-18CE6B253136}"/>
                    </a:ext>
                  </a:extLst>
                </p14:cNvPr>
                <p14:cNvContentPartPr/>
                <p14:nvPr/>
              </p14:nvContentPartPr>
              <p14:xfrm>
                <a:off x="9932840" y="2171920"/>
                <a:ext cx="107280" cy="346680"/>
              </p14:xfrm>
            </p:contentPart>
          </mc:Choice>
          <mc:Fallback xmlns="">
            <p:pic>
              <p:nvPicPr>
                <p:cNvPr id="23" name="Ink 22">
                  <a:extLst>
                    <a:ext uri="{FF2B5EF4-FFF2-40B4-BE49-F238E27FC236}">
                      <a16:creationId xmlns:a16="http://schemas.microsoft.com/office/drawing/2014/main" id="{4B6D21EA-FBD9-D9E5-9EC8-18CE6B253136}"/>
                    </a:ext>
                  </a:extLst>
                </p:cNvPr>
                <p:cNvPicPr/>
                <p:nvPr/>
              </p:nvPicPr>
              <p:blipFill>
                <a:blip r:embed="rId37"/>
                <a:stretch>
                  <a:fillRect/>
                </a:stretch>
              </p:blipFill>
              <p:spPr>
                <a:xfrm>
                  <a:off x="9917720" y="2156440"/>
                  <a:ext cx="137880" cy="37728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24" name="Ink 23">
                  <a:extLst>
                    <a:ext uri="{FF2B5EF4-FFF2-40B4-BE49-F238E27FC236}">
                      <a16:creationId xmlns:a16="http://schemas.microsoft.com/office/drawing/2014/main" id="{3E11ACA6-1ED1-F0DD-C8CB-0712FC7C43C5}"/>
                    </a:ext>
                  </a:extLst>
                </p14:cNvPr>
                <p14:cNvContentPartPr/>
                <p14:nvPr/>
              </p14:nvContentPartPr>
              <p14:xfrm>
                <a:off x="10207520" y="2188480"/>
                <a:ext cx="99360" cy="178920"/>
              </p14:xfrm>
            </p:contentPart>
          </mc:Choice>
          <mc:Fallback xmlns="">
            <p:pic>
              <p:nvPicPr>
                <p:cNvPr id="24" name="Ink 23">
                  <a:extLst>
                    <a:ext uri="{FF2B5EF4-FFF2-40B4-BE49-F238E27FC236}">
                      <a16:creationId xmlns:a16="http://schemas.microsoft.com/office/drawing/2014/main" id="{3E11ACA6-1ED1-F0DD-C8CB-0712FC7C43C5}"/>
                    </a:ext>
                  </a:extLst>
                </p:cNvPr>
                <p:cNvPicPr/>
                <p:nvPr/>
              </p:nvPicPr>
              <p:blipFill>
                <a:blip r:embed="rId39"/>
                <a:stretch>
                  <a:fillRect/>
                </a:stretch>
              </p:blipFill>
              <p:spPr>
                <a:xfrm>
                  <a:off x="10192040" y="2173360"/>
                  <a:ext cx="129600" cy="20952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25" name="Ink 24">
                  <a:extLst>
                    <a:ext uri="{FF2B5EF4-FFF2-40B4-BE49-F238E27FC236}">
                      <a16:creationId xmlns:a16="http://schemas.microsoft.com/office/drawing/2014/main" id="{F0385895-CEDE-3F1F-970E-F92D807B4BAA}"/>
                    </a:ext>
                  </a:extLst>
                </p14:cNvPr>
                <p14:cNvContentPartPr/>
                <p14:nvPr/>
              </p14:nvContentPartPr>
              <p14:xfrm>
                <a:off x="10219760" y="2134120"/>
                <a:ext cx="112320" cy="74520"/>
              </p14:xfrm>
            </p:contentPart>
          </mc:Choice>
          <mc:Fallback xmlns="">
            <p:pic>
              <p:nvPicPr>
                <p:cNvPr id="25" name="Ink 24">
                  <a:extLst>
                    <a:ext uri="{FF2B5EF4-FFF2-40B4-BE49-F238E27FC236}">
                      <a16:creationId xmlns:a16="http://schemas.microsoft.com/office/drawing/2014/main" id="{F0385895-CEDE-3F1F-970E-F92D807B4BAA}"/>
                    </a:ext>
                  </a:extLst>
                </p:cNvPr>
                <p:cNvPicPr/>
                <p:nvPr/>
              </p:nvPicPr>
              <p:blipFill>
                <a:blip r:embed="rId41"/>
                <a:stretch>
                  <a:fillRect/>
                </a:stretch>
              </p:blipFill>
              <p:spPr>
                <a:xfrm>
                  <a:off x="10204640" y="2119000"/>
                  <a:ext cx="142920" cy="10512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26" name="Ink 25">
                  <a:extLst>
                    <a:ext uri="{FF2B5EF4-FFF2-40B4-BE49-F238E27FC236}">
                      <a16:creationId xmlns:a16="http://schemas.microsoft.com/office/drawing/2014/main" id="{6E135497-3158-9F6B-183E-3E0393987D1A}"/>
                    </a:ext>
                  </a:extLst>
                </p14:cNvPr>
                <p14:cNvContentPartPr/>
                <p14:nvPr/>
              </p14:nvContentPartPr>
              <p14:xfrm>
                <a:off x="10453040" y="2096680"/>
                <a:ext cx="113400" cy="372960"/>
              </p14:xfrm>
            </p:contentPart>
          </mc:Choice>
          <mc:Fallback xmlns="">
            <p:pic>
              <p:nvPicPr>
                <p:cNvPr id="26" name="Ink 25">
                  <a:extLst>
                    <a:ext uri="{FF2B5EF4-FFF2-40B4-BE49-F238E27FC236}">
                      <a16:creationId xmlns:a16="http://schemas.microsoft.com/office/drawing/2014/main" id="{6E135497-3158-9F6B-183E-3E0393987D1A}"/>
                    </a:ext>
                  </a:extLst>
                </p:cNvPr>
                <p:cNvPicPr/>
                <p:nvPr/>
              </p:nvPicPr>
              <p:blipFill>
                <a:blip r:embed="rId43"/>
                <a:stretch>
                  <a:fillRect/>
                </a:stretch>
              </p:blipFill>
              <p:spPr>
                <a:xfrm>
                  <a:off x="10437920" y="2081200"/>
                  <a:ext cx="144000" cy="40320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27" name="Ink 26">
                  <a:extLst>
                    <a:ext uri="{FF2B5EF4-FFF2-40B4-BE49-F238E27FC236}">
                      <a16:creationId xmlns:a16="http://schemas.microsoft.com/office/drawing/2014/main" id="{3CF3E871-A508-13A5-BC72-00E1C2AF8F56}"/>
                    </a:ext>
                  </a:extLst>
                </p14:cNvPr>
                <p14:cNvContentPartPr/>
                <p14:nvPr/>
              </p14:nvContentPartPr>
              <p14:xfrm>
                <a:off x="10229840" y="2547760"/>
                <a:ext cx="200880" cy="23760"/>
              </p14:xfrm>
            </p:contentPart>
          </mc:Choice>
          <mc:Fallback xmlns="">
            <p:pic>
              <p:nvPicPr>
                <p:cNvPr id="27" name="Ink 26">
                  <a:extLst>
                    <a:ext uri="{FF2B5EF4-FFF2-40B4-BE49-F238E27FC236}">
                      <a16:creationId xmlns:a16="http://schemas.microsoft.com/office/drawing/2014/main" id="{3CF3E871-A508-13A5-BC72-00E1C2AF8F56}"/>
                    </a:ext>
                  </a:extLst>
                </p:cNvPr>
                <p:cNvPicPr/>
                <p:nvPr/>
              </p:nvPicPr>
              <p:blipFill>
                <a:blip r:embed="rId45"/>
                <a:stretch>
                  <a:fillRect/>
                </a:stretch>
              </p:blipFill>
              <p:spPr>
                <a:xfrm>
                  <a:off x="10214720" y="2532280"/>
                  <a:ext cx="231480" cy="5400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29" name="Ink 28">
                  <a:extLst>
                    <a:ext uri="{FF2B5EF4-FFF2-40B4-BE49-F238E27FC236}">
                      <a16:creationId xmlns:a16="http://schemas.microsoft.com/office/drawing/2014/main" id="{306568EC-7BE9-14E5-E295-063B30955231}"/>
                    </a:ext>
                  </a:extLst>
                </p14:cNvPr>
                <p14:cNvContentPartPr/>
                <p14:nvPr/>
              </p14:nvContentPartPr>
              <p14:xfrm>
                <a:off x="9927440" y="3196480"/>
                <a:ext cx="387720" cy="1492560"/>
              </p14:xfrm>
            </p:contentPart>
          </mc:Choice>
          <mc:Fallback xmlns="">
            <p:pic>
              <p:nvPicPr>
                <p:cNvPr id="29" name="Ink 28">
                  <a:extLst>
                    <a:ext uri="{FF2B5EF4-FFF2-40B4-BE49-F238E27FC236}">
                      <a16:creationId xmlns:a16="http://schemas.microsoft.com/office/drawing/2014/main" id="{306568EC-7BE9-14E5-E295-063B30955231}"/>
                    </a:ext>
                  </a:extLst>
                </p:cNvPr>
                <p:cNvPicPr/>
                <p:nvPr/>
              </p:nvPicPr>
              <p:blipFill>
                <a:blip r:embed="rId47"/>
                <a:stretch>
                  <a:fillRect/>
                </a:stretch>
              </p:blipFill>
              <p:spPr>
                <a:xfrm>
                  <a:off x="9912320" y="3181000"/>
                  <a:ext cx="418320" cy="152316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48">
            <p14:nvContentPartPr>
              <p14:cNvPr id="31" name="Ink 30">
                <a:extLst>
                  <a:ext uri="{FF2B5EF4-FFF2-40B4-BE49-F238E27FC236}">
                    <a16:creationId xmlns:a16="http://schemas.microsoft.com/office/drawing/2014/main" id="{B4044668-6BD1-01C7-DB7F-E458147339B1}"/>
                  </a:ext>
                </a:extLst>
              </p14:cNvPr>
              <p14:cNvContentPartPr/>
              <p14:nvPr/>
            </p14:nvContentPartPr>
            <p14:xfrm>
              <a:off x="8109080" y="3064360"/>
              <a:ext cx="403920" cy="1349640"/>
            </p14:xfrm>
          </p:contentPart>
        </mc:Choice>
        <mc:Fallback xmlns="">
          <p:pic>
            <p:nvPicPr>
              <p:cNvPr id="31" name="Ink 30">
                <a:extLst>
                  <a:ext uri="{FF2B5EF4-FFF2-40B4-BE49-F238E27FC236}">
                    <a16:creationId xmlns:a16="http://schemas.microsoft.com/office/drawing/2014/main" id="{B4044668-6BD1-01C7-DB7F-E458147339B1}"/>
                  </a:ext>
                </a:extLst>
              </p:cNvPr>
              <p:cNvPicPr/>
              <p:nvPr/>
            </p:nvPicPr>
            <p:blipFill>
              <a:blip r:embed="rId49"/>
              <a:stretch>
                <a:fillRect/>
              </a:stretch>
            </p:blipFill>
            <p:spPr>
              <a:xfrm>
                <a:off x="8093960" y="3048880"/>
                <a:ext cx="434160" cy="1380240"/>
              </a:xfrm>
              <a:prstGeom prst="rect">
                <a:avLst/>
              </a:prstGeom>
            </p:spPr>
          </p:pic>
        </mc:Fallback>
      </mc:AlternateContent>
    </p:spTree>
    <p:extLst>
      <p:ext uri="{BB962C8B-B14F-4D97-AF65-F5344CB8AC3E}">
        <p14:creationId xmlns:p14="http://schemas.microsoft.com/office/powerpoint/2010/main" val="6037954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19954-96CF-4469-BD18-12FBC5FEE52E}"/>
              </a:ext>
            </a:extLst>
          </p:cNvPr>
          <p:cNvGraphicFramePr>
            <a:graphicFrameLocks noChangeAspect="1"/>
          </p:cNvGraphicFramePr>
          <p:nvPr>
            <p:custDataLst>
              <p:tags r:id="rId1"/>
            </p:custDataLst>
            <p:extLst>
              <p:ext uri="{D42A27DB-BD31-4B8C-83A1-F6EECF244321}">
                <p14:modId xmlns:p14="http://schemas.microsoft.com/office/powerpoint/2010/main" val="252059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EA119954-96CF-4469-BD18-12FBC5FEE5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0E33520-DE2F-46CB-ACE4-0A25DF19B5AD}"/>
              </a:ext>
            </a:extLst>
          </p:cNvPr>
          <p:cNvPicPr>
            <a:picLocks noChangeAspect="1"/>
          </p:cNvPicPr>
          <p:nvPr/>
        </p:nvPicPr>
        <p:blipFill>
          <a:blip r:embed="rId5"/>
          <a:stretch>
            <a:fillRect/>
          </a:stretch>
        </p:blipFill>
        <p:spPr>
          <a:xfrm>
            <a:off x="482885" y="421240"/>
            <a:ext cx="11054994" cy="6304980"/>
          </a:xfrm>
          <a:prstGeom prst="rect">
            <a:avLst/>
          </a:prstGeom>
        </p:spPr>
      </p:pic>
    </p:spTree>
    <p:extLst>
      <p:ext uri="{BB962C8B-B14F-4D97-AF65-F5344CB8AC3E}">
        <p14:creationId xmlns:p14="http://schemas.microsoft.com/office/powerpoint/2010/main" val="6993438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60C132-274A-4EBD-B255-C2B179FB27C4}"/>
              </a:ext>
            </a:extLst>
          </p:cNvPr>
          <p:cNvGraphicFramePr>
            <a:graphicFrameLocks noChangeAspect="1"/>
          </p:cNvGraphicFramePr>
          <p:nvPr>
            <p:custDataLst>
              <p:tags r:id="rId1"/>
            </p:custDataLst>
            <p:extLst>
              <p:ext uri="{D42A27DB-BD31-4B8C-83A1-F6EECF244321}">
                <p14:modId xmlns:p14="http://schemas.microsoft.com/office/powerpoint/2010/main" val="423035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7C60C132-274A-4EBD-B255-C2B179FB27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05F63D75-E5D5-4887-8156-1AC1451D431B}"/>
              </a:ext>
            </a:extLst>
          </p:cNvPr>
          <p:cNvPicPr>
            <a:picLocks noChangeAspect="1"/>
          </p:cNvPicPr>
          <p:nvPr/>
        </p:nvPicPr>
        <p:blipFill>
          <a:blip r:embed="rId5"/>
          <a:stretch>
            <a:fillRect/>
          </a:stretch>
        </p:blipFill>
        <p:spPr>
          <a:xfrm>
            <a:off x="833009" y="536717"/>
            <a:ext cx="10331920" cy="5535309"/>
          </a:xfrm>
          <a:prstGeom prst="rect">
            <a:avLst/>
          </a:prstGeom>
        </p:spPr>
      </p:pic>
    </p:spTree>
    <p:extLst>
      <p:ext uri="{BB962C8B-B14F-4D97-AF65-F5344CB8AC3E}">
        <p14:creationId xmlns:p14="http://schemas.microsoft.com/office/powerpoint/2010/main" val="36916990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4B3838-6FC4-4654-A01B-9ED0EF661700}"/>
              </a:ext>
            </a:extLst>
          </p:cNvPr>
          <p:cNvGraphicFramePr>
            <a:graphicFrameLocks noChangeAspect="1"/>
          </p:cNvGraphicFramePr>
          <p:nvPr>
            <p:custDataLst>
              <p:tags r:id="rId1"/>
            </p:custDataLst>
            <p:extLst>
              <p:ext uri="{D42A27DB-BD31-4B8C-83A1-F6EECF244321}">
                <p14:modId xmlns:p14="http://schemas.microsoft.com/office/powerpoint/2010/main" val="3957761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D84B3838-6FC4-4654-A01B-9ED0EF6617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4AF16A04-4245-4B4A-9B13-E3FA385C1AEF}"/>
              </a:ext>
            </a:extLst>
          </p:cNvPr>
          <p:cNvGrpSpPr/>
          <p:nvPr/>
        </p:nvGrpSpPr>
        <p:grpSpPr>
          <a:xfrm>
            <a:off x="279410" y="374684"/>
            <a:ext cx="11633180" cy="6029857"/>
            <a:chOff x="0" y="10274"/>
            <a:chExt cx="12192000" cy="6935056"/>
          </a:xfrm>
        </p:grpSpPr>
        <p:pic>
          <p:nvPicPr>
            <p:cNvPr id="8" name="Picture 7">
              <a:extLst>
                <a:ext uri="{FF2B5EF4-FFF2-40B4-BE49-F238E27FC236}">
                  <a16:creationId xmlns:a16="http://schemas.microsoft.com/office/drawing/2014/main" id="{102A22C9-DD19-486B-BA2F-16F18D098BF7}"/>
                </a:ext>
              </a:extLst>
            </p:cNvPr>
            <p:cNvPicPr>
              <a:picLocks noChangeAspect="1"/>
            </p:cNvPicPr>
            <p:nvPr/>
          </p:nvPicPr>
          <p:blipFill>
            <a:blip r:embed="rId5"/>
            <a:stretch>
              <a:fillRect/>
            </a:stretch>
          </p:blipFill>
          <p:spPr>
            <a:xfrm>
              <a:off x="0" y="10274"/>
              <a:ext cx="12192000" cy="6935056"/>
            </a:xfrm>
            <a:prstGeom prst="rect">
              <a:avLst/>
            </a:prstGeom>
          </p:spPr>
        </p:pic>
        <p:sp>
          <p:nvSpPr>
            <p:cNvPr id="3" name="Isosceles Triangle 2">
              <a:extLst>
                <a:ext uri="{FF2B5EF4-FFF2-40B4-BE49-F238E27FC236}">
                  <a16:creationId xmlns:a16="http://schemas.microsoft.com/office/drawing/2014/main" id="{04743113-6161-49DF-A1F3-FC524CF5C6F2}"/>
                </a:ext>
              </a:extLst>
            </p:cNvPr>
            <p:cNvSpPr/>
            <p:nvPr/>
          </p:nvSpPr>
          <p:spPr>
            <a:xfrm>
              <a:off x="11383766" y="6061753"/>
              <a:ext cx="808234" cy="678094"/>
            </a:xfrm>
            <a:prstGeom prst="triangl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9790361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A96EB0-7865-4C8D-AC52-FBD9A2A0F6E0}"/>
              </a:ext>
            </a:extLst>
          </p:cNvPr>
          <p:cNvGraphicFramePr>
            <a:graphicFrameLocks noChangeAspect="1"/>
          </p:cNvGraphicFramePr>
          <p:nvPr>
            <p:custDataLst>
              <p:tags r:id="rId1"/>
            </p:custDataLst>
            <p:extLst>
              <p:ext uri="{D42A27DB-BD31-4B8C-83A1-F6EECF244321}">
                <p14:modId xmlns:p14="http://schemas.microsoft.com/office/powerpoint/2010/main" val="127400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23A96EB0-7865-4C8D-AC52-FBD9A2A0F6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FF2C521-6050-4E7E-9FF1-AA7CBDA15760}"/>
              </a:ext>
            </a:extLst>
          </p:cNvPr>
          <p:cNvSpPr>
            <a:spLocks noGrp="1"/>
          </p:cNvSpPr>
          <p:nvPr>
            <p:ph type="title"/>
          </p:nvPr>
        </p:nvSpPr>
        <p:spPr>
          <a:xfrm>
            <a:off x="3055224" y="3121025"/>
            <a:ext cx="7044273" cy="615950"/>
          </a:xfrm>
        </p:spPr>
        <p:txBody>
          <a:bodyPr vert="horz">
            <a:normAutofit fontScale="90000"/>
          </a:bodyPr>
          <a:lstStyle/>
          <a:p>
            <a:pPr algn="ctr"/>
            <a:r>
              <a:rPr lang="en-US" b="1" dirty="0" err="1">
                <a:solidFill>
                  <a:schemeClr val="accent1"/>
                </a:solidFill>
              </a:rPr>
              <a:t>GloVe</a:t>
            </a:r>
            <a:r>
              <a:rPr lang="en-US" b="1" dirty="0">
                <a:solidFill>
                  <a:schemeClr val="accent1"/>
                </a:solidFill>
              </a:rPr>
              <a:t> – Global Vectors</a:t>
            </a:r>
            <a:endParaRPr lang="en-US" dirty="0">
              <a:solidFill>
                <a:schemeClr val="accent1"/>
              </a:solidFill>
            </a:endParaRPr>
          </a:p>
        </p:txBody>
      </p:sp>
    </p:spTree>
    <p:extLst>
      <p:ext uri="{BB962C8B-B14F-4D97-AF65-F5344CB8AC3E}">
        <p14:creationId xmlns:p14="http://schemas.microsoft.com/office/powerpoint/2010/main" val="9769653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02F261C-26A3-49B8-AFBD-7338A40023FF}"/>
              </a:ext>
            </a:extLst>
          </p:cNvPr>
          <p:cNvGraphicFramePr>
            <a:graphicFrameLocks noChangeAspect="1"/>
          </p:cNvGraphicFramePr>
          <p:nvPr>
            <p:custDataLst>
              <p:tags r:id="rId1"/>
            </p:custDataLst>
            <p:extLst>
              <p:ext uri="{D42A27DB-BD31-4B8C-83A1-F6EECF244321}">
                <p14:modId xmlns:p14="http://schemas.microsoft.com/office/powerpoint/2010/main" val="2684790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C02F261C-26A3-49B8-AFBD-7338A40023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41C1523-6375-452D-A4A9-4AF9F8AE12D4}"/>
              </a:ext>
            </a:extLst>
          </p:cNvPr>
          <p:cNvSpPr>
            <a:spLocks noGrp="1"/>
          </p:cNvSpPr>
          <p:nvPr>
            <p:ph type="title"/>
          </p:nvPr>
        </p:nvSpPr>
        <p:spPr>
          <a:xfrm>
            <a:off x="147637" y="92147"/>
            <a:ext cx="11896725" cy="615950"/>
          </a:xfrm>
        </p:spPr>
        <p:txBody>
          <a:bodyPr vert="horz">
            <a:normAutofit fontScale="90000"/>
          </a:bodyPr>
          <a:lstStyle/>
          <a:p>
            <a:r>
              <a:rPr lang="en-US" b="1" dirty="0" err="1">
                <a:solidFill>
                  <a:schemeClr val="accent1"/>
                </a:solidFill>
              </a:rPr>
              <a:t>GloVe</a:t>
            </a:r>
            <a:r>
              <a:rPr lang="en-US" b="1" dirty="0">
                <a:solidFill>
                  <a:schemeClr val="accent1"/>
                </a:solidFill>
              </a:rPr>
              <a:t> – </a:t>
            </a:r>
            <a:r>
              <a:rPr lang="en-US" dirty="0">
                <a:solidFill>
                  <a:schemeClr val="accent1"/>
                </a:solidFill>
              </a:rPr>
              <a:t>Word-word Co-occurrence Matrix</a:t>
            </a:r>
          </a:p>
        </p:txBody>
      </p:sp>
      <p:pic>
        <p:nvPicPr>
          <p:cNvPr id="25" name="Picture 24">
            <a:extLst>
              <a:ext uri="{FF2B5EF4-FFF2-40B4-BE49-F238E27FC236}">
                <a16:creationId xmlns:a16="http://schemas.microsoft.com/office/drawing/2014/main" id="{22840717-F336-45F8-A29E-3F17EC42E3C9}"/>
              </a:ext>
            </a:extLst>
          </p:cNvPr>
          <p:cNvPicPr>
            <a:picLocks noChangeAspect="1"/>
          </p:cNvPicPr>
          <p:nvPr/>
        </p:nvPicPr>
        <p:blipFill>
          <a:blip r:embed="rId5"/>
          <a:stretch>
            <a:fillRect/>
          </a:stretch>
        </p:blipFill>
        <p:spPr>
          <a:xfrm>
            <a:off x="147637" y="814440"/>
            <a:ext cx="11896725" cy="5863762"/>
          </a:xfrm>
          <a:prstGeom prst="rect">
            <a:avLst/>
          </a:prstGeom>
        </p:spPr>
      </p:pic>
      <p:grpSp>
        <p:nvGrpSpPr>
          <p:cNvPr id="42" name="Group 41">
            <a:extLst>
              <a:ext uri="{FF2B5EF4-FFF2-40B4-BE49-F238E27FC236}">
                <a16:creationId xmlns:a16="http://schemas.microsoft.com/office/drawing/2014/main" id="{C24577BB-571E-4ED0-89A4-C91A80E9C3C6}"/>
              </a:ext>
            </a:extLst>
          </p:cNvPr>
          <p:cNvGrpSpPr/>
          <p:nvPr/>
        </p:nvGrpSpPr>
        <p:grpSpPr>
          <a:xfrm>
            <a:off x="910222" y="3571139"/>
            <a:ext cx="3036960" cy="569520"/>
            <a:chOff x="910222" y="3571139"/>
            <a:chExt cx="3036960" cy="569520"/>
          </a:xfrm>
        </p:grpSpPr>
        <mc:AlternateContent xmlns:mc="http://schemas.openxmlformats.org/markup-compatibility/2006" xmlns:p14="http://schemas.microsoft.com/office/powerpoint/2010/main">
          <mc:Choice Requires="p14">
            <p:contentPart p14:bwMode="auto" r:id="rId6">
              <p14:nvContentPartPr>
                <p14:cNvPr id="26" name="Ink 25">
                  <a:extLst>
                    <a:ext uri="{FF2B5EF4-FFF2-40B4-BE49-F238E27FC236}">
                      <a16:creationId xmlns:a16="http://schemas.microsoft.com/office/drawing/2014/main" id="{A8D8CBFB-89BB-4416-917F-042111C7D5A5}"/>
                    </a:ext>
                  </a:extLst>
                </p14:cNvPr>
                <p14:cNvContentPartPr/>
                <p14:nvPr/>
              </p14:nvContentPartPr>
              <p14:xfrm>
                <a:off x="910222" y="3920699"/>
                <a:ext cx="277560" cy="219960"/>
              </p14:xfrm>
            </p:contentPart>
          </mc:Choice>
          <mc:Fallback xmlns="">
            <p:pic>
              <p:nvPicPr>
                <p:cNvPr id="26" name="Ink 25">
                  <a:extLst>
                    <a:ext uri="{FF2B5EF4-FFF2-40B4-BE49-F238E27FC236}">
                      <a16:creationId xmlns:a16="http://schemas.microsoft.com/office/drawing/2014/main" id="{A8D8CBFB-89BB-4416-917F-042111C7D5A5}"/>
                    </a:ext>
                  </a:extLst>
                </p:cNvPr>
                <p:cNvPicPr/>
                <p:nvPr/>
              </p:nvPicPr>
              <p:blipFill>
                <a:blip r:embed="rId7"/>
                <a:stretch>
                  <a:fillRect/>
                </a:stretch>
              </p:blipFill>
              <p:spPr>
                <a:xfrm>
                  <a:off x="874582" y="3885059"/>
                  <a:ext cx="349200" cy="2916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7" name="Ink 26">
                  <a:extLst>
                    <a:ext uri="{FF2B5EF4-FFF2-40B4-BE49-F238E27FC236}">
                      <a16:creationId xmlns:a16="http://schemas.microsoft.com/office/drawing/2014/main" id="{5F4136D8-9B3D-4962-ACF6-E04198A859BD}"/>
                    </a:ext>
                  </a:extLst>
                </p14:cNvPr>
                <p14:cNvContentPartPr/>
                <p14:nvPr/>
              </p14:nvContentPartPr>
              <p14:xfrm>
                <a:off x="1338262" y="3971819"/>
                <a:ext cx="54360" cy="163440"/>
              </p14:xfrm>
            </p:contentPart>
          </mc:Choice>
          <mc:Fallback xmlns="">
            <p:pic>
              <p:nvPicPr>
                <p:cNvPr id="27" name="Ink 26">
                  <a:extLst>
                    <a:ext uri="{FF2B5EF4-FFF2-40B4-BE49-F238E27FC236}">
                      <a16:creationId xmlns:a16="http://schemas.microsoft.com/office/drawing/2014/main" id="{5F4136D8-9B3D-4962-ACF6-E04198A859BD}"/>
                    </a:ext>
                  </a:extLst>
                </p:cNvPr>
                <p:cNvPicPr/>
                <p:nvPr/>
              </p:nvPicPr>
              <p:blipFill>
                <a:blip r:embed="rId9"/>
                <a:stretch>
                  <a:fillRect/>
                </a:stretch>
              </p:blipFill>
              <p:spPr>
                <a:xfrm>
                  <a:off x="1302262" y="3936179"/>
                  <a:ext cx="126000" cy="23508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28" name="Ink 27">
                  <a:extLst>
                    <a:ext uri="{FF2B5EF4-FFF2-40B4-BE49-F238E27FC236}">
                      <a16:creationId xmlns:a16="http://schemas.microsoft.com/office/drawing/2014/main" id="{15DDCA01-182B-40C3-9EB2-B97430AE5E57}"/>
                    </a:ext>
                  </a:extLst>
                </p14:cNvPr>
                <p14:cNvContentPartPr/>
                <p14:nvPr/>
              </p14:nvContentPartPr>
              <p14:xfrm>
                <a:off x="1328902" y="3829979"/>
                <a:ext cx="10440" cy="56880"/>
              </p14:xfrm>
            </p:contentPart>
          </mc:Choice>
          <mc:Fallback xmlns="">
            <p:pic>
              <p:nvPicPr>
                <p:cNvPr id="28" name="Ink 27">
                  <a:extLst>
                    <a:ext uri="{FF2B5EF4-FFF2-40B4-BE49-F238E27FC236}">
                      <a16:creationId xmlns:a16="http://schemas.microsoft.com/office/drawing/2014/main" id="{15DDCA01-182B-40C3-9EB2-B97430AE5E57}"/>
                    </a:ext>
                  </a:extLst>
                </p:cNvPr>
                <p:cNvPicPr/>
                <p:nvPr/>
              </p:nvPicPr>
              <p:blipFill>
                <a:blip r:embed="rId11"/>
                <a:stretch>
                  <a:fillRect/>
                </a:stretch>
              </p:blipFill>
              <p:spPr>
                <a:xfrm>
                  <a:off x="1292902" y="3794339"/>
                  <a:ext cx="82080" cy="1285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29" name="Ink 28">
                  <a:extLst>
                    <a:ext uri="{FF2B5EF4-FFF2-40B4-BE49-F238E27FC236}">
                      <a16:creationId xmlns:a16="http://schemas.microsoft.com/office/drawing/2014/main" id="{4D23B276-56DB-4856-9069-E011A1310CD8}"/>
                    </a:ext>
                  </a:extLst>
                </p14:cNvPr>
                <p14:cNvContentPartPr/>
                <p14:nvPr/>
              </p14:nvContentPartPr>
              <p14:xfrm>
                <a:off x="1508902" y="3909179"/>
                <a:ext cx="261360" cy="200160"/>
              </p14:xfrm>
            </p:contentPart>
          </mc:Choice>
          <mc:Fallback xmlns="">
            <p:pic>
              <p:nvPicPr>
                <p:cNvPr id="29" name="Ink 28">
                  <a:extLst>
                    <a:ext uri="{FF2B5EF4-FFF2-40B4-BE49-F238E27FC236}">
                      <a16:creationId xmlns:a16="http://schemas.microsoft.com/office/drawing/2014/main" id="{4D23B276-56DB-4856-9069-E011A1310CD8}"/>
                    </a:ext>
                  </a:extLst>
                </p:cNvPr>
                <p:cNvPicPr/>
                <p:nvPr/>
              </p:nvPicPr>
              <p:blipFill>
                <a:blip r:embed="rId13"/>
                <a:stretch>
                  <a:fillRect/>
                </a:stretch>
              </p:blipFill>
              <p:spPr>
                <a:xfrm>
                  <a:off x="1473262" y="3873539"/>
                  <a:ext cx="333000" cy="2718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30" name="Ink 29">
                  <a:extLst>
                    <a:ext uri="{FF2B5EF4-FFF2-40B4-BE49-F238E27FC236}">
                      <a16:creationId xmlns:a16="http://schemas.microsoft.com/office/drawing/2014/main" id="{D1AA4188-8160-40DD-BFE5-AB7920014DB9}"/>
                    </a:ext>
                  </a:extLst>
                </p14:cNvPr>
                <p14:cNvContentPartPr/>
                <p14:nvPr/>
              </p14:nvContentPartPr>
              <p14:xfrm>
                <a:off x="1883302" y="3738539"/>
                <a:ext cx="326160" cy="337680"/>
              </p14:xfrm>
            </p:contentPart>
          </mc:Choice>
          <mc:Fallback xmlns="">
            <p:pic>
              <p:nvPicPr>
                <p:cNvPr id="30" name="Ink 29">
                  <a:extLst>
                    <a:ext uri="{FF2B5EF4-FFF2-40B4-BE49-F238E27FC236}">
                      <a16:creationId xmlns:a16="http://schemas.microsoft.com/office/drawing/2014/main" id="{D1AA4188-8160-40DD-BFE5-AB7920014DB9}"/>
                    </a:ext>
                  </a:extLst>
                </p:cNvPr>
                <p:cNvPicPr/>
                <p:nvPr/>
              </p:nvPicPr>
              <p:blipFill>
                <a:blip r:embed="rId15"/>
                <a:stretch>
                  <a:fillRect/>
                </a:stretch>
              </p:blipFill>
              <p:spPr>
                <a:xfrm>
                  <a:off x="1847302" y="3702899"/>
                  <a:ext cx="397800" cy="40932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31" name="Ink 30">
                  <a:extLst>
                    <a:ext uri="{FF2B5EF4-FFF2-40B4-BE49-F238E27FC236}">
                      <a16:creationId xmlns:a16="http://schemas.microsoft.com/office/drawing/2014/main" id="{CBD1A27D-EF40-4573-82BD-CFFB0B7575FF}"/>
                    </a:ext>
                  </a:extLst>
                </p14:cNvPr>
                <p14:cNvContentPartPr/>
                <p14:nvPr/>
              </p14:nvContentPartPr>
              <p14:xfrm>
                <a:off x="2281822" y="3848699"/>
                <a:ext cx="220320" cy="164160"/>
              </p14:xfrm>
            </p:contentPart>
          </mc:Choice>
          <mc:Fallback xmlns="">
            <p:pic>
              <p:nvPicPr>
                <p:cNvPr id="31" name="Ink 30">
                  <a:extLst>
                    <a:ext uri="{FF2B5EF4-FFF2-40B4-BE49-F238E27FC236}">
                      <a16:creationId xmlns:a16="http://schemas.microsoft.com/office/drawing/2014/main" id="{CBD1A27D-EF40-4573-82BD-CFFB0B7575FF}"/>
                    </a:ext>
                  </a:extLst>
                </p:cNvPr>
                <p:cNvPicPr/>
                <p:nvPr/>
              </p:nvPicPr>
              <p:blipFill>
                <a:blip r:embed="rId17"/>
                <a:stretch>
                  <a:fillRect/>
                </a:stretch>
              </p:blipFill>
              <p:spPr>
                <a:xfrm>
                  <a:off x="2245822" y="3813059"/>
                  <a:ext cx="291960" cy="23580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34" name="Ink 33">
                  <a:extLst>
                    <a:ext uri="{FF2B5EF4-FFF2-40B4-BE49-F238E27FC236}">
                      <a16:creationId xmlns:a16="http://schemas.microsoft.com/office/drawing/2014/main" id="{86DD9678-6ACD-4B26-A829-DC6D032161CA}"/>
                    </a:ext>
                  </a:extLst>
                </p14:cNvPr>
                <p14:cNvContentPartPr/>
                <p14:nvPr/>
              </p14:nvContentPartPr>
              <p14:xfrm>
                <a:off x="2624182" y="3723059"/>
                <a:ext cx="100800" cy="263160"/>
              </p14:xfrm>
            </p:contentPart>
          </mc:Choice>
          <mc:Fallback xmlns="">
            <p:pic>
              <p:nvPicPr>
                <p:cNvPr id="34" name="Ink 33">
                  <a:extLst>
                    <a:ext uri="{FF2B5EF4-FFF2-40B4-BE49-F238E27FC236}">
                      <a16:creationId xmlns:a16="http://schemas.microsoft.com/office/drawing/2014/main" id="{86DD9678-6ACD-4B26-A829-DC6D032161CA}"/>
                    </a:ext>
                  </a:extLst>
                </p:cNvPr>
                <p:cNvPicPr/>
                <p:nvPr/>
              </p:nvPicPr>
              <p:blipFill>
                <a:blip r:embed="rId19"/>
                <a:stretch>
                  <a:fillRect/>
                </a:stretch>
              </p:blipFill>
              <p:spPr>
                <a:xfrm>
                  <a:off x="2588542" y="3687059"/>
                  <a:ext cx="172440" cy="33480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35" name="Ink 34">
                  <a:extLst>
                    <a:ext uri="{FF2B5EF4-FFF2-40B4-BE49-F238E27FC236}">
                      <a16:creationId xmlns:a16="http://schemas.microsoft.com/office/drawing/2014/main" id="{FFB8DA61-F097-4F6A-B4BE-9C5640EA7DB7}"/>
                    </a:ext>
                  </a:extLst>
                </p14:cNvPr>
                <p14:cNvContentPartPr/>
                <p14:nvPr/>
              </p14:nvContentPartPr>
              <p14:xfrm>
                <a:off x="2819302" y="3824939"/>
                <a:ext cx="87120" cy="124560"/>
              </p14:xfrm>
            </p:contentPart>
          </mc:Choice>
          <mc:Fallback xmlns="">
            <p:pic>
              <p:nvPicPr>
                <p:cNvPr id="35" name="Ink 34">
                  <a:extLst>
                    <a:ext uri="{FF2B5EF4-FFF2-40B4-BE49-F238E27FC236}">
                      <a16:creationId xmlns:a16="http://schemas.microsoft.com/office/drawing/2014/main" id="{FFB8DA61-F097-4F6A-B4BE-9C5640EA7DB7}"/>
                    </a:ext>
                  </a:extLst>
                </p:cNvPr>
                <p:cNvPicPr/>
                <p:nvPr/>
              </p:nvPicPr>
              <p:blipFill>
                <a:blip r:embed="rId21"/>
                <a:stretch>
                  <a:fillRect/>
                </a:stretch>
              </p:blipFill>
              <p:spPr>
                <a:xfrm>
                  <a:off x="2783302" y="3789299"/>
                  <a:ext cx="158760" cy="1962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36" name="Ink 35">
                  <a:extLst>
                    <a:ext uri="{FF2B5EF4-FFF2-40B4-BE49-F238E27FC236}">
                      <a16:creationId xmlns:a16="http://schemas.microsoft.com/office/drawing/2014/main" id="{C456AE84-65D7-48F9-A499-7636563DFC6F}"/>
                    </a:ext>
                  </a:extLst>
                </p14:cNvPr>
                <p14:cNvContentPartPr/>
                <p14:nvPr/>
              </p14:nvContentPartPr>
              <p14:xfrm>
                <a:off x="2854222" y="3737099"/>
                <a:ext cx="36000" cy="74520"/>
              </p14:xfrm>
            </p:contentPart>
          </mc:Choice>
          <mc:Fallback xmlns="">
            <p:pic>
              <p:nvPicPr>
                <p:cNvPr id="36" name="Ink 35">
                  <a:extLst>
                    <a:ext uri="{FF2B5EF4-FFF2-40B4-BE49-F238E27FC236}">
                      <a16:creationId xmlns:a16="http://schemas.microsoft.com/office/drawing/2014/main" id="{C456AE84-65D7-48F9-A499-7636563DFC6F}"/>
                    </a:ext>
                  </a:extLst>
                </p:cNvPr>
                <p:cNvPicPr/>
                <p:nvPr/>
              </p:nvPicPr>
              <p:blipFill>
                <a:blip r:embed="rId23"/>
                <a:stretch>
                  <a:fillRect/>
                </a:stretch>
              </p:blipFill>
              <p:spPr>
                <a:xfrm>
                  <a:off x="2818222" y="3701099"/>
                  <a:ext cx="107640" cy="14616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37" name="Ink 36">
                  <a:extLst>
                    <a:ext uri="{FF2B5EF4-FFF2-40B4-BE49-F238E27FC236}">
                      <a16:creationId xmlns:a16="http://schemas.microsoft.com/office/drawing/2014/main" id="{47C782F9-F0B7-4C27-9DE2-FC4FBDE89616}"/>
                    </a:ext>
                  </a:extLst>
                </p14:cNvPr>
                <p14:cNvContentPartPr/>
                <p14:nvPr/>
              </p14:nvContentPartPr>
              <p14:xfrm>
                <a:off x="2983102" y="3697859"/>
                <a:ext cx="384120" cy="261720"/>
              </p14:xfrm>
            </p:contentPart>
          </mc:Choice>
          <mc:Fallback xmlns="">
            <p:pic>
              <p:nvPicPr>
                <p:cNvPr id="37" name="Ink 36">
                  <a:extLst>
                    <a:ext uri="{FF2B5EF4-FFF2-40B4-BE49-F238E27FC236}">
                      <a16:creationId xmlns:a16="http://schemas.microsoft.com/office/drawing/2014/main" id="{47C782F9-F0B7-4C27-9DE2-FC4FBDE89616}"/>
                    </a:ext>
                  </a:extLst>
                </p:cNvPr>
                <p:cNvPicPr/>
                <p:nvPr/>
              </p:nvPicPr>
              <p:blipFill>
                <a:blip r:embed="rId25"/>
                <a:stretch>
                  <a:fillRect/>
                </a:stretch>
              </p:blipFill>
              <p:spPr>
                <a:xfrm>
                  <a:off x="2947102" y="3662219"/>
                  <a:ext cx="455760" cy="3333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38" name="Ink 37">
                  <a:extLst>
                    <a:ext uri="{FF2B5EF4-FFF2-40B4-BE49-F238E27FC236}">
                      <a16:creationId xmlns:a16="http://schemas.microsoft.com/office/drawing/2014/main" id="{47C4F321-2F2F-46B2-ABE2-A437417CC709}"/>
                    </a:ext>
                  </a:extLst>
                </p14:cNvPr>
                <p14:cNvContentPartPr/>
                <p14:nvPr/>
              </p14:nvContentPartPr>
              <p14:xfrm>
                <a:off x="3552982" y="3718739"/>
                <a:ext cx="92160" cy="27000"/>
              </p14:xfrm>
            </p:contentPart>
          </mc:Choice>
          <mc:Fallback xmlns="">
            <p:pic>
              <p:nvPicPr>
                <p:cNvPr id="38" name="Ink 37">
                  <a:extLst>
                    <a:ext uri="{FF2B5EF4-FFF2-40B4-BE49-F238E27FC236}">
                      <a16:creationId xmlns:a16="http://schemas.microsoft.com/office/drawing/2014/main" id="{47C4F321-2F2F-46B2-ABE2-A437417CC709}"/>
                    </a:ext>
                  </a:extLst>
                </p:cNvPr>
                <p:cNvPicPr/>
                <p:nvPr/>
              </p:nvPicPr>
              <p:blipFill>
                <a:blip r:embed="rId27"/>
                <a:stretch>
                  <a:fillRect/>
                </a:stretch>
              </p:blipFill>
              <p:spPr>
                <a:xfrm>
                  <a:off x="3517342" y="3683099"/>
                  <a:ext cx="163800" cy="9864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39" name="Ink 38">
                  <a:extLst>
                    <a:ext uri="{FF2B5EF4-FFF2-40B4-BE49-F238E27FC236}">
                      <a16:creationId xmlns:a16="http://schemas.microsoft.com/office/drawing/2014/main" id="{64C3290D-0C3F-42B5-9C3E-05CD5449FB23}"/>
                    </a:ext>
                  </a:extLst>
                </p14:cNvPr>
                <p14:cNvContentPartPr/>
                <p14:nvPr/>
              </p14:nvContentPartPr>
              <p14:xfrm>
                <a:off x="3534982" y="3853739"/>
                <a:ext cx="121680" cy="22320"/>
              </p14:xfrm>
            </p:contentPart>
          </mc:Choice>
          <mc:Fallback xmlns="">
            <p:pic>
              <p:nvPicPr>
                <p:cNvPr id="39" name="Ink 38">
                  <a:extLst>
                    <a:ext uri="{FF2B5EF4-FFF2-40B4-BE49-F238E27FC236}">
                      <a16:creationId xmlns:a16="http://schemas.microsoft.com/office/drawing/2014/main" id="{64C3290D-0C3F-42B5-9C3E-05CD5449FB23}"/>
                    </a:ext>
                  </a:extLst>
                </p:cNvPr>
                <p:cNvPicPr/>
                <p:nvPr/>
              </p:nvPicPr>
              <p:blipFill>
                <a:blip r:embed="rId29"/>
                <a:stretch>
                  <a:fillRect/>
                </a:stretch>
              </p:blipFill>
              <p:spPr>
                <a:xfrm>
                  <a:off x="3498982" y="3818099"/>
                  <a:ext cx="19332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40" name="Ink 39">
                  <a:extLst>
                    <a:ext uri="{FF2B5EF4-FFF2-40B4-BE49-F238E27FC236}">
                      <a16:creationId xmlns:a16="http://schemas.microsoft.com/office/drawing/2014/main" id="{3A89FFEB-4654-43C0-98E6-0B62227E4A1E}"/>
                    </a:ext>
                  </a:extLst>
                </p14:cNvPr>
                <p14:cNvContentPartPr/>
                <p14:nvPr/>
              </p14:nvContentPartPr>
              <p14:xfrm>
                <a:off x="3732622" y="3571139"/>
                <a:ext cx="148680" cy="280800"/>
              </p14:xfrm>
            </p:contentPart>
          </mc:Choice>
          <mc:Fallback xmlns="">
            <p:pic>
              <p:nvPicPr>
                <p:cNvPr id="40" name="Ink 39">
                  <a:extLst>
                    <a:ext uri="{FF2B5EF4-FFF2-40B4-BE49-F238E27FC236}">
                      <a16:creationId xmlns:a16="http://schemas.microsoft.com/office/drawing/2014/main" id="{3A89FFEB-4654-43C0-98E6-0B62227E4A1E}"/>
                    </a:ext>
                  </a:extLst>
                </p:cNvPr>
                <p:cNvPicPr/>
                <p:nvPr/>
              </p:nvPicPr>
              <p:blipFill>
                <a:blip r:embed="rId31"/>
                <a:stretch>
                  <a:fillRect/>
                </a:stretch>
              </p:blipFill>
              <p:spPr>
                <a:xfrm>
                  <a:off x="3696622" y="3535499"/>
                  <a:ext cx="220320" cy="35244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41" name="Ink 40">
                  <a:extLst>
                    <a:ext uri="{FF2B5EF4-FFF2-40B4-BE49-F238E27FC236}">
                      <a16:creationId xmlns:a16="http://schemas.microsoft.com/office/drawing/2014/main" id="{B63E716B-1C22-4A19-8AD8-982B580A9A03}"/>
                    </a:ext>
                  </a:extLst>
                </p14:cNvPr>
                <p14:cNvContentPartPr/>
                <p14:nvPr/>
              </p14:nvContentPartPr>
              <p14:xfrm>
                <a:off x="3739462" y="3857339"/>
                <a:ext cx="207720" cy="18360"/>
              </p14:xfrm>
            </p:contentPart>
          </mc:Choice>
          <mc:Fallback xmlns="">
            <p:pic>
              <p:nvPicPr>
                <p:cNvPr id="41" name="Ink 40">
                  <a:extLst>
                    <a:ext uri="{FF2B5EF4-FFF2-40B4-BE49-F238E27FC236}">
                      <a16:creationId xmlns:a16="http://schemas.microsoft.com/office/drawing/2014/main" id="{B63E716B-1C22-4A19-8AD8-982B580A9A03}"/>
                    </a:ext>
                  </a:extLst>
                </p:cNvPr>
                <p:cNvPicPr/>
                <p:nvPr/>
              </p:nvPicPr>
              <p:blipFill>
                <a:blip r:embed="rId33"/>
                <a:stretch>
                  <a:fillRect/>
                </a:stretch>
              </p:blipFill>
              <p:spPr>
                <a:xfrm>
                  <a:off x="3703462" y="3821339"/>
                  <a:ext cx="279360" cy="90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4">
            <p14:nvContentPartPr>
              <p14:cNvPr id="44" name="Ink 43">
                <a:extLst>
                  <a:ext uri="{FF2B5EF4-FFF2-40B4-BE49-F238E27FC236}">
                    <a16:creationId xmlns:a16="http://schemas.microsoft.com/office/drawing/2014/main" id="{8B90CBBB-41EE-478F-93E1-1FB81EB9E14A}"/>
                  </a:ext>
                </a:extLst>
              </p14:cNvPr>
              <p14:cNvContentPartPr/>
              <p14:nvPr/>
            </p14:nvContentPartPr>
            <p14:xfrm>
              <a:off x="6703342" y="1649819"/>
              <a:ext cx="562320" cy="429840"/>
            </p14:xfrm>
          </p:contentPart>
        </mc:Choice>
        <mc:Fallback xmlns="">
          <p:pic>
            <p:nvPicPr>
              <p:cNvPr id="44" name="Ink 43">
                <a:extLst>
                  <a:ext uri="{FF2B5EF4-FFF2-40B4-BE49-F238E27FC236}">
                    <a16:creationId xmlns:a16="http://schemas.microsoft.com/office/drawing/2014/main" id="{8B90CBBB-41EE-478F-93E1-1FB81EB9E14A}"/>
                  </a:ext>
                </a:extLst>
              </p:cNvPr>
              <p:cNvPicPr/>
              <p:nvPr/>
            </p:nvPicPr>
            <p:blipFill>
              <a:blip r:embed="rId35"/>
              <a:stretch>
                <a:fillRect/>
              </a:stretch>
            </p:blipFill>
            <p:spPr>
              <a:xfrm>
                <a:off x="6667342" y="1613819"/>
                <a:ext cx="633960" cy="50148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51" name="Ink 50">
                <a:extLst>
                  <a:ext uri="{FF2B5EF4-FFF2-40B4-BE49-F238E27FC236}">
                    <a16:creationId xmlns:a16="http://schemas.microsoft.com/office/drawing/2014/main" id="{F3D44F98-EA14-45D3-BB3D-7D56080D091D}"/>
                  </a:ext>
                </a:extLst>
              </p14:cNvPr>
              <p14:cNvContentPartPr/>
              <p14:nvPr/>
            </p14:nvContentPartPr>
            <p14:xfrm>
              <a:off x="1418902" y="2464859"/>
              <a:ext cx="10440" cy="24120"/>
            </p14:xfrm>
          </p:contentPart>
        </mc:Choice>
        <mc:Fallback xmlns="">
          <p:pic>
            <p:nvPicPr>
              <p:cNvPr id="51" name="Ink 50">
                <a:extLst>
                  <a:ext uri="{FF2B5EF4-FFF2-40B4-BE49-F238E27FC236}">
                    <a16:creationId xmlns:a16="http://schemas.microsoft.com/office/drawing/2014/main" id="{F3D44F98-EA14-45D3-BB3D-7D56080D091D}"/>
                  </a:ext>
                </a:extLst>
              </p:cNvPr>
              <p:cNvPicPr/>
              <p:nvPr/>
            </p:nvPicPr>
            <p:blipFill>
              <a:blip r:embed="rId37"/>
              <a:stretch>
                <a:fillRect/>
              </a:stretch>
            </p:blipFill>
            <p:spPr>
              <a:xfrm>
                <a:off x="1382902" y="2428859"/>
                <a:ext cx="82080" cy="95760"/>
              </a:xfrm>
              <a:prstGeom prst="rect">
                <a:avLst/>
              </a:prstGeom>
            </p:spPr>
          </p:pic>
        </mc:Fallback>
      </mc:AlternateContent>
      <p:grpSp>
        <p:nvGrpSpPr>
          <p:cNvPr id="56" name="Group 55">
            <a:extLst>
              <a:ext uri="{FF2B5EF4-FFF2-40B4-BE49-F238E27FC236}">
                <a16:creationId xmlns:a16="http://schemas.microsoft.com/office/drawing/2014/main" id="{1816417A-7ABA-4F37-9E01-F9A3099B69F7}"/>
              </a:ext>
            </a:extLst>
          </p:cNvPr>
          <p:cNvGrpSpPr/>
          <p:nvPr/>
        </p:nvGrpSpPr>
        <p:grpSpPr>
          <a:xfrm>
            <a:off x="6907102" y="5446379"/>
            <a:ext cx="941400" cy="393480"/>
            <a:chOff x="6907102" y="5446379"/>
            <a:chExt cx="941400" cy="393480"/>
          </a:xfrm>
        </p:grpSpPr>
        <mc:AlternateContent xmlns:mc="http://schemas.openxmlformats.org/markup-compatibility/2006" xmlns:p14="http://schemas.microsoft.com/office/powerpoint/2010/main">
          <mc:Choice Requires="p14">
            <p:contentPart p14:bwMode="auto" r:id="rId38">
              <p14:nvContentPartPr>
                <p14:cNvPr id="53" name="Ink 52">
                  <a:extLst>
                    <a:ext uri="{FF2B5EF4-FFF2-40B4-BE49-F238E27FC236}">
                      <a16:creationId xmlns:a16="http://schemas.microsoft.com/office/drawing/2014/main" id="{1A3C9DF4-5186-4274-96E2-CBE15125E899}"/>
                    </a:ext>
                  </a:extLst>
                </p14:cNvPr>
                <p14:cNvContentPartPr/>
                <p14:nvPr/>
              </p14:nvContentPartPr>
              <p14:xfrm>
                <a:off x="6907102" y="5446379"/>
                <a:ext cx="250920" cy="284040"/>
              </p14:xfrm>
            </p:contentPart>
          </mc:Choice>
          <mc:Fallback xmlns="">
            <p:pic>
              <p:nvPicPr>
                <p:cNvPr id="53" name="Ink 52">
                  <a:extLst>
                    <a:ext uri="{FF2B5EF4-FFF2-40B4-BE49-F238E27FC236}">
                      <a16:creationId xmlns:a16="http://schemas.microsoft.com/office/drawing/2014/main" id="{1A3C9DF4-5186-4274-96E2-CBE15125E899}"/>
                    </a:ext>
                  </a:extLst>
                </p:cNvPr>
                <p:cNvPicPr/>
                <p:nvPr/>
              </p:nvPicPr>
              <p:blipFill>
                <a:blip r:embed="rId43"/>
                <a:stretch>
                  <a:fillRect/>
                </a:stretch>
              </p:blipFill>
              <p:spPr>
                <a:xfrm>
                  <a:off x="6871102" y="5410739"/>
                  <a:ext cx="322560" cy="35568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4" name="Ink 53">
                  <a:extLst>
                    <a:ext uri="{FF2B5EF4-FFF2-40B4-BE49-F238E27FC236}">
                      <a16:creationId xmlns:a16="http://schemas.microsoft.com/office/drawing/2014/main" id="{BA4CDA9D-3154-4BE1-9210-4BF4B582A04C}"/>
                    </a:ext>
                  </a:extLst>
                </p14:cNvPr>
                <p14:cNvContentPartPr/>
                <p14:nvPr/>
              </p14:nvContentPartPr>
              <p14:xfrm>
                <a:off x="7283302" y="5545739"/>
                <a:ext cx="204480" cy="294120"/>
              </p14:xfrm>
            </p:contentPart>
          </mc:Choice>
          <mc:Fallback xmlns="">
            <p:pic>
              <p:nvPicPr>
                <p:cNvPr id="54" name="Ink 53">
                  <a:extLst>
                    <a:ext uri="{FF2B5EF4-FFF2-40B4-BE49-F238E27FC236}">
                      <a16:creationId xmlns:a16="http://schemas.microsoft.com/office/drawing/2014/main" id="{BA4CDA9D-3154-4BE1-9210-4BF4B582A04C}"/>
                    </a:ext>
                  </a:extLst>
                </p:cNvPr>
                <p:cNvPicPr/>
                <p:nvPr/>
              </p:nvPicPr>
              <p:blipFill>
                <a:blip r:embed="rId45"/>
                <a:stretch>
                  <a:fillRect/>
                </a:stretch>
              </p:blipFill>
              <p:spPr>
                <a:xfrm>
                  <a:off x="7247302" y="5509739"/>
                  <a:ext cx="276120" cy="36576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55" name="Ink 54">
                  <a:extLst>
                    <a:ext uri="{FF2B5EF4-FFF2-40B4-BE49-F238E27FC236}">
                      <a16:creationId xmlns:a16="http://schemas.microsoft.com/office/drawing/2014/main" id="{C3C7E313-CABC-4602-8541-762FB74513F0}"/>
                    </a:ext>
                  </a:extLst>
                </p14:cNvPr>
                <p14:cNvContentPartPr/>
                <p14:nvPr/>
              </p14:nvContentPartPr>
              <p14:xfrm>
                <a:off x="7607662" y="5554379"/>
                <a:ext cx="240840" cy="192240"/>
              </p14:xfrm>
            </p:contentPart>
          </mc:Choice>
          <mc:Fallback xmlns="">
            <p:pic>
              <p:nvPicPr>
                <p:cNvPr id="55" name="Ink 54">
                  <a:extLst>
                    <a:ext uri="{FF2B5EF4-FFF2-40B4-BE49-F238E27FC236}">
                      <a16:creationId xmlns:a16="http://schemas.microsoft.com/office/drawing/2014/main" id="{C3C7E313-CABC-4602-8541-762FB74513F0}"/>
                    </a:ext>
                  </a:extLst>
                </p:cNvPr>
                <p:cNvPicPr/>
                <p:nvPr/>
              </p:nvPicPr>
              <p:blipFill>
                <a:blip r:embed="rId47"/>
                <a:stretch>
                  <a:fillRect/>
                </a:stretch>
              </p:blipFill>
              <p:spPr>
                <a:xfrm>
                  <a:off x="7572022" y="5518379"/>
                  <a:ext cx="312480" cy="263880"/>
                </a:xfrm>
                <a:prstGeom prst="rect">
                  <a:avLst/>
                </a:prstGeom>
              </p:spPr>
            </p:pic>
          </mc:Fallback>
        </mc:AlternateContent>
      </p:grpSp>
      <p:grpSp>
        <p:nvGrpSpPr>
          <p:cNvPr id="72" name="Group 71">
            <a:extLst>
              <a:ext uri="{FF2B5EF4-FFF2-40B4-BE49-F238E27FC236}">
                <a16:creationId xmlns:a16="http://schemas.microsoft.com/office/drawing/2014/main" id="{6130A88D-754F-42AE-9F41-5093C090DD72}"/>
              </a:ext>
            </a:extLst>
          </p:cNvPr>
          <p:cNvGrpSpPr/>
          <p:nvPr/>
        </p:nvGrpSpPr>
        <p:grpSpPr>
          <a:xfrm>
            <a:off x="7954702" y="5419379"/>
            <a:ext cx="2770560" cy="315360"/>
            <a:chOff x="7954702" y="5419379"/>
            <a:chExt cx="2770560" cy="315360"/>
          </a:xfrm>
        </p:grpSpPr>
        <mc:AlternateContent xmlns:mc="http://schemas.openxmlformats.org/markup-compatibility/2006" xmlns:p14="http://schemas.microsoft.com/office/powerpoint/2010/main">
          <mc:Choice Requires="p14">
            <p:contentPart p14:bwMode="auto" r:id="rId48">
              <p14:nvContentPartPr>
                <p14:cNvPr id="57" name="Ink 56">
                  <a:extLst>
                    <a:ext uri="{FF2B5EF4-FFF2-40B4-BE49-F238E27FC236}">
                      <a16:creationId xmlns:a16="http://schemas.microsoft.com/office/drawing/2014/main" id="{987F8B31-DA99-44CA-914A-6FACA03BA9E3}"/>
                    </a:ext>
                  </a:extLst>
                </p14:cNvPr>
                <p14:cNvContentPartPr/>
                <p14:nvPr/>
              </p14:nvContentPartPr>
              <p14:xfrm>
                <a:off x="7954702" y="5630699"/>
                <a:ext cx="306360" cy="99000"/>
              </p14:xfrm>
            </p:contentPart>
          </mc:Choice>
          <mc:Fallback xmlns="">
            <p:pic>
              <p:nvPicPr>
                <p:cNvPr id="57" name="Ink 56">
                  <a:extLst>
                    <a:ext uri="{FF2B5EF4-FFF2-40B4-BE49-F238E27FC236}">
                      <a16:creationId xmlns:a16="http://schemas.microsoft.com/office/drawing/2014/main" id="{987F8B31-DA99-44CA-914A-6FACA03BA9E3}"/>
                    </a:ext>
                  </a:extLst>
                </p:cNvPr>
                <p:cNvPicPr/>
                <p:nvPr/>
              </p:nvPicPr>
              <p:blipFill>
                <a:blip r:embed="rId49"/>
                <a:stretch>
                  <a:fillRect/>
                </a:stretch>
              </p:blipFill>
              <p:spPr>
                <a:xfrm>
                  <a:off x="7919062" y="5595059"/>
                  <a:ext cx="378000" cy="17064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58" name="Ink 57">
                  <a:extLst>
                    <a:ext uri="{FF2B5EF4-FFF2-40B4-BE49-F238E27FC236}">
                      <a16:creationId xmlns:a16="http://schemas.microsoft.com/office/drawing/2014/main" id="{986B000A-154A-4031-B872-0A6C0A765507}"/>
                    </a:ext>
                  </a:extLst>
                </p14:cNvPr>
                <p14:cNvContentPartPr/>
                <p14:nvPr/>
              </p14:nvContentPartPr>
              <p14:xfrm>
                <a:off x="8348542" y="5429819"/>
                <a:ext cx="258840" cy="286920"/>
              </p14:xfrm>
            </p:contentPart>
          </mc:Choice>
          <mc:Fallback xmlns="">
            <p:pic>
              <p:nvPicPr>
                <p:cNvPr id="58" name="Ink 57">
                  <a:extLst>
                    <a:ext uri="{FF2B5EF4-FFF2-40B4-BE49-F238E27FC236}">
                      <a16:creationId xmlns:a16="http://schemas.microsoft.com/office/drawing/2014/main" id="{986B000A-154A-4031-B872-0A6C0A765507}"/>
                    </a:ext>
                  </a:extLst>
                </p:cNvPr>
                <p:cNvPicPr/>
                <p:nvPr/>
              </p:nvPicPr>
              <p:blipFill>
                <a:blip r:embed="rId51"/>
                <a:stretch>
                  <a:fillRect/>
                </a:stretch>
              </p:blipFill>
              <p:spPr>
                <a:xfrm>
                  <a:off x="8312902" y="5393819"/>
                  <a:ext cx="330480" cy="35856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59" name="Ink 58">
                  <a:extLst>
                    <a:ext uri="{FF2B5EF4-FFF2-40B4-BE49-F238E27FC236}">
                      <a16:creationId xmlns:a16="http://schemas.microsoft.com/office/drawing/2014/main" id="{161A5091-08A4-4F40-B37E-5064F920300A}"/>
                    </a:ext>
                  </a:extLst>
                </p14:cNvPr>
                <p14:cNvContentPartPr/>
                <p14:nvPr/>
              </p14:nvContentPartPr>
              <p14:xfrm>
                <a:off x="8549782" y="5605139"/>
                <a:ext cx="347400" cy="129600"/>
              </p14:xfrm>
            </p:contentPart>
          </mc:Choice>
          <mc:Fallback xmlns="">
            <p:pic>
              <p:nvPicPr>
                <p:cNvPr id="59" name="Ink 58">
                  <a:extLst>
                    <a:ext uri="{FF2B5EF4-FFF2-40B4-BE49-F238E27FC236}">
                      <a16:creationId xmlns:a16="http://schemas.microsoft.com/office/drawing/2014/main" id="{161A5091-08A4-4F40-B37E-5064F920300A}"/>
                    </a:ext>
                  </a:extLst>
                </p:cNvPr>
                <p:cNvPicPr/>
                <p:nvPr/>
              </p:nvPicPr>
              <p:blipFill>
                <a:blip r:embed="rId53"/>
                <a:stretch>
                  <a:fillRect/>
                </a:stretch>
              </p:blipFill>
              <p:spPr>
                <a:xfrm>
                  <a:off x="8513782" y="5569139"/>
                  <a:ext cx="419040" cy="20124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60" name="Ink 59">
                  <a:extLst>
                    <a:ext uri="{FF2B5EF4-FFF2-40B4-BE49-F238E27FC236}">
                      <a16:creationId xmlns:a16="http://schemas.microsoft.com/office/drawing/2014/main" id="{44631699-2B5B-441F-8F43-975642E6DEC7}"/>
                    </a:ext>
                  </a:extLst>
                </p14:cNvPr>
                <p14:cNvContentPartPr/>
                <p14:nvPr/>
              </p14:nvContentPartPr>
              <p14:xfrm>
                <a:off x="8825542" y="5435579"/>
                <a:ext cx="255960" cy="288360"/>
              </p14:xfrm>
            </p:contentPart>
          </mc:Choice>
          <mc:Fallback xmlns="">
            <p:pic>
              <p:nvPicPr>
                <p:cNvPr id="60" name="Ink 59">
                  <a:extLst>
                    <a:ext uri="{FF2B5EF4-FFF2-40B4-BE49-F238E27FC236}">
                      <a16:creationId xmlns:a16="http://schemas.microsoft.com/office/drawing/2014/main" id="{44631699-2B5B-441F-8F43-975642E6DEC7}"/>
                    </a:ext>
                  </a:extLst>
                </p:cNvPr>
                <p:cNvPicPr/>
                <p:nvPr/>
              </p:nvPicPr>
              <p:blipFill>
                <a:blip r:embed="rId55"/>
                <a:stretch>
                  <a:fillRect/>
                </a:stretch>
              </p:blipFill>
              <p:spPr>
                <a:xfrm>
                  <a:off x="8789542" y="5399579"/>
                  <a:ext cx="327600" cy="36000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61" name="Ink 60">
                  <a:extLst>
                    <a:ext uri="{FF2B5EF4-FFF2-40B4-BE49-F238E27FC236}">
                      <a16:creationId xmlns:a16="http://schemas.microsoft.com/office/drawing/2014/main" id="{815FD59B-0D1F-4DAA-8E3A-879BB5849CC4}"/>
                    </a:ext>
                  </a:extLst>
                </p14:cNvPr>
                <p14:cNvContentPartPr/>
                <p14:nvPr/>
              </p14:nvContentPartPr>
              <p14:xfrm>
                <a:off x="9282742" y="5527739"/>
                <a:ext cx="336600" cy="189360"/>
              </p14:xfrm>
            </p:contentPart>
          </mc:Choice>
          <mc:Fallback xmlns="">
            <p:pic>
              <p:nvPicPr>
                <p:cNvPr id="61" name="Ink 60">
                  <a:extLst>
                    <a:ext uri="{FF2B5EF4-FFF2-40B4-BE49-F238E27FC236}">
                      <a16:creationId xmlns:a16="http://schemas.microsoft.com/office/drawing/2014/main" id="{815FD59B-0D1F-4DAA-8E3A-879BB5849CC4}"/>
                    </a:ext>
                  </a:extLst>
                </p:cNvPr>
                <p:cNvPicPr/>
                <p:nvPr/>
              </p:nvPicPr>
              <p:blipFill>
                <a:blip r:embed="rId57"/>
                <a:stretch>
                  <a:fillRect/>
                </a:stretch>
              </p:blipFill>
              <p:spPr>
                <a:xfrm>
                  <a:off x="9247102" y="5492099"/>
                  <a:ext cx="408240" cy="26100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62" name="Ink 61">
                  <a:extLst>
                    <a:ext uri="{FF2B5EF4-FFF2-40B4-BE49-F238E27FC236}">
                      <a16:creationId xmlns:a16="http://schemas.microsoft.com/office/drawing/2014/main" id="{4F8DFC30-5EEA-477F-A0B9-AA84F9E80CDB}"/>
                    </a:ext>
                  </a:extLst>
                </p14:cNvPr>
                <p14:cNvContentPartPr/>
                <p14:nvPr/>
              </p14:nvContentPartPr>
              <p14:xfrm>
                <a:off x="9644902" y="5462579"/>
                <a:ext cx="239400" cy="202320"/>
              </p14:xfrm>
            </p:contentPart>
          </mc:Choice>
          <mc:Fallback xmlns="">
            <p:pic>
              <p:nvPicPr>
                <p:cNvPr id="62" name="Ink 61">
                  <a:extLst>
                    <a:ext uri="{FF2B5EF4-FFF2-40B4-BE49-F238E27FC236}">
                      <a16:creationId xmlns:a16="http://schemas.microsoft.com/office/drawing/2014/main" id="{4F8DFC30-5EEA-477F-A0B9-AA84F9E80CDB}"/>
                    </a:ext>
                  </a:extLst>
                </p:cNvPr>
                <p:cNvPicPr/>
                <p:nvPr/>
              </p:nvPicPr>
              <p:blipFill>
                <a:blip r:embed="rId59"/>
                <a:stretch>
                  <a:fillRect/>
                </a:stretch>
              </p:blipFill>
              <p:spPr>
                <a:xfrm>
                  <a:off x="9608902" y="5426939"/>
                  <a:ext cx="311040" cy="27396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63" name="Ink 62">
                  <a:extLst>
                    <a:ext uri="{FF2B5EF4-FFF2-40B4-BE49-F238E27FC236}">
                      <a16:creationId xmlns:a16="http://schemas.microsoft.com/office/drawing/2014/main" id="{E4F8EA43-0C85-445F-A623-C999952CC71D}"/>
                    </a:ext>
                  </a:extLst>
                </p14:cNvPr>
                <p14:cNvContentPartPr/>
                <p14:nvPr/>
              </p14:nvContentPartPr>
              <p14:xfrm>
                <a:off x="9832462" y="5562659"/>
                <a:ext cx="392400" cy="166320"/>
              </p14:xfrm>
            </p:contentPart>
          </mc:Choice>
          <mc:Fallback xmlns="">
            <p:pic>
              <p:nvPicPr>
                <p:cNvPr id="63" name="Ink 62">
                  <a:extLst>
                    <a:ext uri="{FF2B5EF4-FFF2-40B4-BE49-F238E27FC236}">
                      <a16:creationId xmlns:a16="http://schemas.microsoft.com/office/drawing/2014/main" id="{E4F8EA43-0C85-445F-A623-C999952CC71D}"/>
                    </a:ext>
                  </a:extLst>
                </p:cNvPr>
                <p:cNvPicPr/>
                <p:nvPr/>
              </p:nvPicPr>
              <p:blipFill>
                <a:blip r:embed="rId61"/>
                <a:stretch>
                  <a:fillRect/>
                </a:stretch>
              </p:blipFill>
              <p:spPr>
                <a:xfrm>
                  <a:off x="9796822" y="5526659"/>
                  <a:ext cx="464040" cy="23796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64" name="Ink 63">
                  <a:extLst>
                    <a:ext uri="{FF2B5EF4-FFF2-40B4-BE49-F238E27FC236}">
                      <a16:creationId xmlns:a16="http://schemas.microsoft.com/office/drawing/2014/main" id="{01C436F6-C359-422E-A987-05D79FD11604}"/>
                    </a:ext>
                  </a:extLst>
                </p14:cNvPr>
                <p14:cNvContentPartPr/>
                <p14:nvPr/>
              </p14:nvContentPartPr>
              <p14:xfrm>
                <a:off x="10134862" y="5419379"/>
                <a:ext cx="242280" cy="237240"/>
              </p14:xfrm>
            </p:contentPart>
          </mc:Choice>
          <mc:Fallback xmlns="">
            <p:pic>
              <p:nvPicPr>
                <p:cNvPr id="64" name="Ink 63">
                  <a:extLst>
                    <a:ext uri="{FF2B5EF4-FFF2-40B4-BE49-F238E27FC236}">
                      <a16:creationId xmlns:a16="http://schemas.microsoft.com/office/drawing/2014/main" id="{01C436F6-C359-422E-A987-05D79FD11604}"/>
                    </a:ext>
                  </a:extLst>
                </p:cNvPr>
                <p:cNvPicPr/>
                <p:nvPr/>
              </p:nvPicPr>
              <p:blipFill>
                <a:blip r:embed="rId63"/>
                <a:stretch>
                  <a:fillRect/>
                </a:stretch>
              </p:blipFill>
              <p:spPr>
                <a:xfrm>
                  <a:off x="10098862" y="5383379"/>
                  <a:ext cx="313920" cy="30888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65" name="Ink 64">
                  <a:extLst>
                    <a:ext uri="{FF2B5EF4-FFF2-40B4-BE49-F238E27FC236}">
                      <a16:creationId xmlns:a16="http://schemas.microsoft.com/office/drawing/2014/main" id="{02A8F8B3-FE2B-42F5-84D4-20920C98B514}"/>
                    </a:ext>
                  </a:extLst>
                </p14:cNvPr>
                <p14:cNvContentPartPr/>
                <p14:nvPr/>
              </p14:nvContentPartPr>
              <p14:xfrm>
                <a:off x="10233862" y="5574539"/>
                <a:ext cx="151200" cy="90000"/>
              </p14:xfrm>
            </p:contentPart>
          </mc:Choice>
          <mc:Fallback xmlns="">
            <p:pic>
              <p:nvPicPr>
                <p:cNvPr id="65" name="Ink 64">
                  <a:extLst>
                    <a:ext uri="{FF2B5EF4-FFF2-40B4-BE49-F238E27FC236}">
                      <a16:creationId xmlns:a16="http://schemas.microsoft.com/office/drawing/2014/main" id="{02A8F8B3-FE2B-42F5-84D4-20920C98B514}"/>
                    </a:ext>
                  </a:extLst>
                </p:cNvPr>
                <p:cNvPicPr/>
                <p:nvPr/>
              </p:nvPicPr>
              <p:blipFill>
                <a:blip r:embed="rId65"/>
                <a:stretch>
                  <a:fillRect/>
                </a:stretch>
              </p:blipFill>
              <p:spPr>
                <a:xfrm>
                  <a:off x="10198222" y="5538539"/>
                  <a:ext cx="222840" cy="16164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66" name="Ink 65">
                  <a:extLst>
                    <a:ext uri="{FF2B5EF4-FFF2-40B4-BE49-F238E27FC236}">
                      <a16:creationId xmlns:a16="http://schemas.microsoft.com/office/drawing/2014/main" id="{2D82FED6-0903-457F-8410-A92979EEE139}"/>
                    </a:ext>
                  </a:extLst>
                </p14:cNvPr>
                <p14:cNvContentPartPr/>
                <p14:nvPr/>
              </p14:nvContentPartPr>
              <p14:xfrm>
                <a:off x="10561822" y="5590379"/>
                <a:ext cx="163440" cy="70200"/>
              </p14:xfrm>
            </p:contentPart>
          </mc:Choice>
          <mc:Fallback xmlns="">
            <p:pic>
              <p:nvPicPr>
                <p:cNvPr id="66" name="Ink 65">
                  <a:extLst>
                    <a:ext uri="{FF2B5EF4-FFF2-40B4-BE49-F238E27FC236}">
                      <a16:creationId xmlns:a16="http://schemas.microsoft.com/office/drawing/2014/main" id="{2D82FED6-0903-457F-8410-A92979EEE139}"/>
                    </a:ext>
                  </a:extLst>
                </p:cNvPr>
                <p:cNvPicPr/>
                <p:nvPr/>
              </p:nvPicPr>
              <p:blipFill>
                <a:blip r:embed="rId67"/>
                <a:stretch>
                  <a:fillRect/>
                </a:stretch>
              </p:blipFill>
              <p:spPr>
                <a:xfrm>
                  <a:off x="10526182" y="5554739"/>
                  <a:ext cx="235080" cy="141840"/>
                </a:xfrm>
                <a:prstGeom prst="rect">
                  <a:avLst/>
                </a:prstGeom>
              </p:spPr>
            </p:pic>
          </mc:Fallback>
        </mc:AlternateContent>
      </p:grpSp>
      <p:grpSp>
        <p:nvGrpSpPr>
          <p:cNvPr id="75" name="Group 74">
            <a:extLst>
              <a:ext uri="{FF2B5EF4-FFF2-40B4-BE49-F238E27FC236}">
                <a16:creationId xmlns:a16="http://schemas.microsoft.com/office/drawing/2014/main" id="{C6E411D8-8B9E-4097-B04D-C24D3D188BCE}"/>
              </a:ext>
            </a:extLst>
          </p:cNvPr>
          <p:cNvGrpSpPr/>
          <p:nvPr/>
        </p:nvGrpSpPr>
        <p:grpSpPr>
          <a:xfrm>
            <a:off x="4379182" y="3743579"/>
            <a:ext cx="458640" cy="146520"/>
            <a:chOff x="4379182" y="3743579"/>
            <a:chExt cx="458640" cy="146520"/>
          </a:xfrm>
        </p:grpSpPr>
        <mc:AlternateContent xmlns:mc="http://schemas.openxmlformats.org/markup-compatibility/2006" xmlns:p14="http://schemas.microsoft.com/office/powerpoint/2010/main">
          <mc:Choice Requires="p14">
            <p:contentPart p14:bwMode="auto" r:id="rId68">
              <p14:nvContentPartPr>
                <p14:cNvPr id="73" name="Ink 72">
                  <a:extLst>
                    <a:ext uri="{FF2B5EF4-FFF2-40B4-BE49-F238E27FC236}">
                      <a16:creationId xmlns:a16="http://schemas.microsoft.com/office/drawing/2014/main" id="{13FAE3D3-C06E-468D-91BE-831717B74BE7}"/>
                    </a:ext>
                  </a:extLst>
                </p14:cNvPr>
                <p14:cNvContentPartPr/>
                <p14:nvPr/>
              </p14:nvContentPartPr>
              <p14:xfrm>
                <a:off x="4379182" y="3743579"/>
                <a:ext cx="458640" cy="16560"/>
              </p14:xfrm>
            </p:contentPart>
          </mc:Choice>
          <mc:Fallback xmlns="">
            <p:pic>
              <p:nvPicPr>
                <p:cNvPr id="73" name="Ink 72">
                  <a:extLst>
                    <a:ext uri="{FF2B5EF4-FFF2-40B4-BE49-F238E27FC236}">
                      <a16:creationId xmlns:a16="http://schemas.microsoft.com/office/drawing/2014/main" id="{13FAE3D3-C06E-468D-91BE-831717B74BE7}"/>
                    </a:ext>
                  </a:extLst>
                </p:cNvPr>
                <p:cNvPicPr/>
                <p:nvPr/>
              </p:nvPicPr>
              <p:blipFill>
                <a:blip r:embed="rId69"/>
                <a:stretch>
                  <a:fillRect/>
                </a:stretch>
              </p:blipFill>
              <p:spPr>
                <a:xfrm>
                  <a:off x="4343182" y="3707579"/>
                  <a:ext cx="530280" cy="8820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74" name="Ink 73">
                  <a:extLst>
                    <a:ext uri="{FF2B5EF4-FFF2-40B4-BE49-F238E27FC236}">
                      <a16:creationId xmlns:a16="http://schemas.microsoft.com/office/drawing/2014/main" id="{D03DD84B-75D8-4D55-8A1D-F269492C7179}"/>
                    </a:ext>
                  </a:extLst>
                </p14:cNvPr>
                <p14:cNvContentPartPr/>
                <p14:nvPr/>
              </p14:nvContentPartPr>
              <p14:xfrm>
                <a:off x="4381702" y="3875339"/>
                <a:ext cx="339120" cy="14760"/>
              </p14:xfrm>
            </p:contentPart>
          </mc:Choice>
          <mc:Fallback xmlns="">
            <p:pic>
              <p:nvPicPr>
                <p:cNvPr id="74" name="Ink 73">
                  <a:extLst>
                    <a:ext uri="{FF2B5EF4-FFF2-40B4-BE49-F238E27FC236}">
                      <a16:creationId xmlns:a16="http://schemas.microsoft.com/office/drawing/2014/main" id="{D03DD84B-75D8-4D55-8A1D-F269492C7179}"/>
                    </a:ext>
                  </a:extLst>
                </p:cNvPr>
                <p:cNvPicPr/>
                <p:nvPr/>
              </p:nvPicPr>
              <p:blipFill>
                <a:blip r:embed="rId71"/>
                <a:stretch>
                  <a:fillRect/>
                </a:stretch>
              </p:blipFill>
              <p:spPr>
                <a:xfrm>
                  <a:off x="4346062" y="3839699"/>
                  <a:ext cx="410760" cy="86400"/>
                </a:xfrm>
                <a:prstGeom prst="rect">
                  <a:avLst/>
                </a:prstGeom>
              </p:spPr>
            </p:pic>
          </mc:Fallback>
        </mc:AlternateContent>
      </p:grpSp>
      <p:grpSp>
        <p:nvGrpSpPr>
          <p:cNvPr id="87" name="Group 86">
            <a:extLst>
              <a:ext uri="{FF2B5EF4-FFF2-40B4-BE49-F238E27FC236}">
                <a16:creationId xmlns:a16="http://schemas.microsoft.com/office/drawing/2014/main" id="{57FCF10E-C4DF-48A6-8A81-51C447E9A614}"/>
              </a:ext>
            </a:extLst>
          </p:cNvPr>
          <p:cNvGrpSpPr/>
          <p:nvPr/>
        </p:nvGrpSpPr>
        <p:grpSpPr>
          <a:xfrm>
            <a:off x="6169462" y="881219"/>
            <a:ext cx="948600" cy="294840"/>
            <a:chOff x="6169462" y="881219"/>
            <a:chExt cx="948600" cy="294840"/>
          </a:xfrm>
        </p:grpSpPr>
        <mc:AlternateContent xmlns:mc="http://schemas.openxmlformats.org/markup-compatibility/2006" xmlns:p14="http://schemas.microsoft.com/office/powerpoint/2010/main">
          <mc:Choice Requires="p14">
            <p:contentPart p14:bwMode="auto" r:id="rId72">
              <p14:nvContentPartPr>
                <p14:cNvPr id="80" name="Ink 79">
                  <a:extLst>
                    <a:ext uri="{FF2B5EF4-FFF2-40B4-BE49-F238E27FC236}">
                      <a16:creationId xmlns:a16="http://schemas.microsoft.com/office/drawing/2014/main" id="{BC0C3A49-682D-4C4F-A0B0-520E6FD01C1C}"/>
                    </a:ext>
                  </a:extLst>
                </p14:cNvPr>
                <p14:cNvContentPartPr/>
                <p14:nvPr/>
              </p14:nvContentPartPr>
              <p14:xfrm>
                <a:off x="6195742" y="881219"/>
                <a:ext cx="205560" cy="217080"/>
              </p14:xfrm>
            </p:contentPart>
          </mc:Choice>
          <mc:Fallback xmlns="">
            <p:pic>
              <p:nvPicPr>
                <p:cNvPr id="80" name="Ink 79">
                  <a:extLst>
                    <a:ext uri="{FF2B5EF4-FFF2-40B4-BE49-F238E27FC236}">
                      <a16:creationId xmlns:a16="http://schemas.microsoft.com/office/drawing/2014/main" id="{BC0C3A49-682D-4C4F-A0B0-520E6FD01C1C}"/>
                    </a:ext>
                  </a:extLst>
                </p:cNvPr>
                <p:cNvPicPr/>
                <p:nvPr/>
              </p:nvPicPr>
              <p:blipFill>
                <a:blip r:embed="rId73"/>
                <a:stretch>
                  <a:fillRect/>
                </a:stretch>
              </p:blipFill>
              <p:spPr>
                <a:xfrm>
                  <a:off x="6159742" y="845579"/>
                  <a:ext cx="277200" cy="28872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81" name="Ink 80">
                  <a:extLst>
                    <a:ext uri="{FF2B5EF4-FFF2-40B4-BE49-F238E27FC236}">
                      <a16:creationId xmlns:a16="http://schemas.microsoft.com/office/drawing/2014/main" id="{E3CAD07B-2E88-47F3-9F79-8E370FBCB9F4}"/>
                    </a:ext>
                  </a:extLst>
                </p14:cNvPr>
                <p14:cNvContentPartPr/>
                <p14:nvPr/>
              </p14:nvContentPartPr>
              <p14:xfrm>
                <a:off x="6169462" y="921179"/>
                <a:ext cx="196560" cy="200160"/>
              </p14:xfrm>
            </p:contentPart>
          </mc:Choice>
          <mc:Fallback xmlns="">
            <p:pic>
              <p:nvPicPr>
                <p:cNvPr id="81" name="Ink 80">
                  <a:extLst>
                    <a:ext uri="{FF2B5EF4-FFF2-40B4-BE49-F238E27FC236}">
                      <a16:creationId xmlns:a16="http://schemas.microsoft.com/office/drawing/2014/main" id="{E3CAD07B-2E88-47F3-9F79-8E370FBCB9F4}"/>
                    </a:ext>
                  </a:extLst>
                </p:cNvPr>
                <p:cNvPicPr/>
                <p:nvPr/>
              </p:nvPicPr>
              <p:blipFill>
                <a:blip r:embed="rId75"/>
                <a:stretch>
                  <a:fillRect/>
                </a:stretch>
              </p:blipFill>
              <p:spPr>
                <a:xfrm>
                  <a:off x="6133462" y="885539"/>
                  <a:ext cx="268200" cy="2718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82" name="Ink 81">
                  <a:extLst>
                    <a:ext uri="{FF2B5EF4-FFF2-40B4-BE49-F238E27FC236}">
                      <a16:creationId xmlns:a16="http://schemas.microsoft.com/office/drawing/2014/main" id="{3C0FE35D-98CF-4A26-8417-256CFBD49B1F}"/>
                    </a:ext>
                  </a:extLst>
                </p14:cNvPr>
                <p14:cNvContentPartPr/>
                <p14:nvPr/>
              </p14:nvContentPartPr>
              <p14:xfrm>
                <a:off x="6437302" y="939179"/>
                <a:ext cx="56520" cy="192600"/>
              </p14:xfrm>
            </p:contentPart>
          </mc:Choice>
          <mc:Fallback xmlns="">
            <p:pic>
              <p:nvPicPr>
                <p:cNvPr id="82" name="Ink 81">
                  <a:extLst>
                    <a:ext uri="{FF2B5EF4-FFF2-40B4-BE49-F238E27FC236}">
                      <a16:creationId xmlns:a16="http://schemas.microsoft.com/office/drawing/2014/main" id="{3C0FE35D-98CF-4A26-8417-256CFBD49B1F}"/>
                    </a:ext>
                  </a:extLst>
                </p:cNvPr>
                <p:cNvPicPr/>
                <p:nvPr/>
              </p:nvPicPr>
              <p:blipFill>
                <a:blip r:embed="rId77"/>
                <a:stretch>
                  <a:fillRect/>
                </a:stretch>
              </p:blipFill>
              <p:spPr>
                <a:xfrm>
                  <a:off x="6401662" y="903539"/>
                  <a:ext cx="128160" cy="26424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83" name="Ink 82">
                  <a:extLst>
                    <a:ext uri="{FF2B5EF4-FFF2-40B4-BE49-F238E27FC236}">
                      <a16:creationId xmlns:a16="http://schemas.microsoft.com/office/drawing/2014/main" id="{95F756AF-00CC-4DFE-86CD-F857C0BBD93A}"/>
                    </a:ext>
                  </a:extLst>
                </p14:cNvPr>
                <p14:cNvContentPartPr/>
                <p14:nvPr/>
              </p14:nvContentPartPr>
              <p14:xfrm>
                <a:off x="6603262" y="982739"/>
                <a:ext cx="103680" cy="193320"/>
              </p14:xfrm>
            </p:contentPart>
          </mc:Choice>
          <mc:Fallback xmlns="">
            <p:pic>
              <p:nvPicPr>
                <p:cNvPr id="83" name="Ink 82">
                  <a:extLst>
                    <a:ext uri="{FF2B5EF4-FFF2-40B4-BE49-F238E27FC236}">
                      <a16:creationId xmlns:a16="http://schemas.microsoft.com/office/drawing/2014/main" id="{95F756AF-00CC-4DFE-86CD-F857C0BBD93A}"/>
                    </a:ext>
                  </a:extLst>
                </p:cNvPr>
                <p:cNvPicPr/>
                <p:nvPr/>
              </p:nvPicPr>
              <p:blipFill>
                <a:blip r:embed="rId79"/>
                <a:stretch>
                  <a:fillRect/>
                </a:stretch>
              </p:blipFill>
              <p:spPr>
                <a:xfrm>
                  <a:off x="6567622" y="946739"/>
                  <a:ext cx="175320" cy="26496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84" name="Ink 83">
                  <a:extLst>
                    <a:ext uri="{FF2B5EF4-FFF2-40B4-BE49-F238E27FC236}">
                      <a16:creationId xmlns:a16="http://schemas.microsoft.com/office/drawing/2014/main" id="{B7B0CF67-3AC3-4CE0-BE84-1402CB73DB7B}"/>
                    </a:ext>
                  </a:extLst>
                </p14:cNvPr>
                <p14:cNvContentPartPr/>
                <p14:nvPr/>
              </p14:nvContentPartPr>
              <p14:xfrm>
                <a:off x="6586342" y="939899"/>
                <a:ext cx="224640" cy="48600"/>
              </p14:xfrm>
            </p:contentPart>
          </mc:Choice>
          <mc:Fallback xmlns="">
            <p:pic>
              <p:nvPicPr>
                <p:cNvPr id="84" name="Ink 83">
                  <a:extLst>
                    <a:ext uri="{FF2B5EF4-FFF2-40B4-BE49-F238E27FC236}">
                      <a16:creationId xmlns:a16="http://schemas.microsoft.com/office/drawing/2014/main" id="{B7B0CF67-3AC3-4CE0-BE84-1402CB73DB7B}"/>
                    </a:ext>
                  </a:extLst>
                </p:cNvPr>
                <p:cNvPicPr/>
                <p:nvPr/>
              </p:nvPicPr>
              <p:blipFill>
                <a:blip r:embed="rId81"/>
                <a:stretch>
                  <a:fillRect/>
                </a:stretch>
              </p:blipFill>
              <p:spPr>
                <a:xfrm>
                  <a:off x="6550702" y="904259"/>
                  <a:ext cx="296280" cy="12024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85" name="Ink 84">
                  <a:extLst>
                    <a:ext uri="{FF2B5EF4-FFF2-40B4-BE49-F238E27FC236}">
                      <a16:creationId xmlns:a16="http://schemas.microsoft.com/office/drawing/2014/main" id="{8FAA1BFA-3CE4-4352-B93B-88A59B88239A}"/>
                    </a:ext>
                  </a:extLst>
                </p14:cNvPr>
                <p14:cNvContentPartPr/>
                <p14:nvPr/>
              </p14:nvContentPartPr>
              <p14:xfrm>
                <a:off x="6996382" y="939539"/>
                <a:ext cx="83520" cy="8280"/>
              </p14:xfrm>
            </p:contentPart>
          </mc:Choice>
          <mc:Fallback xmlns="">
            <p:pic>
              <p:nvPicPr>
                <p:cNvPr id="85" name="Ink 84">
                  <a:extLst>
                    <a:ext uri="{FF2B5EF4-FFF2-40B4-BE49-F238E27FC236}">
                      <a16:creationId xmlns:a16="http://schemas.microsoft.com/office/drawing/2014/main" id="{8FAA1BFA-3CE4-4352-B93B-88A59B88239A}"/>
                    </a:ext>
                  </a:extLst>
                </p:cNvPr>
                <p:cNvPicPr/>
                <p:nvPr/>
              </p:nvPicPr>
              <p:blipFill>
                <a:blip r:embed="rId83"/>
                <a:stretch>
                  <a:fillRect/>
                </a:stretch>
              </p:blipFill>
              <p:spPr>
                <a:xfrm>
                  <a:off x="6960742" y="903899"/>
                  <a:ext cx="15516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86" name="Ink 85">
                  <a:extLst>
                    <a:ext uri="{FF2B5EF4-FFF2-40B4-BE49-F238E27FC236}">
                      <a16:creationId xmlns:a16="http://schemas.microsoft.com/office/drawing/2014/main" id="{DE078FFB-FABD-4E8D-AA13-CCBF8D91B67F}"/>
                    </a:ext>
                  </a:extLst>
                </p14:cNvPr>
                <p14:cNvContentPartPr/>
                <p14:nvPr/>
              </p14:nvContentPartPr>
              <p14:xfrm>
                <a:off x="7004302" y="1034219"/>
                <a:ext cx="113760" cy="17280"/>
              </p14:xfrm>
            </p:contentPart>
          </mc:Choice>
          <mc:Fallback xmlns="">
            <p:pic>
              <p:nvPicPr>
                <p:cNvPr id="86" name="Ink 85">
                  <a:extLst>
                    <a:ext uri="{FF2B5EF4-FFF2-40B4-BE49-F238E27FC236}">
                      <a16:creationId xmlns:a16="http://schemas.microsoft.com/office/drawing/2014/main" id="{DE078FFB-FABD-4E8D-AA13-CCBF8D91B67F}"/>
                    </a:ext>
                  </a:extLst>
                </p:cNvPr>
                <p:cNvPicPr/>
                <p:nvPr/>
              </p:nvPicPr>
              <p:blipFill>
                <a:blip r:embed="rId85"/>
                <a:stretch>
                  <a:fillRect/>
                </a:stretch>
              </p:blipFill>
              <p:spPr>
                <a:xfrm>
                  <a:off x="6968302" y="997453"/>
                  <a:ext cx="185400" cy="90444"/>
                </a:xfrm>
                <a:prstGeom prst="rect">
                  <a:avLst/>
                </a:prstGeom>
              </p:spPr>
            </p:pic>
          </mc:Fallback>
        </mc:AlternateContent>
      </p:grpSp>
      <p:grpSp>
        <p:nvGrpSpPr>
          <p:cNvPr id="128" name="Group 127">
            <a:extLst>
              <a:ext uri="{FF2B5EF4-FFF2-40B4-BE49-F238E27FC236}">
                <a16:creationId xmlns:a16="http://schemas.microsoft.com/office/drawing/2014/main" id="{A5B25D6D-4F1B-42E0-BB91-21573EFF7F5F}"/>
              </a:ext>
            </a:extLst>
          </p:cNvPr>
          <p:cNvGrpSpPr/>
          <p:nvPr/>
        </p:nvGrpSpPr>
        <p:grpSpPr>
          <a:xfrm>
            <a:off x="7349902" y="795539"/>
            <a:ext cx="2014560" cy="348480"/>
            <a:chOff x="7349902" y="795539"/>
            <a:chExt cx="2014560" cy="348480"/>
          </a:xfrm>
        </p:grpSpPr>
        <mc:AlternateContent xmlns:mc="http://schemas.openxmlformats.org/markup-compatibility/2006" xmlns:p14="http://schemas.microsoft.com/office/powerpoint/2010/main">
          <mc:Choice Requires="p14">
            <p:contentPart p14:bwMode="auto" r:id="rId86">
              <p14:nvContentPartPr>
                <p14:cNvPr id="111" name="Ink 110">
                  <a:extLst>
                    <a:ext uri="{FF2B5EF4-FFF2-40B4-BE49-F238E27FC236}">
                      <a16:creationId xmlns:a16="http://schemas.microsoft.com/office/drawing/2014/main" id="{2686E36D-362A-434C-8279-5743DDFBC05D}"/>
                    </a:ext>
                  </a:extLst>
                </p14:cNvPr>
                <p14:cNvContentPartPr/>
                <p14:nvPr/>
              </p14:nvContentPartPr>
              <p14:xfrm>
                <a:off x="7349902" y="847739"/>
                <a:ext cx="203400" cy="204840"/>
              </p14:xfrm>
            </p:contentPart>
          </mc:Choice>
          <mc:Fallback xmlns="">
            <p:pic>
              <p:nvPicPr>
                <p:cNvPr id="111" name="Ink 110">
                  <a:extLst>
                    <a:ext uri="{FF2B5EF4-FFF2-40B4-BE49-F238E27FC236}">
                      <a16:creationId xmlns:a16="http://schemas.microsoft.com/office/drawing/2014/main" id="{2686E36D-362A-434C-8279-5743DDFBC05D}"/>
                    </a:ext>
                  </a:extLst>
                </p:cNvPr>
                <p:cNvPicPr/>
                <p:nvPr/>
              </p:nvPicPr>
              <p:blipFill>
                <a:blip r:embed="rId87"/>
                <a:stretch>
                  <a:fillRect/>
                </a:stretch>
              </p:blipFill>
              <p:spPr>
                <a:xfrm>
                  <a:off x="7313902" y="812099"/>
                  <a:ext cx="275040" cy="27648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112" name="Ink 111">
                  <a:extLst>
                    <a:ext uri="{FF2B5EF4-FFF2-40B4-BE49-F238E27FC236}">
                      <a16:creationId xmlns:a16="http://schemas.microsoft.com/office/drawing/2014/main" id="{E6DD6FAA-042C-492F-88FB-0086FECDC5AA}"/>
                    </a:ext>
                  </a:extLst>
                </p14:cNvPr>
                <p14:cNvContentPartPr/>
                <p14:nvPr/>
              </p14:nvContentPartPr>
              <p14:xfrm>
                <a:off x="7655542" y="938459"/>
                <a:ext cx="94680" cy="106200"/>
              </p14:xfrm>
            </p:contentPart>
          </mc:Choice>
          <mc:Fallback xmlns="">
            <p:pic>
              <p:nvPicPr>
                <p:cNvPr id="112" name="Ink 111">
                  <a:extLst>
                    <a:ext uri="{FF2B5EF4-FFF2-40B4-BE49-F238E27FC236}">
                      <a16:creationId xmlns:a16="http://schemas.microsoft.com/office/drawing/2014/main" id="{E6DD6FAA-042C-492F-88FB-0086FECDC5AA}"/>
                    </a:ext>
                  </a:extLst>
                </p:cNvPr>
                <p:cNvPicPr/>
                <p:nvPr/>
              </p:nvPicPr>
              <p:blipFill>
                <a:blip r:embed="rId89"/>
                <a:stretch>
                  <a:fillRect/>
                </a:stretch>
              </p:blipFill>
              <p:spPr>
                <a:xfrm>
                  <a:off x="7619902" y="902819"/>
                  <a:ext cx="166320" cy="17784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113" name="Ink 112">
                  <a:extLst>
                    <a:ext uri="{FF2B5EF4-FFF2-40B4-BE49-F238E27FC236}">
                      <a16:creationId xmlns:a16="http://schemas.microsoft.com/office/drawing/2014/main" id="{5DD6611D-2394-48CE-86EC-03FA5F770223}"/>
                    </a:ext>
                  </a:extLst>
                </p14:cNvPr>
                <p14:cNvContentPartPr/>
                <p14:nvPr/>
              </p14:nvContentPartPr>
              <p14:xfrm>
                <a:off x="7802782" y="982739"/>
                <a:ext cx="26280" cy="5760"/>
              </p14:xfrm>
            </p:contentPart>
          </mc:Choice>
          <mc:Fallback xmlns="">
            <p:pic>
              <p:nvPicPr>
                <p:cNvPr id="113" name="Ink 112">
                  <a:extLst>
                    <a:ext uri="{FF2B5EF4-FFF2-40B4-BE49-F238E27FC236}">
                      <a16:creationId xmlns:a16="http://schemas.microsoft.com/office/drawing/2014/main" id="{5DD6611D-2394-48CE-86EC-03FA5F770223}"/>
                    </a:ext>
                  </a:extLst>
                </p:cNvPr>
                <p:cNvPicPr/>
                <p:nvPr/>
              </p:nvPicPr>
              <p:blipFill>
                <a:blip r:embed="rId91"/>
                <a:stretch>
                  <a:fillRect/>
                </a:stretch>
              </p:blipFill>
              <p:spPr>
                <a:xfrm>
                  <a:off x="7766782" y="946739"/>
                  <a:ext cx="97920" cy="7740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114" name="Ink 113">
                  <a:extLst>
                    <a:ext uri="{FF2B5EF4-FFF2-40B4-BE49-F238E27FC236}">
                      <a16:creationId xmlns:a16="http://schemas.microsoft.com/office/drawing/2014/main" id="{40AA50FC-2301-4DEF-9EC5-8C0DCC70ADBA}"/>
                    </a:ext>
                  </a:extLst>
                </p14:cNvPr>
                <p14:cNvContentPartPr/>
                <p14:nvPr/>
              </p14:nvContentPartPr>
              <p14:xfrm>
                <a:off x="7988902" y="910379"/>
                <a:ext cx="76680" cy="131760"/>
              </p14:xfrm>
            </p:contentPart>
          </mc:Choice>
          <mc:Fallback xmlns="">
            <p:pic>
              <p:nvPicPr>
                <p:cNvPr id="114" name="Ink 113">
                  <a:extLst>
                    <a:ext uri="{FF2B5EF4-FFF2-40B4-BE49-F238E27FC236}">
                      <a16:creationId xmlns:a16="http://schemas.microsoft.com/office/drawing/2014/main" id="{40AA50FC-2301-4DEF-9EC5-8C0DCC70ADBA}"/>
                    </a:ext>
                  </a:extLst>
                </p:cNvPr>
                <p:cNvPicPr/>
                <p:nvPr/>
              </p:nvPicPr>
              <p:blipFill>
                <a:blip r:embed="rId93"/>
                <a:stretch>
                  <a:fillRect/>
                </a:stretch>
              </p:blipFill>
              <p:spPr>
                <a:xfrm>
                  <a:off x="7952902" y="874739"/>
                  <a:ext cx="148320" cy="20340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115" name="Ink 114">
                  <a:extLst>
                    <a:ext uri="{FF2B5EF4-FFF2-40B4-BE49-F238E27FC236}">
                      <a16:creationId xmlns:a16="http://schemas.microsoft.com/office/drawing/2014/main" id="{4DFF9D49-65B4-41B9-9128-816FE762E27D}"/>
                    </a:ext>
                  </a:extLst>
                </p14:cNvPr>
                <p14:cNvContentPartPr/>
                <p14:nvPr/>
              </p14:nvContentPartPr>
              <p14:xfrm>
                <a:off x="8150182" y="795539"/>
                <a:ext cx="159480" cy="276840"/>
              </p14:xfrm>
            </p:contentPart>
          </mc:Choice>
          <mc:Fallback xmlns="">
            <p:pic>
              <p:nvPicPr>
                <p:cNvPr id="115" name="Ink 114">
                  <a:extLst>
                    <a:ext uri="{FF2B5EF4-FFF2-40B4-BE49-F238E27FC236}">
                      <a16:creationId xmlns:a16="http://schemas.microsoft.com/office/drawing/2014/main" id="{4DFF9D49-65B4-41B9-9128-816FE762E27D}"/>
                    </a:ext>
                  </a:extLst>
                </p:cNvPr>
                <p:cNvPicPr/>
                <p:nvPr/>
              </p:nvPicPr>
              <p:blipFill>
                <a:blip r:embed="rId95"/>
                <a:stretch>
                  <a:fillRect/>
                </a:stretch>
              </p:blipFill>
              <p:spPr>
                <a:xfrm>
                  <a:off x="8114542" y="759539"/>
                  <a:ext cx="231120" cy="34848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116" name="Ink 115">
                  <a:extLst>
                    <a:ext uri="{FF2B5EF4-FFF2-40B4-BE49-F238E27FC236}">
                      <a16:creationId xmlns:a16="http://schemas.microsoft.com/office/drawing/2014/main" id="{7A7D0BD1-B67E-45C0-9167-847185562E0E}"/>
                    </a:ext>
                  </a:extLst>
                </p14:cNvPr>
                <p14:cNvContentPartPr/>
                <p14:nvPr/>
              </p14:nvContentPartPr>
              <p14:xfrm>
                <a:off x="8472742" y="823979"/>
                <a:ext cx="160200" cy="320040"/>
              </p14:xfrm>
            </p:contentPart>
          </mc:Choice>
          <mc:Fallback xmlns="">
            <p:pic>
              <p:nvPicPr>
                <p:cNvPr id="116" name="Ink 115">
                  <a:extLst>
                    <a:ext uri="{FF2B5EF4-FFF2-40B4-BE49-F238E27FC236}">
                      <a16:creationId xmlns:a16="http://schemas.microsoft.com/office/drawing/2014/main" id="{7A7D0BD1-B67E-45C0-9167-847185562E0E}"/>
                    </a:ext>
                  </a:extLst>
                </p:cNvPr>
                <p:cNvPicPr/>
                <p:nvPr/>
              </p:nvPicPr>
              <p:blipFill>
                <a:blip r:embed="rId97"/>
                <a:stretch>
                  <a:fillRect/>
                </a:stretch>
              </p:blipFill>
              <p:spPr>
                <a:xfrm>
                  <a:off x="8437102" y="787979"/>
                  <a:ext cx="231840" cy="39168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117" name="Ink 116">
                  <a:extLst>
                    <a:ext uri="{FF2B5EF4-FFF2-40B4-BE49-F238E27FC236}">
                      <a16:creationId xmlns:a16="http://schemas.microsoft.com/office/drawing/2014/main" id="{5E63643A-A5B1-44D2-9670-32C5AFDC67FF}"/>
                    </a:ext>
                  </a:extLst>
                </p14:cNvPr>
                <p14:cNvContentPartPr/>
                <p14:nvPr/>
              </p14:nvContentPartPr>
              <p14:xfrm>
                <a:off x="8468062" y="980219"/>
                <a:ext cx="245520" cy="131040"/>
              </p14:xfrm>
            </p:contentPart>
          </mc:Choice>
          <mc:Fallback xmlns="">
            <p:pic>
              <p:nvPicPr>
                <p:cNvPr id="117" name="Ink 116">
                  <a:extLst>
                    <a:ext uri="{FF2B5EF4-FFF2-40B4-BE49-F238E27FC236}">
                      <a16:creationId xmlns:a16="http://schemas.microsoft.com/office/drawing/2014/main" id="{5E63643A-A5B1-44D2-9670-32C5AFDC67FF}"/>
                    </a:ext>
                  </a:extLst>
                </p:cNvPr>
                <p:cNvPicPr/>
                <p:nvPr/>
              </p:nvPicPr>
              <p:blipFill>
                <a:blip r:embed="rId99"/>
                <a:stretch>
                  <a:fillRect/>
                </a:stretch>
              </p:blipFill>
              <p:spPr>
                <a:xfrm>
                  <a:off x="8432422" y="944579"/>
                  <a:ext cx="317160" cy="20268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118" name="Ink 117">
                  <a:extLst>
                    <a:ext uri="{FF2B5EF4-FFF2-40B4-BE49-F238E27FC236}">
                      <a16:creationId xmlns:a16="http://schemas.microsoft.com/office/drawing/2014/main" id="{5205C8A8-B550-4FD7-ACEB-D27F3A0DF836}"/>
                    </a:ext>
                  </a:extLst>
                </p14:cNvPr>
                <p14:cNvContentPartPr/>
                <p14:nvPr/>
              </p14:nvContentPartPr>
              <p14:xfrm>
                <a:off x="8680822" y="901379"/>
                <a:ext cx="8280" cy="54000"/>
              </p14:xfrm>
            </p:contentPart>
          </mc:Choice>
          <mc:Fallback xmlns="">
            <p:pic>
              <p:nvPicPr>
                <p:cNvPr id="118" name="Ink 117">
                  <a:extLst>
                    <a:ext uri="{FF2B5EF4-FFF2-40B4-BE49-F238E27FC236}">
                      <a16:creationId xmlns:a16="http://schemas.microsoft.com/office/drawing/2014/main" id="{5205C8A8-B550-4FD7-ACEB-D27F3A0DF836}"/>
                    </a:ext>
                  </a:extLst>
                </p:cNvPr>
                <p:cNvPicPr/>
                <p:nvPr/>
              </p:nvPicPr>
              <p:blipFill>
                <a:blip r:embed="rId101"/>
                <a:stretch>
                  <a:fillRect/>
                </a:stretch>
              </p:blipFill>
              <p:spPr>
                <a:xfrm>
                  <a:off x="8645182" y="865739"/>
                  <a:ext cx="79920" cy="12564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119" name="Ink 118">
                  <a:extLst>
                    <a:ext uri="{FF2B5EF4-FFF2-40B4-BE49-F238E27FC236}">
                      <a16:creationId xmlns:a16="http://schemas.microsoft.com/office/drawing/2014/main" id="{A94EC5E3-A198-44B1-A477-6EEF9889180D}"/>
                    </a:ext>
                  </a:extLst>
                </p14:cNvPr>
                <p14:cNvContentPartPr/>
                <p14:nvPr/>
              </p14:nvContentPartPr>
              <p14:xfrm>
                <a:off x="8811502" y="961499"/>
                <a:ext cx="256320" cy="123480"/>
              </p14:xfrm>
            </p:contentPart>
          </mc:Choice>
          <mc:Fallback xmlns="">
            <p:pic>
              <p:nvPicPr>
                <p:cNvPr id="119" name="Ink 118">
                  <a:extLst>
                    <a:ext uri="{FF2B5EF4-FFF2-40B4-BE49-F238E27FC236}">
                      <a16:creationId xmlns:a16="http://schemas.microsoft.com/office/drawing/2014/main" id="{A94EC5E3-A198-44B1-A477-6EEF9889180D}"/>
                    </a:ext>
                  </a:extLst>
                </p:cNvPr>
                <p:cNvPicPr/>
                <p:nvPr/>
              </p:nvPicPr>
              <p:blipFill>
                <a:blip r:embed="rId103"/>
                <a:stretch>
                  <a:fillRect/>
                </a:stretch>
              </p:blipFill>
              <p:spPr>
                <a:xfrm>
                  <a:off x="8775502" y="925859"/>
                  <a:ext cx="327960" cy="19512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120" name="Ink 119">
                  <a:extLst>
                    <a:ext uri="{FF2B5EF4-FFF2-40B4-BE49-F238E27FC236}">
                      <a16:creationId xmlns:a16="http://schemas.microsoft.com/office/drawing/2014/main" id="{3463E501-E5A3-497F-B8C5-5EF750A08528}"/>
                    </a:ext>
                  </a:extLst>
                </p14:cNvPr>
                <p14:cNvContentPartPr/>
                <p14:nvPr/>
              </p14:nvContentPartPr>
              <p14:xfrm>
                <a:off x="9113542" y="949259"/>
                <a:ext cx="250920" cy="187560"/>
              </p14:xfrm>
            </p:contentPart>
          </mc:Choice>
          <mc:Fallback xmlns="">
            <p:pic>
              <p:nvPicPr>
                <p:cNvPr id="120" name="Ink 119">
                  <a:extLst>
                    <a:ext uri="{FF2B5EF4-FFF2-40B4-BE49-F238E27FC236}">
                      <a16:creationId xmlns:a16="http://schemas.microsoft.com/office/drawing/2014/main" id="{3463E501-E5A3-497F-B8C5-5EF750A08528}"/>
                    </a:ext>
                  </a:extLst>
                </p:cNvPr>
                <p:cNvPicPr/>
                <p:nvPr/>
              </p:nvPicPr>
              <p:blipFill>
                <a:blip r:embed="rId105"/>
                <a:stretch>
                  <a:fillRect/>
                </a:stretch>
              </p:blipFill>
              <p:spPr>
                <a:xfrm>
                  <a:off x="9077542" y="913259"/>
                  <a:ext cx="322560" cy="2592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06">
            <p14:nvContentPartPr>
              <p14:cNvPr id="121" name="Ink 120">
                <a:extLst>
                  <a:ext uri="{FF2B5EF4-FFF2-40B4-BE49-F238E27FC236}">
                    <a16:creationId xmlns:a16="http://schemas.microsoft.com/office/drawing/2014/main" id="{0D153F60-E48B-4DBC-BB7D-ECFF71976CE8}"/>
                  </a:ext>
                </a:extLst>
              </p14:cNvPr>
              <p14:cNvContentPartPr/>
              <p14:nvPr/>
            </p14:nvContentPartPr>
            <p14:xfrm>
              <a:off x="9672982" y="947459"/>
              <a:ext cx="282960" cy="220680"/>
            </p14:xfrm>
          </p:contentPart>
        </mc:Choice>
        <mc:Fallback xmlns="">
          <p:pic>
            <p:nvPicPr>
              <p:cNvPr id="121" name="Ink 120">
                <a:extLst>
                  <a:ext uri="{FF2B5EF4-FFF2-40B4-BE49-F238E27FC236}">
                    <a16:creationId xmlns:a16="http://schemas.microsoft.com/office/drawing/2014/main" id="{0D153F60-E48B-4DBC-BB7D-ECFF71976CE8}"/>
                  </a:ext>
                </a:extLst>
              </p:cNvPr>
              <p:cNvPicPr/>
              <p:nvPr/>
            </p:nvPicPr>
            <p:blipFill>
              <a:blip r:embed="rId107"/>
              <a:stretch>
                <a:fillRect/>
              </a:stretch>
            </p:blipFill>
            <p:spPr>
              <a:xfrm>
                <a:off x="9636982" y="911819"/>
                <a:ext cx="354600" cy="292320"/>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122" name="Ink 121">
                <a:extLst>
                  <a:ext uri="{FF2B5EF4-FFF2-40B4-BE49-F238E27FC236}">
                    <a16:creationId xmlns:a16="http://schemas.microsoft.com/office/drawing/2014/main" id="{589E767C-D2FA-4501-BF3B-21B6071EBF0F}"/>
                  </a:ext>
                </a:extLst>
              </p14:cNvPr>
              <p14:cNvContentPartPr/>
              <p14:nvPr/>
            </p14:nvContentPartPr>
            <p14:xfrm>
              <a:off x="10086622" y="984539"/>
              <a:ext cx="83520" cy="135720"/>
            </p14:xfrm>
          </p:contentPart>
        </mc:Choice>
        <mc:Fallback xmlns="">
          <p:pic>
            <p:nvPicPr>
              <p:cNvPr id="122" name="Ink 121">
                <a:extLst>
                  <a:ext uri="{FF2B5EF4-FFF2-40B4-BE49-F238E27FC236}">
                    <a16:creationId xmlns:a16="http://schemas.microsoft.com/office/drawing/2014/main" id="{589E767C-D2FA-4501-BF3B-21B6071EBF0F}"/>
                  </a:ext>
                </a:extLst>
              </p:cNvPr>
              <p:cNvPicPr/>
              <p:nvPr/>
            </p:nvPicPr>
            <p:blipFill>
              <a:blip r:embed="rId109"/>
              <a:stretch>
                <a:fillRect/>
              </a:stretch>
            </p:blipFill>
            <p:spPr>
              <a:xfrm>
                <a:off x="10050622" y="948899"/>
                <a:ext cx="155160" cy="20736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123" name="Ink 122">
                <a:extLst>
                  <a:ext uri="{FF2B5EF4-FFF2-40B4-BE49-F238E27FC236}">
                    <a16:creationId xmlns:a16="http://schemas.microsoft.com/office/drawing/2014/main" id="{2DF29C7A-B766-4362-8801-0B6EF1F5928F}"/>
                  </a:ext>
                </a:extLst>
              </p14:cNvPr>
              <p14:cNvContentPartPr/>
              <p14:nvPr/>
            </p14:nvContentPartPr>
            <p14:xfrm>
              <a:off x="10241062" y="982739"/>
              <a:ext cx="105120" cy="137880"/>
            </p14:xfrm>
          </p:contentPart>
        </mc:Choice>
        <mc:Fallback xmlns="">
          <p:pic>
            <p:nvPicPr>
              <p:cNvPr id="123" name="Ink 122">
                <a:extLst>
                  <a:ext uri="{FF2B5EF4-FFF2-40B4-BE49-F238E27FC236}">
                    <a16:creationId xmlns:a16="http://schemas.microsoft.com/office/drawing/2014/main" id="{2DF29C7A-B766-4362-8801-0B6EF1F5928F}"/>
                  </a:ext>
                </a:extLst>
              </p:cNvPr>
              <p:cNvPicPr/>
              <p:nvPr/>
            </p:nvPicPr>
            <p:blipFill>
              <a:blip r:embed="rId111"/>
              <a:stretch>
                <a:fillRect/>
              </a:stretch>
            </p:blipFill>
            <p:spPr>
              <a:xfrm>
                <a:off x="10205422" y="946739"/>
                <a:ext cx="176760" cy="20952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124" name="Ink 123">
                <a:extLst>
                  <a:ext uri="{FF2B5EF4-FFF2-40B4-BE49-F238E27FC236}">
                    <a16:creationId xmlns:a16="http://schemas.microsoft.com/office/drawing/2014/main" id="{377D41B4-9C9F-417F-8AF7-3684DC83EA24}"/>
                  </a:ext>
                </a:extLst>
              </p14:cNvPr>
              <p14:cNvContentPartPr/>
              <p14:nvPr/>
            </p14:nvContentPartPr>
            <p14:xfrm>
              <a:off x="10444822" y="895979"/>
              <a:ext cx="132120" cy="230040"/>
            </p14:xfrm>
          </p:contentPart>
        </mc:Choice>
        <mc:Fallback xmlns="">
          <p:pic>
            <p:nvPicPr>
              <p:cNvPr id="124" name="Ink 123">
                <a:extLst>
                  <a:ext uri="{FF2B5EF4-FFF2-40B4-BE49-F238E27FC236}">
                    <a16:creationId xmlns:a16="http://schemas.microsoft.com/office/drawing/2014/main" id="{377D41B4-9C9F-417F-8AF7-3684DC83EA24}"/>
                  </a:ext>
                </a:extLst>
              </p:cNvPr>
              <p:cNvPicPr/>
              <p:nvPr/>
            </p:nvPicPr>
            <p:blipFill>
              <a:blip r:embed="rId113"/>
              <a:stretch>
                <a:fillRect/>
              </a:stretch>
            </p:blipFill>
            <p:spPr>
              <a:xfrm>
                <a:off x="10408822" y="859979"/>
                <a:ext cx="203760" cy="30168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125" name="Ink 124">
                <a:extLst>
                  <a:ext uri="{FF2B5EF4-FFF2-40B4-BE49-F238E27FC236}">
                    <a16:creationId xmlns:a16="http://schemas.microsoft.com/office/drawing/2014/main" id="{6E445BFD-C8B6-4F35-9B78-BA140BACF1CD}"/>
                  </a:ext>
                </a:extLst>
              </p14:cNvPr>
              <p14:cNvContentPartPr/>
              <p14:nvPr/>
            </p14:nvContentPartPr>
            <p14:xfrm>
              <a:off x="10708702" y="964019"/>
              <a:ext cx="125640" cy="232200"/>
            </p14:xfrm>
          </p:contentPart>
        </mc:Choice>
        <mc:Fallback xmlns="">
          <p:pic>
            <p:nvPicPr>
              <p:cNvPr id="125" name="Ink 124">
                <a:extLst>
                  <a:ext uri="{FF2B5EF4-FFF2-40B4-BE49-F238E27FC236}">
                    <a16:creationId xmlns:a16="http://schemas.microsoft.com/office/drawing/2014/main" id="{6E445BFD-C8B6-4F35-9B78-BA140BACF1CD}"/>
                  </a:ext>
                </a:extLst>
              </p:cNvPr>
              <p:cNvPicPr/>
              <p:nvPr/>
            </p:nvPicPr>
            <p:blipFill>
              <a:blip r:embed="rId115"/>
              <a:stretch>
                <a:fillRect/>
              </a:stretch>
            </p:blipFill>
            <p:spPr>
              <a:xfrm>
                <a:off x="10672702" y="928379"/>
                <a:ext cx="197280" cy="303840"/>
              </a:xfrm>
              <a:prstGeom prst="rect">
                <a:avLst/>
              </a:prstGeom>
            </p:spPr>
          </p:pic>
        </mc:Fallback>
      </mc:AlternateContent>
      <p:grpSp>
        <p:nvGrpSpPr>
          <p:cNvPr id="141" name="Group 140">
            <a:extLst>
              <a:ext uri="{FF2B5EF4-FFF2-40B4-BE49-F238E27FC236}">
                <a16:creationId xmlns:a16="http://schemas.microsoft.com/office/drawing/2014/main" id="{46CBEA68-CC02-4714-978B-908E5B75D45A}"/>
              </a:ext>
            </a:extLst>
          </p:cNvPr>
          <p:cNvGrpSpPr/>
          <p:nvPr/>
        </p:nvGrpSpPr>
        <p:grpSpPr>
          <a:xfrm>
            <a:off x="11039542" y="992459"/>
            <a:ext cx="1020960" cy="221040"/>
            <a:chOff x="11039542" y="992459"/>
            <a:chExt cx="1020960" cy="221040"/>
          </a:xfrm>
        </p:grpSpPr>
        <mc:AlternateContent xmlns:mc="http://schemas.openxmlformats.org/markup-compatibility/2006" xmlns:p14="http://schemas.microsoft.com/office/powerpoint/2010/main">
          <mc:Choice Requires="p14">
            <p:contentPart p14:bwMode="auto" r:id="rId116">
              <p14:nvContentPartPr>
                <p14:cNvPr id="126" name="Ink 125">
                  <a:extLst>
                    <a:ext uri="{FF2B5EF4-FFF2-40B4-BE49-F238E27FC236}">
                      <a16:creationId xmlns:a16="http://schemas.microsoft.com/office/drawing/2014/main" id="{4A29440D-9C21-404F-9EC7-238F12C982A6}"/>
                    </a:ext>
                  </a:extLst>
                </p14:cNvPr>
                <p14:cNvContentPartPr/>
                <p14:nvPr/>
              </p14:nvContentPartPr>
              <p14:xfrm>
                <a:off x="11039542" y="1001099"/>
                <a:ext cx="85680" cy="183240"/>
              </p14:xfrm>
            </p:contentPart>
          </mc:Choice>
          <mc:Fallback xmlns="">
            <p:pic>
              <p:nvPicPr>
                <p:cNvPr id="126" name="Ink 125">
                  <a:extLst>
                    <a:ext uri="{FF2B5EF4-FFF2-40B4-BE49-F238E27FC236}">
                      <a16:creationId xmlns:a16="http://schemas.microsoft.com/office/drawing/2014/main" id="{4A29440D-9C21-404F-9EC7-238F12C982A6}"/>
                    </a:ext>
                  </a:extLst>
                </p:cNvPr>
                <p:cNvPicPr/>
                <p:nvPr/>
              </p:nvPicPr>
              <p:blipFill>
                <a:blip r:embed="rId117"/>
                <a:stretch>
                  <a:fillRect/>
                </a:stretch>
              </p:blipFill>
              <p:spPr>
                <a:xfrm>
                  <a:off x="11003902" y="965099"/>
                  <a:ext cx="157320" cy="254880"/>
                </a:xfrm>
                <a:prstGeom prst="rect">
                  <a:avLst/>
                </a:prstGeom>
              </p:spPr>
            </p:pic>
          </mc:Fallback>
        </mc:AlternateContent>
        <mc:AlternateContent xmlns:mc="http://schemas.openxmlformats.org/markup-compatibility/2006" xmlns:p14="http://schemas.microsoft.com/office/powerpoint/2010/main">
          <mc:Choice Requires="p14">
            <p:contentPart p14:bwMode="auto" r:id="rId118">
              <p14:nvContentPartPr>
                <p14:cNvPr id="129" name="Ink 128">
                  <a:extLst>
                    <a:ext uri="{FF2B5EF4-FFF2-40B4-BE49-F238E27FC236}">
                      <a16:creationId xmlns:a16="http://schemas.microsoft.com/office/drawing/2014/main" id="{AB4FD76E-7115-4C0D-AA98-D05D51C3E38E}"/>
                    </a:ext>
                  </a:extLst>
                </p14:cNvPr>
                <p14:cNvContentPartPr/>
                <p14:nvPr/>
              </p14:nvContentPartPr>
              <p14:xfrm>
                <a:off x="11230702" y="992459"/>
                <a:ext cx="142920" cy="181800"/>
              </p14:xfrm>
            </p:contentPart>
          </mc:Choice>
          <mc:Fallback xmlns="">
            <p:pic>
              <p:nvPicPr>
                <p:cNvPr id="129" name="Ink 128">
                  <a:extLst>
                    <a:ext uri="{FF2B5EF4-FFF2-40B4-BE49-F238E27FC236}">
                      <a16:creationId xmlns:a16="http://schemas.microsoft.com/office/drawing/2014/main" id="{AB4FD76E-7115-4C0D-AA98-D05D51C3E38E}"/>
                    </a:ext>
                  </a:extLst>
                </p:cNvPr>
                <p:cNvPicPr/>
                <p:nvPr/>
              </p:nvPicPr>
              <p:blipFill>
                <a:blip r:embed="rId119"/>
                <a:stretch>
                  <a:fillRect/>
                </a:stretch>
              </p:blipFill>
              <p:spPr>
                <a:xfrm>
                  <a:off x="11195062" y="956459"/>
                  <a:ext cx="214560" cy="253440"/>
                </a:xfrm>
                <a:prstGeom prst="rect">
                  <a:avLst/>
                </a:prstGeom>
              </p:spPr>
            </p:pic>
          </mc:Fallback>
        </mc:AlternateContent>
        <mc:AlternateContent xmlns:mc="http://schemas.openxmlformats.org/markup-compatibility/2006" xmlns:p14="http://schemas.microsoft.com/office/powerpoint/2010/main">
          <mc:Choice Requires="p14">
            <p:contentPart p14:bwMode="auto" r:id="rId120">
              <p14:nvContentPartPr>
                <p14:cNvPr id="130" name="Ink 129">
                  <a:extLst>
                    <a:ext uri="{FF2B5EF4-FFF2-40B4-BE49-F238E27FC236}">
                      <a16:creationId xmlns:a16="http://schemas.microsoft.com/office/drawing/2014/main" id="{983A516F-55E0-4528-85B7-A8357D7B8A0A}"/>
                    </a:ext>
                  </a:extLst>
                </p14:cNvPr>
                <p14:cNvContentPartPr/>
                <p14:nvPr/>
              </p14:nvContentPartPr>
              <p14:xfrm>
                <a:off x="11440582" y="1000379"/>
                <a:ext cx="100080" cy="167400"/>
              </p14:xfrm>
            </p:contentPart>
          </mc:Choice>
          <mc:Fallback xmlns="">
            <p:pic>
              <p:nvPicPr>
                <p:cNvPr id="130" name="Ink 129">
                  <a:extLst>
                    <a:ext uri="{FF2B5EF4-FFF2-40B4-BE49-F238E27FC236}">
                      <a16:creationId xmlns:a16="http://schemas.microsoft.com/office/drawing/2014/main" id="{983A516F-55E0-4528-85B7-A8357D7B8A0A}"/>
                    </a:ext>
                  </a:extLst>
                </p:cNvPr>
                <p:cNvPicPr/>
                <p:nvPr/>
              </p:nvPicPr>
              <p:blipFill>
                <a:blip r:embed="rId121"/>
                <a:stretch>
                  <a:fillRect/>
                </a:stretch>
              </p:blipFill>
              <p:spPr>
                <a:xfrm>
                  <a:off x="11404582" y="964379"/>
                  <a:ext cx="171720" cy="239040"/>
                </a:xfrm>
                <a:prstGeom prst="rect">
                  <a:avLst/>
                </a:prstGeom>
              </p:spPr>
            </p:pic>
          </mc:Fallback>
        </mc:AlternateContent>
        <mc:AlternateContent xmlns:mc="http://schemas.openxmlformats.org/markup-compatibility/2006" xmlns:p14="http://schemas.microsoft.com/office/powerpoint/2010/main">
          <mc:Choice Requires="p14">
            <p:contentPart p14:bwMode="auto" r:id="rId122">
              <p14:nvContentPartPr>
                <p14:cNvPr id="131" name="Ink 130">
                  <a:extLst>
                    <a:ext uri="{FF2B5EF4-FFF2-40B4-BE49-F238E27FC236}">
                      <a16:creationId xmlns:a16="http://schemas.microsoft.com/office/drawing/2014/main" id="{D77EC93E-83CB-446E-B675-55780F718C39}"/>
                    </a:ext>
                  </a:extLst>
                </p14:cNvPr>
                <p14:cNvContentPartPr/>
                <p14:nvPr/>
              </p14:nvContentPartPr>
              <p14:xfrm>
                <a:off x="11613382" y="1025939"/>
                <a:ext cx="145080" cy="187560"/>
              </p14:xfrm>
            </p:contentPart>
          </mc:Choice>
          <mc:Fallback xmlns="">
            <p:pic>
              <p:nvPicPr>
                <p:cNvPr id="131" name="Ink 130">
                  <a:extLst>
                    <a:ext uri="{FF2B5EF4-FFF2-40B4-BE49-F238E27FC236}">
                      <a16:creationId xmlns:a16="http://schemas.microsoft.com/office/drawing/2014/main" id="{D77EC93E-83CB-446E-B675-55780F718C39}"/>
                    </a:ext>
                  </a:extLst>
                </p:cNvPr>
                <p:cNvPicPr/>
                <p:nvPr/>
              </p:nvPicPr>
              <p:blipFill>
                <a:blip r:embed="rId123"/>
                <a:stretch>
                  <a:fillRect/>
                </a:stretch>
              </p:blipFill>
              <p:spPr>
                <a:xfrm>
                  <a:off x="11577742" y="989939"/>
                  <a:ext cx="216720" cy="259200"/>
                </a:xfrm>
                <a:prstGeom prst="rect">
                  <a:avLst/>
                </a:prstGeom>
              </p:spPr>
            </p:pic>
          </mc:Fallback>
        </mc:AlternateContent>
        <mc:AlternateContent xmlns:mc="http://schemas.openxmlformats.org/markup-compatibility/2006" xmlns:p14="http://schemas.microsoft.com/office/powerpoint/2010/main">
          <mc:Choice Requires="p14">
            <p:contentPart p14:bwMode="auto" r:id="rId124">
              <p14:nvContentPartPr>
                <p14:cNvPr id="132" name="Ink 131">
                  <a:extLst>
                    <a:ext uri="{FF2B5EF4-FFF2-40B4-BE49-F238E27FC236}">
                      <a16:creationId xmlns:a16="http://schemas.microsoft.com/office/drawing/2014/main" id="{593585F0-EDA5-4369-A38E-CA9BA7893850}"/>
                    </a:ext>
                  </a:extLst>
                </p14:cNvPr>
                <p14:cNvContentPartPr/>
                <p14:nvPr/>
              </p14:nvContentPartPr>
              <p14:xfrm>
                <a:off x="11830102" y="994259"/>
                <a:ext cx="230400" cy="175320"/>
              </p14:xfrm>
            </p:contentPart>
          </mc:Choice>
          <mc:Fallback xmlns="">
            <p:pic>
              <p:nvPicPr>
                <p:cNvPr id="132" name="Ink 131">
                  <a:extLst>
                    <a:ext uri="{FF2B5EF4-FFF2-40B4-BE49-F238E27FC236}">
                      <a16:creationId xmlns:a16="http://schemas.microsoft.com/office/drawing/2014/main" id="{593585F0-EDA5-4369-A38E-CA9BA7893850}"/>
                    </a:ext>
                  </a:extLst>
                </p:cNvPr>
                <p:cNvPicPr/>
                <p:nvPr/>
              </p:nvPicPr>
              <p:blipFill>
                <a:blip r:embed="rId125"/>
                <a:stretch>
                  <a:fillRect/>
                </a:stretch>
              </p:blipFill>
              <p:spPr>
                <a:xfrm>
                  <a:off x="11794102" y="958259"/>
                  <a:ext cx="302040" cy="246960"/>
                </a:xfrm>
                <a:prstGeom prst="rect">
                  <a:avLst/>
                </a:prstGeom>
              </p:spPr>
            </p:pic>
          </mc:Fallback>
        </mc:AlternateContent>
      </p:grpSp>
      <p:grpSp>
        <p:nvGrpSpPr>
          <p:cNvPr id="163" name="Group 162">
            <a:extLst>
              <a:ext uri="{FF2B5EF4-FFF2-40B4-BE49-F238E27FC236}">
                <a16:creationId xmlns:a16="http://schemas.microsoft.com/office/drawing/2014/main" id="{DD9A35BE-1A2A-4CF5-8210-06A27268E5EE}"/>
              </a:ext>
            </a:extLst>
          </p:cNvPr>
          <p:cNvGrpSpPr/>
          <p:nvPr/>
        </p:nvGrpSpPr>
        <p:grpSpPr>
          <a:xfrm>
            <a:off x="10089862" y="334019"/>
            <a:ext cx="804600" cy="321120"/>
            <a:chOff x="10089862" y="334019"/>
            <a:chExt cx="804600" cy="321120"/>
          </a:xfrm>
        </p:grpSpPr>
        <mc:AlternateContent xmlns:mc="http://schemas.openxmlformats.org/markup-compatibility/2006" xmlns:p14="http://schemas.microsoft.com/office/powerpoint/2010/main">
          <mc:Choice Requires="p14">
            <p:contentPart p14:bwMode="auto" r:id="rId126">
              <p14:nvContentPartPr>
                <p14:cNvPr id="151" name="Ink 150">
                  <a:extLst>
                    <a:ext uri="{FF2B5EF4-FFF2-40B4-BE49-F238E27FC236}">
                      <a16:creationId xmlns:a16="http://schemas.microsoft.com/office/drawing/2014/main" id="{15ABBC6A-4AFB-43F3-8309-F7EBCB535557}"/>
                    </a:ext>
                  </a:extLst>
                </p14:cNvPr>
                <p14:cNvContentPartPr/>
                <p14:nvPr/>
              </p14:nvContentPartPr>
              <p14:xfrm>
                <a:off x="10089862" y="433379"/>
                <a:ext cx="209880" cy="181800"/>
              </p14:xfrm>
            </p:contentPart>
          </mc:Choice>
          <mc:Fallback xmlns="">
            <p:pic>
              <p:nvPicPr>
                <p:cNvPr id="151" name="Ink 150">
                  <a:extLst>
                    <a:ext uri="{FF2B5EF4-FFF2-40B4-BE49-F238E27FC236}">
                      <a16:creationId xmlns:a16="http://schemas.microsoft.com/office/drawing/2014/main" id="{15ABBC6A-4AFB-43F3-8309-F7EBCB535557}"/>
                    </a:ext>
                  </a:extLst>
                </p:cNvPr>
                <p:cNvPicPr/>
                <p:nvPr/>
              </p:nvPicPr>
              <p:blipFill>
                <a:blip r:embed="rId127"/>
                <a:stretch>
                  <a:fillRect/>
                </a:stretch>
              </p:blipFill>
              <p:spPr>
                <a:xfrm>
                  <a:off x="10053862" y="397739"/>
                  <a:ext cx="281520" cy="253440"/>
                </a:xfrm>
                <a:prstGeom prst="rect">
                  <a:avLst/>
                </a:prstGeom>
              </p:spPr>
            </p:pic>
          </mc:Fallback>
        </mc:AlternateContent>
        <mc:AlternateContent xmlns:mc="http://schemas.openxmlformats.org/markup-compatibility/2006" xmlns:p14="http://schemas.microsoft.com/office/powerpoint/2010/main">
          <mc:Choice Requires="p14">
            <p:contentPart p14:bwMode="auto" r:id="rId128">
              <p14:nvContentPartPr>
                <p14:cNvPr id="152" name="Ink 151">
                  <a:extLst>
                    <a:ext uri="{FF2B5EF4-FFF2-40B4-BE49-F238E27FC236}">
                      <a16:creationId xmlns:a16="http://schemas.microsoft.com/office/drawing/2014/main" id="{ECB67750-054D-4E88-B9FE-685BDA718657}"/>
                    </a:ext>
                  </a:extLst>
                </p14:cNvPr>
                <p14:cNvContentPartPr/>
                <p14:nvPr/>
              </p14:nvContentPartPr>
              <p14:xfrm>
                <a:off x="10408102" y="438059"/>
                <a:ext cx="18720" cy="175320"/>
              </p14:xfrm>
            </p:contentPart>
          </mc:Choice>
          <mc:Fallback xmlns="">
            <p:pic>
              <p:nvPicPr>
                <p:cNvPr id="152" name="Ink 151">
                  <a:extLst>
                    <a:ext uri="{FF2B5EF4-FFF2-40B4-BE49-F238E27FC236}">
                      <a16:creationId xmlns:a16="http://schemas.microsoft.com/office/drawing/2014/main" id="{ECB67750-054D-4E88-B9FE-685BDA718657}"/>
                    </a:ext>
                  </a:extLst>
                </p:cNvPr>
                <p:cNvPicPr/>
                <p:nvPr/>
              </p:nvPicPr>
              <p:blipFill>
                <a:blip r:embed="rId129"/>
                <a:stretch>
                  <a:fillRect/>
                </a:stretch>
              </p:blipFill>
              <p:spPr>
                <a:xfrm>
                  <a:off x="10372462" y="402419"/>
                  <a:ext cx="90360" cy="246960"/>
                </a:xfrm>
                <a:prstGeom prst="rect">
                  <a:avLst/>
                </a:prstGeom>
              </p:spPr>
            </p:pic>
          </mc:Fallback>
        </mc:AlternateContent>
        <mc:AlternateContent xmlns:mc="http://schemas.openxmlformats.org/markup-compatibility/2006" xmlns:p14="http://schemas.microsoft.com/office/powerpoint/2010/main">
          <mc:Choice Requires="p14">
            <p:contentPart p14:bwMode="auto" r:id="rId130">
              <p14:nvContentPartPr>
                <p14:cNvPr id="153" name="Ink 152">
                  <a:extLst>
                    <a:ext uri="{FF2B5EF4-FFF2-40B4-BE49-F238E27FC236}">
                      <a16:creationId xmlns:a16="http://schemas.microsoft.com/office/drawing/2014/main" id="{8EC35CDF-E46D-49BA-9C96-BFE64239D140}"/>
                    </a:ext>
                  </a:extLst>
                </p14:cNvPr>
                <p14:cNvContentPartPr/>
                <p14:nvPr/>
              </p14:nvContentPartPr>
              <p14:xfrm>
                <a:off x="10399102" y="337259"/>
                <a:ext cx="191160" cy="244440"/>
              </p14:xfrm>
            </p:contentPart>
          </mc:Choice>
          <mc:Fallback xmlns="">
            <p:pic>
              <p:nvPicPr>
                <p:cNvPr id="153" name="Ink 152">
                  <a:extLst>
                    <a:ext uri="{FF2B5EF4-FFF2-40B4-BE49-F238E27FC236}">
                      <a16:creationId xmlns:a16="http://schemas.microsoft.com/office/drawing/2014/main" id="{8EC35CDF-E46D-49BA-9C96-BFE64239D140}"/>
                    </a:ext>
                  </a:extLst>
                </p:cNvPr>
                <p:cNvPicPr/>
                <p:nvPr/>
              </p:nvPicPr>
              <p:blipFill>
                <a:blip r:embed="rId131"/>
                <a:stretch>
                  <a:fillRect/>
                </a:stretch>
              </p:blipFill>
              <p:spPr>
                <a:xfrm>
                  <a:off x="10363462" y="301259"/>
                  <a:ext cx="262800" cy="316080"/>
                </a:xfrm>
                <a:prstGeom prst="rect">
                  <a:avLst/>
                </a:prstGeom>
              </p:spPr>
            </p:pic>
          </mc:Fallback>
        </mc:AlternateContent>
        <mc:AlternateContent xmlns:mc="http://schemas.openxmlformats.org/markup-compatibility/2006" xmlns:p14="http://schemas.microsoft.com/office/powerpoint/2010/main">
          <mc:Choice Requires="p14">
            <p:contentPart p14:bwMode="auto" r:id="rId132">
              <p14:nvContentPartPr>
                <p14:cNvPr id="154" name="Ink 153">
                  <a:extLst>
                    <a:ext uri="{FF2B5EF4-FFF2-40B4-BE49-F238E27FC236}">
                      <a16:creationId xmlns:a16="http://schemas.microsoft.com/office/drawing/2014/main" id="{19BEF3AE-FC11-4B1F-9347-2B7392D1A88A}"/>
                    </a:ext>
                  </a:extLst>
                </p14:cNvPr>
                <p14:cNvContentPartPr/>
                <p14:nvPr/>
              </p14:nvContentPartPr>
              <p14:xfrm>
                <a:off x="10520062" y="493499"/>
                <a:ext cx="222120" cy="150120"/>
              </p14:xfrm>
            </p:contentPart>
          </mc:Choice>
          <mc:Fallback xmlns="">
            <p:pic>
              <p:nvPicPr>
                <p:cNvPr id="154" name="Ink 153">
                  <a:extLst>
                    <a:ext uri="{FF2B5EF4-FFF2-40B4-BE49-F238E27FC236}">
                      <a16:creationId xmlns:a16="http://schemas.microsoft.com/office/drawing/2014/main" id="{19BEF3AE-FC11-4B1F-9347-2B7392D1A88A}"/>
                    </a:ext>
                  </a:extLst>
                </p:cNvPr>
                <p:cNvPicPr/>
                <p:nvPr/>
              </p:nvPicPr>
              <p:blipFill>
                <a:blip r:embed="rId133"/>
                <a:stretch>
                  <a:fillRect/>
                </a:stretch>
              </p:blipFill>
              <p:spPr>
                <a:xfrm>
                  <a:off x="10484422" y="457499"/>
                  <a:ext cx="293760" cy="221760"/>
                </a:xfrm>
                <a:prstGeom prst="rect">
                  <a:avLst/>
                </a:prstGeom>
              </p:spPr>
            </p:pic>
          </mc:Fallback>
        </mc:AlternateContent>
        <mc:AlternateContent xmlns:mc="http://schemas.openxmlformats.org/markup-compatibility/2006" xmlns:p14="http://schemas.microsoft.com/office/powerpoint/2010/main">
          <mc:Choice Requires="p14">
            <p:contentPart p14:bwMode="auto" r:id="rId134">
              <p14:nvContentPartPr>
                <p14:cNvPr id="155" name="Ink 154">
                  <a:extLst>
                    <a:ext uri="{FF2B5EF4-FFF2-40B4-BE49-F238E27FC236}">
                      <a16:creationId xmlns:a16="http://schemas.microsoft.com/office/drawing/2014/main" id="{E0EAA5C8-C6FF-4375-89ED-DBE6CD4A3982}"/>
                    </a:ext>
                  </a:extLst>
                </p14:cNvPr>
                <p14:cNvContentPartPr/>
                <p14:nvPr/>
              </p14:nvContentPartPr>
              <p14:xfrm>
                <a:off x="10731742" y="334019"/>
                <a:ext cx="162720" cy="321120"/>
              </p14:xfrm>
            </p:contentPart>
          </mc:Choice>
          <mc:Fallback xmlns="">
            <p:pic>
              <p:nvPicPr>
                <p:cNvPr id="155" name="Ink 154">
                  <a:extLst>
                    <a:ext uri="{FF2B5EF4-FFF2-40B4-BE49-F238E27FC236}">
                      <a16:creationId xmlns:a16="http://schemas.microsoft.com/office/drawing/2014/main" id="{E0EAA5C8-C6FF-4375-89ED-DBE6CD4A3982}"/>
                    </a:ext>
                  </a:extLst>
                </p:cNvPr>
                <p:cNvPicPr/>
                <p:nvPr/>
              </p:nvPicPr>
              <p:blipFill>
                <a:blip r:embed="rId135"/>
                <a:stretch>
                  <a:fillRect/>
                </a:stretch>
              </p:blipFill>
              <p:spPr>
                <a:xfrm>
                  <a:off x="10696102" y="298019"/>
                  <a:ext cx="234360" cy="392760"/>
                </a:xfrm>
                <a:prstGeom prst="rect">
                  <a:avLst/>
                </a:prstGeom>
              </p:spPr>
            </p:pic>
          </mc:Fallback>
        </mc:AlternateContent>
      </p:grpSp>
      <p:grpSp>
        <p:nvGrpSpPr>
          <p:cNvPr id="162" name="Group 161">
            <a:extLst>
              <a:ext uri="{FF2B5EF4-FFF2-40B4-BE49-F238E27FC236}">
                <a16:creationId xmlns:a16="http://schemas.microsoft.com/office/drawing/2014/main" id="{1C115302-C6CA-4A50-9E4C-C9476A43D377}"/>
              </a:ext>
            </a:extLst>
          </p:cNvPr>
          <p:cNvGrpSpPr/>
          <p:nvPr/>
        </p:nvGrpSpPr>
        <p:grpSpPr>
          <a:xfrm>
            <a:off x="11154382" y="319979"/>
            <a:ext cx="1049400" cy="334800"/>
            <a:chOff x="11154382" y="319979"/>
            <a:chExt cx="1049400" cy="334800"/>
          </a:xfrm>
        </p:grpSpPr>
        <mc:AlternateContent xmlns:mc="http://schemas.openxmlformats.org/markup-compatibility/2006" xmlns:p14="http://schemas.microsoft.com/office/powerpoint/2010/main">
          <mc:Choice Requires="p14">
            <p:contentPart p14:bwMode="auto" r:id="rId136">
              <p14:nvContentPartPr>
                <p14:cNvPr id="156" name="Ink 155">
                  <a:extLst>
                    <a:ext uri="{FF2B5EF4-FFF2-40B4-BE49-F238E27FC236}">
                      <a16:creationId xmlns:a16="http://schemas.microsoft.com/office/drawing/2014/main" id="{094F7A00-9B18-4AD6-8BED-AA7869877C1E}"/>
                    </a:ext>
                  </a:extLst>
                </p14:cNvPr>
                <p14:cNvContentPartPr/>
                <p14:nvPr/>
              </p14:nvContentPartPr>
              <p14:xfrm>
                <a:off x="11154382" y="455699"/>
                <a:ext cx="77040" cy="199080"/>
              </p14:xfrm>
            </p:contentPart>
          </mc:Choice>
          <mc:Fallback xmlns="">
            <p:pic>
              <p:nvPicPr>
                <p:cNvPr id="156" name="Ink 155">
                  <a:extLst>
                    <a:ext uri="{FF2B5EF4-FFF2-40B4-BE49-F238E27FC236}">
                      <a16:creationId xmlns:a16="http://schemas.microsoft.com/office/drawing/2014/main" id="{094F7A00-9B18-4AD6-8BED-AA7869877C1E}"/>
                    </a:ext>
                  </a:extLst>
                </p:cNvPr>
                <p:cNvPicPr/>
                <p:nvPr/>
              </p:nvPicPr>
              <p:blipFill>
                <a:blip r:embed="rId137"/>
                <a:stretch>
                  <a:fillRect/>
                </a:stretch>
              </p:blipFill>
              <p:spPr>
                <a:xfrm>
                  <a:off x="11118382" y="419699"/>
                  <a:ext cx="148680" cy="270720"/>
                </a:xfrm>
                <a:prstGeom prst="rect">
                  <a:avLst/>
                </a:prstGeom>
              </p:spPr>
            </p:pic>
          </mc:Fallback>
        </mc:AlternateContent>
        <mc:AlternateContent xmlns:mc="http://schemas.openxmlformats.org/markup-compatibility/2006" xmlns:p14="http://schemas.microsoft.com/office/powerpoint/2010/main">
          <mc:Choice Requires="p14">
            <p:contentPart p14:bwMode="auto" r:id="rId138">
              <p14:nvContentPartPr>
                <p14:cNvPr id="157" name="Ink 156">
                  <a:extLst>
                    <a:ext uri="{FF2B5EF4-FFF2-40B4-BE49-F238E27FC236}">
                      <a16:creationId xmlns:a16="http://schemas.microsoft.com/office/drawing/2014/main" id="{952749FD-4111-46D8-AB2A-394CEF04E2FB}"/>
                    </a:ext>
                  </a:extLst>
                </p14:cNvPr>
                <p14:cNvContentPartPr/>
                <p14:nvPr/>
              </p14:nvContentPartPr>
              <p14:xfrm>
                <a:off x="11183182" y="319979"/>
                <a:ext cx="33840" cy="35280"/>
              </p14:xfrm>
            </p:contentPart>
          </mc:Choice>
          <mc:Fallback xmlns="">
            <p:pic>
              <p:nvPicPr>
                <p:cNvPr id="157" name="Ink 156">
                  <a:extLst>
                    <a:ext uri="{FF2B5EF4-FFF2-40B4-BE49-F238E27FC236}">
                      <a16:creationId xmlns:a16="http://schemas.microsoft.com/office/drawing/2014/main" id="{952749FD-4111-46D8-AB2A-394CEF04E2FB}"/>
                    </a:ext>
                  </a:extLst>
                </p:cNvPr>
                <p:cNvPicPr/>
                <p:nvPr/>
              </p:nvPicPr>
              <p:blipFill>
                <a:blip r:embed="rId139"/>
                <a:stretch>
                  <a:fillRect/>
                </a:stretch>
              </p:blipFill>
              <p:spPr>
                <a:xfrm>
                  <a:off x="11147182" y="284339"/>
                  <a:ext cx="10548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140">
              <p14:nvContentPartPr>
                <p14:cNvPr id="158" name="Ink 157">
                  <a:extLst>
                    <a:ext uri="{FF2B5EF4-FFF2-40B4-BE49-F238E27FC236}">
                      <a16:creationId xmlns:a16="http://schemas.microsoft.com/office/drawing/2014/main" id="{8E521572-BCCA-4BA1-BF48-93437D612999}"/>
                    </a:ext>
                  </a:extLst>
                </p14:cNvPr>
                <p14:cNvContentPartPr/>
                <p14:nvPr/>
              </p14:nvContentPartPr>
              <p14:xfrm>
                <a:off x="11421862" y="457859"/>
                <a:ext cx="191880" cy="181080"/>
              </p14:xfrm>
            </p:contentPart>
          </mc:Choice>
          <mc:Fallback xmlns="">
            <p:pic>
              <p:nvPicPr>
                <p:cNvPr id="158" name="Ink 157">
                  <a:extLst>
                    <a:ext uri="{FF2B5EF4-FFF2-40B4-BE49-F238E27FC236}">
                      <a16:creationId xmlns:a16="http://schemas.microsoft.com/office/drawing/2014/main" id="{8E521572-BCCA-4BA1-BF48-93437D612999}"/>
                    </a:ext>
                  </a:extLst>
                </p:cNvPr>
                <p:cNvPicPr/>
                <p:nvPr/>
              </p:nvPicPr>
              <p:blipFill>
                <a:blip r:embed="rId141"/>
                <a:stretch>
                  <a:fillRect/>
                </a:stretch>
              </p:blipFill>
              <p:spPr>
                <a:xfrm>
                  <a:off x="11385862" y="421859"/>
                  <a:ext cx="263520" cy="252720"/>
                </a:xfrm>
                <a:prstGeom prst="rect">
                  <a:avLst/>
                </a:prstGeom>
              </p:spPr>
            </p:pic>
          </mc:Fallback>
        </mc:AlternateContent>
        <mc:AlternateContent xmlns:mc="http://schemas.openxmlformats.org/markup-compatibility/2006" xmlns:p14="http://schemas.microsoft.com/office/powerpoint/2010/main">
          <mc:Choice Requires="p14">
            <p:contentPart p14:bwMode="auto" r:id="rId142">
              <p14:nvContentPartPr>
                <p14:cNvPr id="159" name="Ink 158">
                  <a:extLst>
                    <a:ext uri="{FF2B5EF4-FFF2-40B4-BE49-F238E27FC236}">
                      <a16:creationId xmlns:a16="http://schemas.microsoft.com/office/drawing/2014/main" id="{21FE414F-9FFF-4E07-AFF6-E48E9C3FCDC8}"/>
                    </a:ext>
                  </a:extLst>
                </p14:cNvPr>
                <p14:cNvContentPartPr/>
                <p14:nvPr/>
              </p14:nvContentPartPr>
              <p14:xfrm>
                <a:off x="11718862" y="464699"/>
                <a:ext cx="86040" cy="114840"/>
              </p14:xfrm>
            </p:contentPart>
          </mc:Choice>
          <mc:Fallback xmlns="">
            <p:pic>
              <p:nvPicPr>
                <p:cNvPr id="159" name="Ink 158">
                  <a:extLst>
                    <a:ext uri="{FF2B5EF4-FFF2-40B4-BE49-F238E27FC236}">
                      <a16:creationId xmlns:a16="http://schemas.microsoft.com/office/drawing/2014/main" id="{21FE414F-9FFF-4E07-AFF6-E48E9C3FCDC8}"/>
                    </a:ext>
                  </a:extLst>
                </p:cNvPr>
                <p:cNvPicPr/>
                <p:nvPr/>
              </p:nvPicPr>
              <p:blipFill>
                <a:blip r:embed="rId143"/>
                <a:stretch>
                  <a:fillRect/>
                </a:stretch>
              </p:blipFill>
              <p:spPr>
                <a:xfrm>
                  <a:off x="11683222" y="428699"/>
                  <a:ext cx="157680" cy="186480"/>
                </a:xfrm>
                <a:prstGeom prst="rect">
                  <a:avLst/>
                </a:prstGeom>
              </p:spPr>
            </p:pic>
          </mc:Fallback>
        </mc:AlternateContent>
        <mc:AlternateContent xmlns:mc="http://schemas.openxmlformats.org/markup-compatibility/2006" xmlns:p14="http://schemas.microsoft.com/office/powerpoint/2010/main">
          <mc:Choice Requires="p14">
            <p:contentPart p14:bwMode="auto" r:id="rId144">
              <p14:nvContentPartPr>
                <p14:cNvPr id="160" name="Ink 159">
                  <a:extLst>
                    <a:ext uri="{FF2B5EF4-FFF2-40B4-BE49-F238E27FC236}">
                      <a16:creationId xmlns:a16="http://schemas.microsoft.com/office/drawing/2014/main" id="{98A0DA7F-E170-4C10-89B9-9257581FC146}"/>
                    </a:ext>
                  </a:extLst>
                </p14:cNvPr>
                <p14:cNvContentPartPr/>
                <p14:nvPr/>
              </p14:nvContentPartPr>
              <p14:xfrm>
                <a:off x="11870422" y="426179"/>
                <a:ext cx="193680" cy="123120"/>
              </p14:xfrm>
            </p:contentPart>
          </mc:Choice>
          <mc:Fallback xmlns="">
            <p:pic>
              <p:nvPicPr>
                <p:cNvPr id="160" name="Ink 159">
                  <a:extLst>
                    <a:ext uri="{FF2B5EF4-FFF2-40B4-BE49-F238E27FC236}">
                      <a16:creationId xmlns:a16="http://schemas.microsoft.com/office/drawing/2014/main" id="{98A0DA7F-E170-4C10-89B9-9257581FC146}"/>
                    </a:ext>
                  </a:extLst>
                </p:cNvPr>
                <p:cNvPicPr/>
                <p:nvPr/>
              </p:nvPicPr>
              <p:blipFill>
                <a:blip r:embed="rId145"/>
                <a:stretch>
                  <a:fillRect/>
                </a:stretch>
              </p:blipFill>
              <p:spPr>
                <a:xfrm>
                  <a:off x="11834782" y="390539"/>
                  <a:ext cx="265320" cy="194760"/>
                </a:xfrm>
                <a:prstGeom prst="rect">
                  <a:avLst/>
                </a:prstGeom>
              </p:spPr>
            </p:pic>
          </mc:Fallback>
        </mc:AlternateContent>
        <mc:AlternateContent xmlns:mc="http://schemas.openxmlformats.org/markup-compatibility/2006" xmlns:p14="http://schemas.microsoft.com/office/powerpoint/2010/main">
          <mc:Choice Requires="p14">
            <p:contentPart p14:bwMode="auto" r:id="rId146">
              <p14:nvContentPartPr>
                <p14:cNvPr id="161" name="Ink 160">
                  <a:extLst>
                    <a:ext uri="{FF2B5EF4-FFF2-40B4-BE49-F238E27FC236}">
                      <a16:creationId xmlns:a16="http://schemas.microsoft.com/office/drawing/2014/main" id="{3F7AE4DD-5AE5-4333-ABE8-F23BFBF52994}"/>
                    </a:ext>
                  </a:extLst>
                </p14:cNvPr>
                <p14:cNvContentPartPr/>
                <p14:nvPr/>
              </p14:nvContentPartPr>
              <p14:xfrm>
                <a:off x="12070222" y="345179"/>
                <a:ext cx="133560" cy="226080"/>
              </p14:xfrm>
            </p:contentPart>
          </mc:Choice>
          <mc:Fallback xmlns="">
            <p:pic>
              <p:nvPicPr>
                <p:cNvPr id="161" name="Ink 160">
                  <a:extLst>
                    <a:ext uri="{FF2B5EF4-FFF2-40B4-BE49-F238E27FC236}">
                      <a16:creationId xmlns:a16="http://schemas.microsoft.com/office/drawing/2014/main" id="{3F7AE4DD-5AE5-4333-ABE8-F23BFBF52994}"/>
                    </a:ext>
                  </a:extLst>
                </p:cNvPr>
                <p:cNvPicPr/>
                <p:nvPr/>
              </p:nvPicPr>
              <p:blipFill>
                <a:blip r:embed="rId147"/>
                <a:stretch>
                  <a:fillRect/>
                </a:stretch>
              </p:blipFill>
              <p:spPr>
                <a:xfrm>
                  <a:off x="12034582" y="309179"/>
                  <a:ext cx="205200" cy="29772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48">
            <p14:nvContentPartPr>
              <p14:cNvPr id="164" name="Ink 163">
                <a:extLst>
                  <a:ext uri="{FF2B5EF4-FFF2-40B4-BE49-F238E27FC236}">
                    <a16:creationId xmlns:a16="http://schemas.microsoft.com/office/drawing/2014/main" id="{46DA0053-66C0-41D3-A035-8776CBD2896E}"/>
                  </a:ext>
                </a:extLst>
              </p14:cNvPr>
              <p14:cNvContentPartPr/>
              <p14:nvPr/>
            </p14:nvContentPartPr>
            <p14:xfrm>
              <a:off x="7625662" y="1757099"/>
              <a:ext cx="15840" cy="12240"/>
            </p14:xfrm>
          </p:contentPart>
        </mc:Choice>
        <mc:Fallback xmlns="">
          <p:pic>
            <p:nvPicPr>
              <p:cNvPr id="164" name="Ink 163">
                <a:extLst>
                  <a:ext uri="{FF2B5EF4-FFF2-40B4-BE49-F238E27FC236}">
                    <a16:creationId xmlns:a16="http://schemas.microsoft.com/office/drawing/2014/main" id="{46DA0053-66C0-41D3-A035-8776CBD2896E}"/>
                  </a:ext>
                </a:extLst>
              </p:cNvPr>
              <p:cNvPicPr/>
              <p:nvPr/>
            </p:nvPicPr>
            <p:blipFill>
              <a:blip r:embed="rId149"/>
              <a:stretch>
                <a:fillRect/>
              </a:stretch>
            </p:blipFill>
            <p:spPr>
              <a:xfrm>
                <a:off x="7589662" y="1721099"/>
                <a:ext cx="87480" cy="83880"/>
              </a:xfrm>
              <a:prstGeom prst="rect">
                <a:avLst/>
              </a:prstGeom>
            </p:spPr>
          </p:pic>
        </mc:Fallback>
      </mc:AlternateContent>
      <p:grpSp>
        <p:nvGrpSpPr>
          <p:cNvPr id="176" name="Group 175">
            <a:extLst>
              <a:ext uri="{FF2B5EF4-FFF2-40B4-BE49-F238E27FC236}">
                <a16:creationId xmlns:a16="http://schemas.microsoft.com/office/drawing/2014/main" id="{74CBFC51-CAF9-4221-99ED-DEC50BA8F476}"/>
              </a:ext>
            </a:extLst>
          </p:cNvPr>
          <p:cNvGrpSpPr/>
          <p:nvPr/>
        </p:nvGrpSpPr>
        <p:grpSpPr>
          <a:xfrm>
            <a:off x="10891942" y="5504699"/>
            <a:ext cx="535680" cy="221400"/>
            <a:chOff x="10891942" y="5504699"/>
            <a:chExt cx="535680" cy="221400"/>
          </a:xfrm>
        </p:grpSpPr>
        <mc:AlternateContent xmlns:mc="http://schemas.openxmlformats.org/markup-compatibility/2006" xmlns:p14="http://schemas.microsoft.com/office/powerpoint/2010/main">
          <mc:Choice Requires="p14">
            <p:contentPart p14:bwMode="auto" r:id="rId150">
              <p14:nvContentPartPr>
                <p14:cNvPr id="170" name="Ink 169">
                  <a:extLst>
                    <a:ext uri="{FF2B5EF4-FFF2-40B4-BE49-F238E27FC236}">
                      <a16:creationId xmlns:a16="http://schemas.microsoft.com/office/drawing/2014/main" id="{894F3C51-F6B4-4A72-A032-33668502854A}"/>
                    </a:ext>
                  </a:extLst>
                </p14:cNvPr>
                <p14:cNvContentPartPr/>
                <p14:nvPr/>
              </p14:nvContentPartPr>
              <p14:xfrm>
                <a:off x="10894102" y="5507219"/>
                <a:ext cx="238680" cy="148320"/>
              </p14:xfrm>
            </p:contentPart>
          </mc:Choice>
          <mc:Fallback xmlns="">
            <p:pic>
              <p:nvPicPr>
                <p:cNvPr id="170" name="Ink 169">
                  <a:extLst>
                    <a:ext uri="{FF2B5EF4-FFF2-40B4-BE49-F238E27FC236}">
                      <a16:creationId xmlns:a16="http://schemas.microsoft.com/office/drawing/2014/main" id="{894F3C51-F6B4-4A72-A032-33668502854A}"/>
                    </a:ext>
                  </a:extLst>
                </p:cNvPr>
                <p:cNvPicPr/>
                <p:nvPr/>
              </p:nvPicPr>
              <p:blipFill>
                <a:blip r:embed="rId155"/>
                <a:stretch>
                  <a:fillRect/>
                </a:stretch>
              </p:blipFill>
              <p:spPr>
                <a:xfrm>
                  <a:off x="10858462" y="5471219"/>
                  <a:ext cx="310320" cy="219960"/>
                </a:xfrm>
                <a:prstGeom prst="rect">
                  <a:avLst/>
                </a:prstGeom>
              </p:spPr>
            </p:pic>
          </mc:Fallback>
        </mc:AlternateContent>
        <mc:AlternateContent xmlns:mc="http://schemas.openxmlformats.org/markup-compatibility/2006" xmlns:p14="http://schemas.microsoft.com/office/powerpoint/2010/main">
          <mc:Choice Requires="p14">
            <p:contentPart p14:bwMode="auto" r:id="rId156">
              <p14:nvContentPartPr>
                <p14:cNvPr id="171" name="Ink 170">
                  <a:extLst>
                    <a:ext uri="{FF2B5EF4-FFF2-40B4-BE49-F238E27FC236}">
                      <a16:creationId xmlns:a16="http://schemas.microsoft.com/office/drawing/2014/main" id="{22199BD1-F0E8-425B-8DB4-33F7BF47FED6}"/>
                    </a:ext>
                  </a:extLst>
                </p14:cNvPr>
                <p14:cNvContentPartPr/>
                <p14:nvPr/>
              </p14:nvContentPartPr>
              <p14:xfrm>
                <a:off x="10891942" y="5504699"/>
                <a:ext cx="158040" cy="221400"/>
              </p14:xfrm>
            </p:contentPart>
          </mc:Choice>
          <mc:Fallback xmlns="">
            <p:pic>
              <p:nvPicPr>
                <p:cNvPr id="171" name="Ink 170">
                  <a:extLst>
                    <a:ext uri="{FF2B5EF4-FFF2-40B4-BE49-F238E27FC236}">
                      <a16:creationId xmlns:a16="http://schemas.microsoft.com/office/drawing/2014/main" id="{22199BD1-F0E8-425B-8DB4-33F7BF47FED6}"/>
                    </a:ext>
                  </a:extLst>
                </p:cNvPr>
                <p:cNvPicPr/>
                <p:nvPr/>
              </p:nvPicPr>
              <p:blipFill>
                <a:blip r:embed="rId157"/>
                <a:stretch>
                  <a:fillRect/>
                </a:stretch>
              </p:blipFill>
              <p:spPr>
                <a:xfrm>
                  <a:off x="10855942" y="5468699"/>
                  <a:ext cx="229680" cy="293040"/>
                </a:xfrm>
                <a:prstGeom prst="rect">
                  <a:avLst/>
                </a:prstGeom>
              </p:spPr>
            </p:pic>
          </mc:Fallback>
        </mc:AlternateContent>
        <mc:AlternateContent xmlns:mc="http://schemas.openxmlformats.org/markup-compatibility/2006" xmlns:p14="http://schemas.microsoft.com/office/powerpoint/2010/main">
          <mc:Choice Requires="p14">
            <p:contentPart p14:bwMode="auto" r:id="rId158">
              <p14:nvContentPartPr>
                <p14:cNvPr id="172" name="Ink 171">
                  <a:extLst>
                    <a:ext uri="{FF2B5EF4-FFF2-40B4-BE49-F238E27FC236}">
                      <a16:creationId xmlns:a16="http://schemas.microsoft.com/office/drawing/2014/main" id="{571DD6BA-EDCB-4A1B-87F7-633BD32E8A85}"/>
                    </a:ext>
                  </a:extLst>
                </p14:cNvPr>
                <p14:cNvContentPartPr/>
                <p14:nvPr/>
              </p14:nvContentPartPr>
              <p14:xfrm>
                <a:off x="11216662" y="5587859"/>
                <a:ext cx="210960" cy="79200"/>
              </p14:xfrm>
            </p:contentPart>
          </mc:Choice>
          <mc:Fallback xmlns="">
            <p:pic>
              <p:nvPicPr>
                <p:cNvPr id="172" name="Ink 171">
                  <a:extLst>
                    <a:ext uri="{FF2B5EF4-FFF2-40B4-BE49-F238E27FC236}">
                      <a16:creationId xmlns:a16="http://schemas.microsoft.com/office/drawing/2014/main" id="{571DD6BA-EDCB-4A1B-87F7-633BD32E8A85}"/>
                    </a:ext>
                  </a:extLst>
                </p:cNvPr>
                <p:cNvPicPr/>
                <p:nvPr/>
              </p:nvPicPr>
              <p:blipFill>
                <a:blip r:embed="rId159"/>
                <a:stretch>
                  <a:fillRect/>
                </a:stretch>
              </p:blipFill>
              <p:spPr>
                <a:xfrm>
                  <a:off x="11180662" y="5551859"/>
                  <a:ext cx="282600" cy="150840"/>
                </a:xfrm>
                <a:prstGeom prst="rect">
                  <a:avLst/>
                </a:prstGeom>
              </p:spPr>
            </p:pic>
          </mc:Fallback>
        </mc:AlternateContent>
      </p:grpSp>
      <p:grpSp>
        <p:nvGrpSpPr>
          <p:cNvPr id="182" name="Group 181">
            <a:extLst>
              <a:ext uri="{FF2B5EF4-FFF2-40B4-BE49-F238E27FC236}">
                <a16:creationId xmlns:a16="http://schemas.microsoft.com/office/drawing/2014/main" id="{B5F6D7FA-03E7-4904-84A0-E5C0827A026B}"/>
              </a:ext>
            </a:extLst>
          </p:cNvPr>
          <p:cNvGrpSpPr/>
          <p:nvPr/>
        </p:nvGrpSpPr>
        <p:grpSpPr>
          <a:xfrm>
            <a:off x="11595382" y="5452139"/>
            <a:ext cx="432000" cy="295560"/>
            <a:chOff x="11595382" y="5452139"/>
            <a:chExt cx="432000" cy="295560"/>
          </a:xfrm>
        </p:grpSpPr>
        <mc:AlternateContent xmlns:mc="http://schemas.openxmlformats.org/markup-compatibility/2006" xmlns:p14="http://schemas.microsoft.com/office/powerpoint/2010/main">
          <mc:Choice Requires="p14">
            <p:contentPart p14:bwMode="auto" r:id="rId160">
              <p14:nvContentPartPr>
                <p14:cNvPr id="178" name="Ink 177">
                  <a:extLst>
                    <a:ext uri="{FF2B5EF4-FFF2-40B4-BE49-F238E27FC236}">
                      <a16:creationId xmlns:a16="http://schemas.microsoft.com/office/drawing/2014/main" id="{72125DD4-7556-40C5-8D05-568658940B21}"/>
                    </a:ext>
                  </a:extLst>
                </p14:cNvPr>
                <p14:cNvContentPartPr/>
                <p14:nvPr/>
              </p14:nvContentPartPr>
              <p14:xfrm>
                <a:off x="11595382" y="5489939"/>
                <a:ext cx="203760" cy="206640"/>
              </p14:xfrm>
            </p:contentPart>
          </mc:Choice>
          <mc:Fallback xmlns="">
            <p:pic>
              <p:nvPicPr>
                <p:cNvPr id="178" name="Ink 177">
                  <a:extLst>
                    <a:ext uri="{FF2B5EF4-FFF2-40B4-BE49-F238E27FC236}">
                      <a16:creationId xmlns:a16="http://schemas.microsoft.com/office/drawing/2014/main" id="{72125DD4-7556-40C5-8D05-568658940B21}"/>
                    </a:ext>
                  </a:extLst>
                </p:cNvPr>
                <p:cNvPicPr/>
                <p:nvPr/>
              </p:nvPicPr>
              <p:blipFill>
                <a:blip r:embed="rId161"/>
                <a:stretch>
                  <a:fillRect/>
                </a:stretch>
              </p:blipFill>
              <p:spPr>
                <a:xfrm>
                  <a:off x="11559742" y="5453939"/>
                  <a:ext cx="275400" cy="278280"/>
                </a:xfrm>
                <a:prstGeom prst="rect">
                  <a:avLst/>
                </a:prstGeom>
              </p:spPr>
            </p:pic>
          </mc:Fallback>
        </mc:AlternateContent>
        <mc:AlternateContent xmlns:mc="http://schemas.openxmlformats.org/markup-compatibility/2006" xmlns:p14="http://schemas.microsoft.com/office/powerpoint/2010/main">
          <mc:Choice Requires="p14">
            <p:contentPart p14:bwMode="auto" r:id="rId162">
              <p14:nvContentPartPr>
                <p14:cNvPr id="179" name="Ink 178">
                  <a:extLst>
                    <a:ext uri="{FF2B5EF4-FFF2-40B4-BE49-F238E27FC236}">
                      <a16:creationId xmlns:a16="http://schemas.microsoft.com/office/drawing/2014/main" id="{C1661A89-2ECF-4DE9-BADF-7615CF7B7280}"/>
                    </a:ext>
                  </a:extLst>
                </p14:cNvPr>
                <p14:cNvContentPartPr/>
                <p14:nvPr/>
              </p14:nvContentPartPr>
              <p14:xfrm>
                <a:off x="11626702" y="5498219"/>
                <a:ext cx="117720" cy="249480"/>
              </p14:xfrm>
            </p:contentPart>
          </mc:Choice>
          <mc:Fallback xmlns="">
            <p:pic>
              <p:nvPicPr>
                <p:cNvPr id="179" name="Ink 178">
                  <a:extLst>
                    <a:ext uri="{FF2B5EF4-FFF2-40B4-BE49-F238E27FC236}">
                      <a16:creationId xmlns:a16="http://schemas.microsoft.com/office/drawing/2014/main" id="{C1661A89-2ECF-4DE9-BADF-7615CF7B7280}"/>
                    </a:ext>
                  </a:extLst>
                </p:cNvPr>
                <p:cNvPicPr/>
                <p:nvPr/>
              </p:nvPicPr>
              <p:blipFill>
                <a:blip r:embed="rId163"/>
                <a:stretch>
                  <a:fillRect/>
                </a:stretch>
              </p:blipFill>
              <p:spPr>
                <a:xfrm>
                  <a:off x="11590702" y="5462579"/>
                  <a:ext cx="189360" cy="321120"/>
                </a:xfrm>
                <a:prstGeom prst="rect">
                  <a:avLst/>
                </a:prstGeom>
              </p:spPr>
            </p:pic>
          </mc:Fallback>
        </mc:AlternateContent>
        <mc:AlternateContent xmlns:mc="http://schemas.openxmlformats.org/markup-compatibility/2006" xmlns:p14="http://schemas.microsoft.com/office/powerpoint/2010/main">
          <mc:Choice Requires="p14">
            <p:contentPart p14:bwMode="auto" r:id="rId164">
              <p14:nvContentPartPr>
                <p14:cNvPr id="180" name="Ink 179">
                  <a:extLst>
                    <a:ext uri="{FF2B5EF4-FFF2-40B4-BE49-F238E27FC236}">
                      <a16:creationId xmlns:a16="http://schemas.microsoft.com/office/drawing/2014/main" id="{97E980D9-041F-4D72-A268-1277450A544F}"/>
                    </a:ext>
                  </a:extLst>
                </p14:cNvPr>
                <p14:cNvContentPartPr/>
                <p14:nvPr/>
              </p14:nvContentPartPr>
              <p14:xfrm>
                <a:off x="11947462" y="5494979"/>
                <a:ext cx="36000" cy="138240"/>
              </p14:xfrm>
            </p:contentPart>
          </mc:Choice>
          <mc:Fallback xmlns="">
            <p:pic>
              <p:nvPicPr>
                <p:cNvPr id="180" name="Ink 179">
                  <a:extLst>
                    <a:ext uri="{FF2B5EF4-FFF2-40B4-BE49-F238E27FC236}">
                      <a16:creationId xmlns:a16="http://schemas.microsoft.com/office/drawing/2014/main" id="{97E980D9-041F-4D72-A268-1277450A544F}"/>
                    </a:ext>
                  </a:extLst>
                </p:cNvPr>
                <p:cNvPicPr/>
                <p:nvPr/>
              </p:nvPicPr>
              <p:blipFill>
                <a:blip r:embed="rId165"/>
                <a:stretch>
                  <a:fillRect/>
                </a:stretch>
              </p:blipFill>
              <p:spPr>
                <a:xfrm>
                  <a:off x="11911462" y="5459339"/>
                  <a:ext cx="107640" cy="209880"/>
                </a:xfrm>
                <a:prstGeom prst="rect">
                  <a:avLst/>
                </a:prstGeom>
              </p:spPr>
            </p:pic>
          </mc:Fallback>
        </mc:AlternateContent>
        <mc:AlternateContent xmlns:mc="http://schemas.openxmlformats.org/markup-compatibility/2006" xmlns:p14="http://schemas.microsoft.com/office/powerpoint/2010/main">
          <mc:Choice Requires="p14">
            <p:contentPart p14:bwMode="auto" r:id="rId166">
              <p14:nvContentPartPr>
                <p14:cNvPr id="181" name="Ink 180">
                  <a:extLst>
                    <a:ext uri="{FF2B5EF4-FFF2-40B4-BE49-F238E27FC236}">
                      <a16:creationId xmlns:a16="http://schemas.microsoft.com/office/drawing/2014/main" id="{9C926C98-0B7F-4B52-B754-71DCE978FDEE}"/>
                    </a:ext>
                  </a:extLst>
                </p14:cNvPr>
                <p14:cNvContentPartPr/>
                <p14:nvPr/>
              </p14:nvContentPartPr>
              <p14:xfrm>
                <a:off x="11832622" y="5452139"/>
                <a:ext cx="194760" cy="29880"/>
              </p14:xfrm>
            </p:contentPart>
          </mc:Choice>
          <mc:Fallback xmlns="">
            <p:pic>
              <p:nvPicPr>
                <p:cNvPr id="181" name="Ink 180">
                  <a:extLst>
                    <a:ext uri="{FF2B5EF4-FFF2-40B4-BE49-F238E27FC236}">
                      <a16:creationId xmlns:a16="http://schemas.microsoft.com/office/drawing/2014/main" id="{9C926C98-0B7F-4B52-B754-71DCE978FDEE}"/>
                    </a:ext>
                  </a:extLst>
                </p:cNvPr>
                <p:cNvPicPr/>
                <p:nvPr/>
              </p:nvPicPr>
              <p:blipFill>
                <a:blip r:embed="rId167"/>
                <a:stretch>
                  <a:fillRect/>
                </a:stretch>
              </p:blipFill>
              <p:spPr>
                <a:xfrm>
                  <a:off x="11796982" y="5416499"/>
                  <a:ext cx="266400" cy="101520"/>
                </a:xfrm>
                <a:prstGeom prst="rect">
                  <a:avLst/>
                </a:prstGeom>
              </p:spPr>
            </p:pic>
          </mc:Fallback>
        </mc:AlternateContent>
      </p:grpSp>
      <p:grpSp>
        <p:nvGrpSpPr>
          <p:cNvPr id="198" name="Group 197">
            <a:extLst>
              <a:ext uri="{FF2B5EF4-FFF2-40B4-BE49-F238E27FC236}">
                <a16:creationId xmlns:a16="http://schemas.microsoft.com/office/drawing/2014/main" id="{13EC934C-05F3-4A21-831C-3A38D123EAFB}"/>
              </a:ext>
            </a:extLst>
          </p:cNvPr>
          <p:cNvGrpSpPr/>
          <p:nvPr/>
        </p:nvGrpSpPr>
        <p:grpSpPr>
          <a:xfrm>
            <a:off x="11102182" y="5841299"/>
            <a:ext cx="765000" cy="258480"/>
            <a:chOff x="11102182" y="5841299"/>
            <a:chExt cx="765000" cy="258480"/>
          </a:xfrm>
        </p:grpSpPr>
        <mc:AlternateContent xmlns:mc="http://schemas.openxmlformats.org/markup-compatibility/2006" xmlns:p14="http://schemas.microsoft.com/office/powerpoint/2010/main">
          <mc:Choice Requires="p14">
            <p:contentPart p14:bwMode="auto" r:id="rId168">
              <p14:nvContentPartPr>
                <p14:cNvPr id="194" name="Ink 193">
                  <a:extLst>
                    <a:ext uri="{FF2B5EF4-FFF2-40B4-BE49-F238E27FC236}">
                      <a16:creationId xmlns:a16="http://schemas.microsoft.com/office/drawing/2014/main" id="{0B1E98F7-BD73-48C8-A565-E17347F301C1}"/>
                    </a:ext>
                  </a:extLst>
                </p14:cNvPr>
                <p14:cNvContentPartPr/>
                <p14:nvPr/>
              </p14:nvContentPartPr>
              <p14:xfrm>
                <a:off x="11102182" y="5841299"/>
                <a:ext cx="214200" cy="196560"/>
              </p14:xfrm>
            </p:contentPart>
          </mc:Choice>
          <mc:Fallback xmlns="">
            <p:pic>
              <p:nvPicPr>
                <p:cNvPr id="194" name="Ink 193">
                  <a:extLst>
                    <a:ext uri="{FF2B5EF4-FFF2-40B4-BE49-F238E27FC236}">
                      <a16:creationId xmlns:a16="http://schemas.microsoft.com/office/drawing/2014/main" id="{0B1E98F7-BD73-48C8-A565-E17347F301C1}"/>
                    </a:ext>
                  </a:extLst>
                </p:cNvPr>
                <p:cNvPicPr/>
                <p:nvPr/>
              </p:nvPicPr>
              <p:blipFill>
                <a:blip r:embed="rId169"/>
                <a:stretch>
                  <a:fillRect/>
                </a:stretch>
              </p:blipFill>
              <p:spPr>
                <a:xfrm>
                  <a:off x="11066182" y="5805659"/>
                  <a:ext cx="285840" cy="268200"/>
                </a:xfrm>
                <a:prstGeom prst="rect">
                  <a:avLst/>
                </a:prstGeom>
              </p:spPr>
            </p:pic>
          </mc:Fallback>
        </mc:AlternateContent>
        <mc:AlternateContent xmlns:mc="http://schemas.openxmlformats.org/markup-compatibility/2006" xmlns:p14="http://schemas.microsoft.com/office/powerpoint/2010/main">
          <mc:Choice Requires="p14">
            <p:contentPart p14:bwMode="auto" r:id="rId170">
              <p14:nvContentPartPr>
                <p14:cNvPr id="195" name="Ink 194">
                  <a:extLst>
                    <a:ext uri="{FF2B5EF4-FFF2-40B4-BE49-F238E27FC236}">
                      <a16:creationId xmlns:a16="http://schemas.microsoft.com/office/drawing/2014/main" id="{D9037C03-2CAA-495A-8B17-F8183AF87919}"/>
                    </a:ext>
                  </a:extLst>
                </p14:cNvPr>
                <p14:cNvContentPartPr/>
                <p14:nvPr/>
              </p14:nvContentPartPr>
              <p14:xfrm>
                <a:off x="11399182" y="5860379"/>
                <a:ext cx="139680" cy="199440"/>
              </p14:xfrm>
            </p:contentPart>
          </mc:Choice>
          <mc:Fallback xmlns="">
            <p:pic>
              <p:nvPicPr>
                <p:cNvPr id="195" name="Ink 194">
                  <a:extLst>
                    <a:ext uri="{FF2B5EF4-FFF2-40B4-BE49-F238E27FC236}">
                      <a16:creationId xmlns:a16="http://schemas.microsoft.com/office/drawing/2014/main" id="{D9037C03-2CAA-495A-8B17-F8183AF87919}"/>
                    </a:ext>
                  </a:extLst>
                </p:cNvPr>
                <p:cNvPicPr/>
                <p:nvPr/>
              </p:nvPicPr>
              <p:blipFill>
                <a:blip r:embed="rId171"/>
                <a:stretch>
                  <a:fillRect/>
                </a:stretch>
              </p:blipFill>
              <p:spPr>
                <a:xfrm>
                  <a:off x="11363182" y="5824379"/>
                  <a:ext cx="211320" cy="271080"/>
                </a:xfrm>
                <a:prstGeom prst="rect">
                  <a:avLst/>
                </a:prstGeom>
              </p:spPr>
            </p:pic>
          </mc:Fallback>
        </mc:AlternateContent>
        <mc:AlternateContent xmlns:mc="http://schemas.openxmlformats.org/markup-compatibility/2006" xmlns:p14="http://schemas.microsoft.com/office/powerpoint/2010/main">
          <mc:Choice Requires="p14">
            <p:contentPart p14:bwMode="auto" r:id="rId172">
              <p14:nvContentPartPr>
                <p14:cNvPr id="196" name="Ink 195">
                  <a:extLst>
                    <a:ext uri="{FF2B5EF4-FFF2-40B4-BE49-F238E27FC236}">
                      <a16:creationId xmlns:a16="http://schemas.microsoft.com/office/drawing/2014/main" id="{117155B1-CB73-481D-9856-C976197699A7}"/>
                    </a:ext>
                  </a:extLst>
                </p14:cNvPr>
                <p14:cNvContentPartPr/>
                <p14:nvPr/>
              </p14:nvContentPartPr>
              <p14:xfrm>
                <a:off x="11366422" y="5892059"/>
                <a:ext cx="164160" cy="207720"/>
              </p14:xfrm>
            </p:contentPart>
          </mc:Choice>
          <mc:Fallback xmlns="">
            <p:pic>
              <p:nvPicPr>
                <p:cNvPr id="196" name="Ink 195">
                  <a:extLst>
                    <a:ext uri="{FF2B5EF4-FFF2-40B4-BE49-F238E27FC236}">
                      <a16:creationId xmlns:a16="http://schemas.microsoft.com/office/drawing/2014/main" id="{117155B1-CB73-481D-9856-C976197699A7}"/>
                    </a:ext>
                  </a:extLst>
                </p:cNvPr>
                <p:cNvPicPr/>
                <p:nvPr/>
              </p:nvPicPr>
              <p:blipFill>
                <a:blip r:embed="rId173"/>
                <a:stretch>
                  <a:fillRect/>
                </a:stretch>
              </p:blipFill>
              <p:spPr>
                <a:xfrm>
                  <a:off x="11330782" y="5856059"/>
                  <a:ext cx="235800" cy="279360"/>
                </a:xfrm>
                <a:prstGeom prst="rect">
                  <a:avLst/>
                </a:prstGeom>
              </p:spPr>
            </p:pic>
          </mc:Fallback>
        </mc:AlternateContent>
        <mc:AlternateContent xmlns:mc="http://schemas.openxmlformats.org/markup-compatibility/2006" xmlns:p14="http://schemas.microsoft.com/office/powerpoint/2010/main">
          <mc:Choice Requires="p14">
            <p:contentPart p14:bwMode="auto" r:id="rId174">
              <p14:nvContentPartPr>
                <p14:cNvPr id="197" name="Ink 196">
                  <a:extLst>
                    <a:ext uri="{FF2B5EF4-FFF2-40B4-BE49-F238E27FC236}">
                      <a16:creationId xmlns:a16="http://schemas.microsoft.com/office/drawing/2014/main" id="{82273032-4D1B-4E5C-9962-C430AF9884DA}"/>
                    </a:ext>
                  </a:extLst>
                </p14:cNvPr>
                <p14:cNvContentPartPr/>
                <p14:nvPr/>
              </p14:nvContentPartPr>
              <p14:xfrm>
                <a:off x="11690422" y="5894579"/>
                <a:ext cx="176760" cy="196920"/>
              </p14:xfrm>
            </p:contentPart>
          </mc:Choice>
          <mc:Fallback xmlns="">
            <p:pic>
              <p:nvPicPr>
                <p:cNvPr id="197" name="Ink 196">
                  <a:extLst>
                    <a:ext uri="{FF2B5EF4-FFF2-40B4-BE49-F238E27FC236}">
                      <a16:creationId xmlns:a16="http://schemas.microsoft.com/office/drawing/2014/main" id="{82273032-4D1B-4E5C-9962-C430AF9884DA}"/>
                    </a:ext>
                  </a:extLst>
                </p:cNvPr>
                <p:cNvPicPr/>
                <p:nvPr/>
              </p:nvPicPr>
              <p:blipFill>
                <a:blip r:embed="rId175"/>
                <a:stretch>
                  <a:fillRect/>
                </a:stretch>
              </p:blipFill>
              <p:spPr>
                <a:xfrm>
                  <a:off x="11654422" y="5858939"/>
                  <a:ext cx="248400" cy="268560"/>
                </a:xfrm>
                <a:prstGeom prst="rect">
                  <a:avLst/>
                </a:prstGeom>
              </p:spPr>
            </p:pic>
          </mc:Fallback>
        </mc:AlternateContent>
      </p:grpSp>
      <p:grpSp>
        <p:nvGrpSpPr>
          <p:cNvPr id="224" name="Group 223">
            <a:extLst>
              <a:ext uri="{FF2B5EF4-FFF2-40B4-BE49-F238E27FC236}">
                <a16:creationId xmlns:a16="http://schemas.microsoft.com/office/drawing/2014/main" id="{675662A2-35C9-4F49-ABA5-8FCCE594CD5E}"/>
              </a:ext>
            </a:extLst>
          </p:cNvPr>
          <p:cNvGrpSpPr/>
          <p:nvPr/>
        </p:nvGrpSpPr>
        <p:grpSpPr>
          <a:xfrm>
            <a:off x="3635062" y="1023779"/>
            <a:ext cx="2491200" cy="1048680"/>
            <a:chOff x="3635062" y="1023779"/>
            <a:chExt cx="2491200" cy="1048680"/>
          </a:xfrm>
        </p:grpSpPr>
        <mc:AlternateContent xmlns:mc="http://schemas.openxmlformats.org/markup-compatibility/2006" xmlns:p14="http://schemas.microsoft.com/office/powerpoint/2010/main">
          <mc:Choice Requires="p14">
            <p:contentPart p14:bwMode="auto" r:id="rId176">
              <p14:nvContentPartPr>
                <p14:cNvPr id="201" name="Ink 200">
                  <a:extLst>
                    <a:ext uri="{FF2B5EF4-FFF2-40B4-BE49-F238E27FC236}">
                      <a16:creationId xmlns:a16="http://schemas.microsoft.com/office/drawing/2014/main" id="{02C92FD0-38E7-4766-A089-C9A2872E9573}"/>
                    </a:ext>
                  </a:extLst>
                </p14:cNvPr>
                <p14:cNvContentPartPr/>
                <p14:nvPr/>
              </p14:nvContentPartPr>
              <p14:xfrm>
                <a:off x="3846022" y="1377299"/>
                <a:ext cx="138600" cy="243360"/>
              </p14:xfrm>
            </p:contentPart>
          </mc:Choice>
          <mc:Fallback xmlns="">
            <p:pic>
              <p:nvPicPr>
                <p:cNvPr id="201" name="Ink 200">
                  <a:extLst>
                    <a:ext uri="{FF2B5EF4-FFF2-40B4-BE49-F238E27FC236}">
                      <a16:creationId xmlns:a16="http://schemas.microsoft.com/office/drawing/2014/main" id="{02C92FD0-38E7-4766-A089-C9A2872E9573}"/>
                    </a:ext>
                  </a:extLst>
                </p:cNvPr>
                <p:cNvPicPr/>
                <p:nvPr/>
              </p:nvPicPr>
              <p:blipFill>
                <a:blip r:embed="rId179"/>
                <a:stretch>
                  <a:fillRect/>
                </a:stretch>
              </p:blipFill>
              <p:spPr>
                <a:xfrm>
                  <a:off x="3828022" y="1359659"/>
                  <a:ext cx="174240" cy="279000"/>
                </a:xfrm>
                <a:prstGeom prst="rect">
                  <a:avLst/>
                </a:prstGeom>
              </p:spPr>
            </p:pic>
          </mc:Fallback>
        </mc:AlternateContent>
        <mc:AlternateContent xmlns:mc="http://schemas.openxmlformats.org/markup-compatibility/2006" xmlns:p14="http://schemas.microsoft.com/office/powerpoint/2010/main">
          <mc:Choice Requires="p14">
            <p:contentPart p14:bwMode="auto" r:id="rId180">
              <p14:nvContentPartPr>
                <p14:cNvPr id="202" name="Ink 201">
                  <a:extLst>
                    <a:ext uri="{FF2B5EF4-FFF2-40B4-BE49-F238E27FC236}">
                      <a16:creationId xmlns:a16="http://schemas.microsoft.com/office/drawing/2014/main" id="{857F1F1D-1B75-4E75-8448-F84384CAD220}"/>
                    </a:ext>
                  </a:extLst>
                </p14:cNvPr>
                <p14:cNvContentPartPr/>
                <p14:nvPr/>
              </p14:nvContentPartPr>
              <p14:xfrm>
                <a:off x="3810742" y="1423379"/>
                <a:ext cx="219240" cy="251280"/>
              </p14:xfrm>
            </p:contentPart>
          </mc:Choice>
          <mc:Fallback xmlns="">
            <p:pic>
              <p:nvPicPr>
                <p:cNvPr id="202" name="Ink 201">
                  <a:extLst>
                    <a:ext uri="{FF2B5EF4-FFF2-40B4-BE49-F238E27FC236}">
                      <a16:creationId xmlns:a16="http://schemas.microsoft.com/office/drawing/2014/main" id="{857F1F1D-1B75-4E75-8448-F84384CAD220}"/>
                    </a:ext>
                  </a:extLst>
                </p:cNvPr>
                <p:cNvPicPr/>
                <p:nvPr/>
              </p:nvPicPr>
              <p:blipFill>
                <a:blip r:embed="rId181"/>
                <a:stretch>
                  <a:fillRect/>
                </a:stretch>
              </p:blipFill>
              <p:spPr>
                <a:xfrm>
                  <a:off x="3793102" y="1405379"/>
                  <a:ext cx="254880" cy="286920"/>
                </a:xfrm>
                <a:prstGeom prst="rect">
                  <a:avLst/>
                </a:prstGeom>
              </p:spPr>
            </p:pic>
          </mc:Fallback>
        </mc:AlternateContent>
        <mc:AlternateContent xmlns:mc="http://schemas.openxmlformats.org/markup-compatibility/2006" xmlns:p14="http://schemas.microsoft.com/office/powerpoint/2010/main">
          <mc:Choice Requires="p14">
            <p:contentPart p14:bwMode="auto" r:id="rId182">
              <p14:nvContentPartPr>
                <p14:cNvPr id="203" name="Ink 202">
                  <a:extLst>
                    <a:ext uri="{FF2B5EF4-FFF2-40B4-BE49-F238E27FC236}">
                      <a16:creationId xmlns:a16="http://schemas.microsoft.com/office/drawing/2014/main" id="{8C2CA4A6-90D5-4243-9896-63ED58D131DF}"/>
                    </a:ext>
                  </a:extLst>
                </p14:cNvPr>
                <p14:cNvContentPartPr/>
                <p14:nvPr/>
              </p14:nvContentPartPr>
              <p14:xfrm>
                <a:off x="4078222" y="1456499"/>
                <a:ext cx="67320" cy="249120"/>
              </p14:xfrm>
            </p:contentPart>
          </mc:Choice>
          <mc:Fallback xmlns="">
            <p:pic>
              <p:nvPicPr>
                <p:cNvPr id="203" name="Ink 202">
                  <a:extLst>
                    <a:ext uri="{FF2B5EF4-FFF2-40B4-BE49-F238E27FC236}">
                      <a16:creationId xmlns:a16="http://schemas.microsoft.com/office/drawing/2014/main" id="{8C2CA4A6-90D5-4243-9896-63ED58D131DF}"/>
                    </a:ext>
                  </a:extLst>
                </p:cNvPr>
                <p:cNvPicPr/>
                <p:nvPr/>
              </p:nvPicPr>
              <p:blipFill>
                <a:blip r:embed="rId183"/>
                <a:stretch>
                  <a:fillRect/>
                </a:stretch>
              </p:blipFill>
              <p:spPr>
                <a:xfrm>
                  <a:off x="4060222" y="1438499"/>
                  <a:ext cx="102960" cy="284760"/>
                </a:xfrm>
                <a:prstGeom prst="rect">
                  <a:avLst/>
                </a:prstGeom>
              </p:spPr>
            </p:pic>
          </mc:Fallback>
        </mc:AlternateContent>
        <mc:AlternateContent xmlns:mc="http://schemas.openxmlformats.org/markup-compatibility/2006" xmlns:p14="http://schemas.microsoft.com/office/powerpoint/2010/main">
          <mc:Choice Requires="p14">
            <p:contentPart p14:bwMode="auto" r:id="rId184">
              <p14:nvContentPartPr>
                <p14:cNvPr id="204" name="Ink 203">
                  <a:extLst>
                    <a:ext uri="{FF2B5EF4-FFF2-40B4-BE49-F238E27FC236}">
                      <a16:creationId xmlns:a16="http://schemas.microsoft.com/office/drawing/2014/main" id="{DA7A8582-206B-4111-9364-02E36D0C8045}"/>
                    </a:ext>
                  </a:extLst>
                </p14:cNvPr>
                <p14:cNvContentPartPr/>
                <p14:nvPr/>
              </p14:nvContentPartPr>
              <p14:xfrm>
                <a:off x="4253542" y="1520219"/>
                <a:ext cx="156960" cy="22680"/>
              </p14:xfrm>
            </p:contentPart>
          </mc:Choice>
          <mc:Fallback xmlns="">
            <p:pic>
              <p:nvPicPr>
                <p:cNvPr id="204" name="Ink 203">
                  <a:extLst>
                    <a:ext uri="{FF2B5EF4-FFF2-40B4-BE49-F238E27FC236}">
                      <a16:creationId xmlns:a16="http://schemas.microsoft.com/office/drawing/2014/main" id="{DA7A8582-206B-4111-9364-02E36D0C8045}"/>
                    </a:ext>
                  </a:extLst>
                </p:cNvPr>
                <p:cNvPicPr/>
                <p:nvPr/>
              </p:nvPicPr>
              <p:blipFill>
                <a:blip r:embed="rId185"/>
                <a:stretch>
                  <a:fillRect/>
                </a:stretch>
              </p:blipFill>
              <p:spPr>
                <a:xfrm>
                  <a:off x="4235902" y="1502219"/>
                  <a:ext cx="192600" cy="58320"/>
                </a:xfrm>
                <a:prstGeom prst="rect">
                  <a:avLst/>
                </a:prstGeom>
              </p:spPr>
            </p:pic>
          </mc:Fallback>
        </mc:AlternateContent>
        <mc:AlternateContent xmlns:mc="http://schemas.openxmlformats.org/markup-compatibility/2006" xmlns:p14="http://schemas.microsoft.com/office/powerpoint/2010/main">
          <mc:Choice Requires="p14">
            <p:contentPart p14:bwMode="auto" r:id="rId186">
              <p14:nvContentPartPr>
                <p14:cNvPr id="205" name="Ink 204">
                  <a:extLst>
                    <a:ext uri="{FF2B5EF4-FFF2-40B4-BE49-F238E27FC236}">
                      <a16:creationId xmlns:a16="http://schemas.microsoft.com/office/drawing/2014/main" id="{14A37521-E92F-41F0-9611-B470A752C7EE}"/>
                    </a:ext>
                  </a:extLst>
                </p14:cNvPr>
                <p14:cNvContentPartPr/>
                <p14:nvPr/>
              </p14:nvContentPartPr>
              <p14:xfrm>
                <a:off x="4308622" y="1610939"/>
                <a:ext cx="197280" cy="21960"/>
              </p14:xfrm>
            </p:contentPart>
          </mc:Choice>
          <mc:Fallback xmlns="">
            <p:pic>
              <p:nvPicPr>
                <p:cNvPr id="205" name="Ink 204">
                  <a:extLst>
                    <a:ext uri="{FF2B5EF4-FFF2-40B4-BE49-F238E27FC236}">
                      <a16:creationId xmlns:a16="http://schemas.microsoft.com/office/drawing/2014/main" id="{14A37521-E92F-41F0-9611-B470A752C7EE}"/>
                    </a:ext>
                  </a:extLst>
                </p:cNvPr>
                <p:cNvPicPr/>
                <p:nvPr/>
              </p:nvPicPr>
              <p:blipFill>
                <a:blip r:embed="rId187"/>
                <a:stretch>
                  <a:fillRect/>
                </a:stretch>
              </p:blipFill>
              <p:spPr>
                <a:xfrm>
                  <a:off x="4290622" y="1592939"/>
                  <a:ext cx="232920" cy="57600"/>
                </a:xfrm>
                <a:prstGeom prst="rect">
                  <a:avLst/>
                </a:prstGeom>
              </p:spPr>
            </p:pic>
          </mc:Fallback>
        </mc:AlternateContent>
        <mc:AlternateContent xmlns:mc="http://schemas.openxmlformats.org/markup-compatibility/2006" xmlns:p14="http://schemas.microsoft.com/office/powerpoint/2010/main">
          <mc:Choice Requires="p14">
            <p:contentPart p14:bwMode="auto" r:id="rId188">
              <p14:nvContentPartPr>
                <p14:cNvPr id="206" name="Ink 205">
                  <a:extLst>
                    <a:ext uri="{FF2B5EF4-FFF2-40B4-BE49-F238E27FC236}">
                      <a16:creationId xmlns:a16="http://schemas.microsoft.com/office/drawing/2014/main" id="{D64FC644-8CD7-42F1-919A-A606A823FED6}"/>
                    </a:ext>
                  </a:extLst>
                </p14:cNvPr>
                <p14:cNvContentPartPr/>
                <p14:nvPr/>
              </p14:nvContentPartPr>
              <p14:xfrm>
                <a:off x="4572142" y="1344179"/>
                <a:ext cx="464040" cy="302400"/>
              </p14:xfrm>
            </p:contentPart>
          </mc:Choice>
          <mc:Fallback xmlns="">
            <p:pic>
              <p:nvPicPr>
                <p:cNvPr id="206" name="Ink 205">
                  <a:extLst>
                    <a:ext uri="{FF2B5EF4-FFF2-40B4-BE49-F238E27FC236}">
                      <a16:creationId xmlns:a16="http://schemas.microsoft.com/office/drawing/2014/main" id="{D64FC644-8CD7-42F1-919A-A606A823FED6}"/>
                    </a:ext>
                  </a:extLst>
                </p:cNvPr>
                <p:cNvPicPr/>
                <p:nvPr/>
              </p:nvPicPr>
              <p:blipFill>
                <a:blip r:embed="rId189"/>
                <a:stretch>
                  <a:fillRect/>
                </a:stretch>
              </p:blipFill>
              <p:spPr>
                <a:xfrm>
                  <a:off x="4554142" y="1326179"/>
                  <a:ext cx="499680" cy="338040"/>
                </a:xfrm>
                <a:prstGeom prst="rect">
                  <a:avLst/>
                </a:prstGeom>
              </p:spPr>
            </p:pic>
          </mc:Fallback>
        </mc:AlternateContent>
        <mc:AlternateContent xmlns:mc="http://schemas.openxmlformats.org/markup-compatibility/2006" xmlns:p14="http://schemas.microsoft.com/office/powerpoint/2010/main">
          <mc:Choice Requires="p14">
            <p:contentPart p14:bwMode="auto" r:id="rId190">
              <p14:nvContentPartPr>
                <p14:cNvPr id="210" name="Ink 209">
                  <a:extLst>
                    <a:ext uri="{FF2B5EF4-FFF2-40B4-BE49-F238E27FC236}">
                      <a16:creationId xmlns:a16="http://schemas.microsoft.com/office/drawing/2014/main" id="{E26A5ECE-413A-4B53-811A-A727F8B13030}"/>
                    </a:ext>
                  </a:extLst>
                </p14:cNvPr>
                <p14:cNvContentPartPr/>
                <p14:nvPr/>
              </p14:nvContentPartPr>
              <p14:xfrm>
                <a:off x="4755382" y="1822619"/>
                <a:ext cx="93960" cy="151920"/>
              </p14:xfrm>
            </p:contentPart>
          </mc:Choice>
          <mc:Fallback xmlns="">
            <p:pic>
              <p:nvPicPr>
                <p:cNvPr id="210" name="Ink 209">
                  <a:extLst>
                    <a:ext uri="{FF2B5EF4-FFF2-40B4-BE49-F238E27FC236}">
                      <a16:creationId xmlns:a16="http://schemas.microsoft.com/office/drawing/2014/main" id="{E26A5ECE-413A-4B53-811A-A727F8B13030}"/>
                    </a:ext>
                  </a:extLst>
                </p:cNvPr>
                <p:cNvPicPr/>
                <p:nvPr/>
              </p:nvPicPr>
              <p:blipFill>
                <a:blip r:embed="rId191"/>
                <a:stretch>
                  <a:fillRect/>
                </a:stretch>
              </p:blipFill>
              <p:spPr>
                <a:xfrm>
                  <a:off x="4737382" y="1804979"/>
                  <a:ext cx="129600" cy="187560"/>
                </a:xfrm>
                <a:prstGeom prst="rect">
                  <a:avLst/>
                </a:prstGeom>
              </p:spPr>
            </p:pic>
          </mc:Fallback>
        </mc:AlternateContent>
        <mc:AlternateContent xmlns:mc="http://schemas.openxmlformats.org/markup-compatibility/2006" xmlns:p14="http://schemas.microsoft.com/office/powerpoint/2010/main">
          <mc:Choice Requires="p14">
            <p:contentPart p14:bwMode="auto" r:id="rId192">
              <p14:nvContentPartPr>
                <p14:cNvPr id="211" name="Ink 210">
                  <a:extLst>
                    <a:ext uri="{FF2B5EF4-FFF2-40B4-BE49-F238E27FC236}">
                      <a16:creationId xmlns:a16="http://schemas.microsoft.com/office/drawing/2014/main" id="{3A20336D-5EFE-4823-9DE8-05EDB2899006}"/>
                    </a:ext>
                  </a:extLst>
                </p14:cNvPr>
                <p14:cNvContentPartPr/>
                <p14:nvPr/>
              </p14:nvContentPartPr>
              <p14:xfrm>
                <a:off x="4801102" y="1838099"/>
                <a:ext cx="230400" cy="134640"/>
              </p14:xfrm>
            </p:contentPart>
          </mc:Choice>
          <mc:Fallback xmlns="">
            <p:pic>
              <p:nvPicPr>
                <p:cNvPr id="211" name="Ink 210">
                  <a:extLst>
                    <a:ext uri="{FF2B5EF4-FFF2-40B4-BE49-F238E27FC236}">
                      <a16:creationId xmlns:a16="http://schemas.microsoft.com/office/drawing/2014/main" id="{3A20336D-5EFE-4823-9DE8-05EDB2899006}"/>
                    </a:ext>
                  </a:extLst>
                </p:cNvPr>
                <p:cNvPicPr/>
                <p:nvPr/>
              </p:nvPicPr>
              <p:blipFill>
                <a:blip r:embed="rId193"/>
                <a:stretch>
                  <a:fillRect/>
                </a:stretch>
              </p:blipFill>
              <p:spPr>
                <a:xfrm>
                  <a:off x="4783102" y="1820099"/>
                  <a:ext cx="266040" cy="170280"/>
                </a:xfrm>
                <a:prstGeom prst="rect">
                  <a:avLst/>
                </a:prstGeom>
              </p:spPr>
            </p:pic>
          </mc:Fallback>
        </mc:AlternateContent>
        <mc:AlternateContent xmlns:mc="http://schemas.openxmlformats.org/markup-compatibility/2006" xmlns:p14="http://schemas.microsoft.com/office/powerpoint/2010/main">
          <mc:Choice Requires="p14">
            <p:contentPart p14:bwMode="auto" r:id="rId194">
              <p14:nvContentPartPr>
                <p14:cNvPr id="212" name="Ink 211">
                  <a:extLst>
                    <a:ext uri="{FF2B5EF4-FFF2-40B4-BE49-F238E27FC236}">
                      <a16:creationId xmlns:a16="http://schemas.microsoft.com/office/drawing/2014/main" id="{FACB1D74-2D32-4585-BBB3-0B1DEFAAD2B4}"/>
                    </a:ext>
                  </a:extLst>
                </p14:cNvPr>
                <p14:cNvContentPartPr/>
                <p14:nvPr/>
              </p14:nvContentPartPr>
              <p14:xfrm>
                <a:off x="5132662" y="1297739"/>
                <a:ext cx="96480" cy="248400"/>
              </p14:xfrm>
            </p:contentPart>
          </mc:Choice>
          <mc:Fallback xmlns="">
            <p:pic>
              <p:nvPicPr>
                <p:cNvPr id="212" name="Ink 211">
                  <a:extLst>
                    <a:ext uri="{FF2B5EF4-FFF2-40B4-BE49-F238E27FC236}">
                      <a16:creationId xmlns:a16="http://schemas.microsoft.com/office/drawing/2014/main" id="{FACB1D74-2D32-4585-BBB3-0B1DEFAAD2B4}"/>
                    </a:ext>
                  </a:extLst>
                </p:cNvPr>
                <p:cNvPicPr/>
                <p:nvPr/>
              </p:nvPicPr>
              <p:blipFill>
                <a:blip r:embed="rId195"/>
                <a:stretch>
                  <a:fillRect/>
                </a:stretch>
              </p:blipFill>
              <p:spPr>
                <a:xfrm>
                  <a:off x="5115022" y="1280099"/>
                  <a:ext cx="132120" cy="284040"/>
                </a:xfrm>
                <a:prstGeom prst="rect">
                  <a:avLst/>
                </a:prstGeom>
              </p:spPr>
            </p:pic>
          </mc:Fallback>
        </mc:AlternateContent>
        <mc:AlternateContent xmlns:mc="http://schemas.openxmlformats.org/markup-compatibility/2006" xmlns:p14="http://schemas.microsoft.com/office/powerpoint/2010/main">
          <mc:Choice Requires="p14">
            <p:contentPart p14:bwMode="auto" r:id="rId196">
              <p14:nvContentPartPr>
                <p14:cNvPr id="213" name="Ink 212">
                  <a:extLst>
                    <a:ext uri="{FF2B5EF4-FFF2-40B4-BE49-F238E27FC236}">
                      <a16:creationId xmlns:a16="http://schemas.microsoft.com/office/drawing/2014/main" id="{9A4771BB-18B6-40B2-8FAA-1EEE885892D0}"/>
                    </a:ext>
                  </a:extLst>
                </p14:cNvPr>
                <p14:cNvContentPartPr/>
                <p14:nvPr/>
              </p14:nvContentPartPr>
              <p14:xfrm>
                <a:off x="5081542" y="1394579"/>
                <a:ext cx="191880" cy="151920"/>
              </p14:xfrm>
            </p:contentPart>
          </mc:Choice>
          <mc:Fallback xmlns="">
            <p:pic>
              <p:nvPicPr>
                <p:cNvPr id="213" name="Ink 212">
                  <a:extLst>
                    <a:ext uri="{FF2B5EF4-FFF2-40B4-BE49-F238E27FC236}">
                      <a16:creationId xmlns:a16="http://schemas.microsoft.com/office/drawing/2014/main" id="{9A4771BB-18B6-40B2-8FAA-1EEE885892D0}"/>
                    </a:ext>
                  </a:extLst>
                </p:cNvPr>
                <p:cNvPicPr/>
                <p:nvPr/>
              </p:nvPicPr>
              <p:blipFill>
                <a:blip r:embed="rId197"/>
                <a:stretch>
                  <a:fillRect/>
                </a:stretch>
              </p:blipFill>
              <p:spPr>
                <a:xfrm>
                  <a:off x="5063542" y="1376579"/>
                  <a:ext cx="227520" cy="187560"/>
                </a:xfrm>
                <a:prstGeom prst="rect">
                  <a:avLst/>
                </a:prstGeom>
              </p:spPr>
            </p:pic>
          </mc:Fallback>
        </mc:AlternateContent>
        <mc:AlternateContent xmlns:mc="http://schemas.openxmlformats.org/markup-compatibility/2006" xmlns:p14="http://schemas.microsoft.com/office/powerpoint/2010/main">
          <mc:Choice Requires="p14">
            <p:contentPart p14:bwMode="auto" r:id="rId198">
              <p14:nvContentPartPr>
                <p14:cNvPr id="214" name="Ink 213">
                  <a:extLst>
                    <a:ext uri="{FF2B5EF4-FFF2-40B4-BE49-F238E27FC236}">
                      <a16:creationId xmlns:a16="http://schemas.microsoft.com/office/drawing/2014/main" id="{D78F3BD9-CA0B-45AB-B41D-A24F906FB140}"/>
                    </a:ext>
                  </a:extLst>
                </p14:cNvPr>
                <p14:cNvContentPartPr/>
                <p14:nvPr/>
              </p14:nvContentPartPr>
              <p14:xfrm>
                <a:off x="5313022" y="1383779"/>
                <a:ext cx="75240" cy="167400"/>
              </p14:xfrm>
            </p:contentPart>
          </mc:Choice>
          <mc:Fallback xmlns="">
            <p:pic>
              <p:nvPicPr>
                <p:cNvPr id="214" name="Ink 213">
                  <a:extLst>
                    <a:ext uri="{FF2B5EF4-FFF2-40B4-BE49-F238E27FC236}">
                      <a16:creationId xmlns:a16="http://schemas.microsoft.com/office/drawing/2014/main" id="{D78F3BD9-CA0B-45AB-B41D-A24F906FB140}"/>
                    </a:ext>
                  </a:extLst>
                </p:cNvPr>
                <p:cNvPicPr/>
                <p:nvPr/>
              </p:nvPicPr>
              <p:blipFill>
                <a:blip r:embed="rId199"/>
                <a:stretch>
                  <a:fillRect/>
                </a:stretch>
              </p:blipFill>
              <p:spPr>
                <a:xfrm>
                  <a:off x="5295022" y="1365779"/>
                  <a:ext cx="110880" cy="203040"/>
                </a:xfrm>
                <a:prstGeom prst="rect">
                  <a:avLst/>
                </a:prstGeom>
              </p:spPr>
            </p:pic>
          </mc:Fallback>
        </mc:AlternateContent>
        <mc:AlternateContent xmlns:mc="http://schemas.openxmlformats.org/markup-compatibility/2006" xmlns:p14="http://schemas.microsoft.com/office/powerpoint/2010/main">
          <mc:Choice Requires="p14">
            <p:contentPart p14:bwMode="auto" r:id="rId200">
              <p14:nvContentPartPr>
                <p14:cNvPr id="215" name="Ink 214">
                  <a:extLst>
                    <a:ext uri="{FF2B5EF4-FFF2-40B4-BE49-F238E27FC236}">
                      <a16:creationId xmlns:a16="http://schemas.microsoft.com/office/drawing/2014/main" id="{E604E5DE-CE99-4A3E-B93E-F35D591BB496}"/>
                    </a:ext>
                  </a:extLst>
                </p14:cNvPr>
                <p14:cNvContentPartPr/>
                <p14:nvPr/>
              </p14:nvContentPartPr>
              <p14:xfrm>
                <a:off x="5478622" y="1321859"/>
                <a:ext cx="57600" cy="153000"/>
              </p14:xfrm>
            </p:contentPart>
          </mc:Choice>
          <mc:Fallback xmlns="">
            <p:pic>
              <p:nvPicPr>
                <p:cNvPr id="215" name="Ink 214">
                  <a:extLst>
                    <a:ext uri="{FF2B5EF4-FFF2-40B4-BE49-F238E27FC236}">
                      <a16:creationId xmlns:a16="http://schemas.microsoft.com/office/drawing/2014/main" id="{E604E5DE-CE99-4A3E-B93E-F35D591BB496}"/>
                    </a:ext>
                  </a:extLst>
                </p:cNvPr>
                <p:cNvPicPr/>
                <p:nvPr/>
              </p:nvPicPr>
              <p:blipFill>
                <a:blip r:embed="rId201"/>
                <a:stretch>
                  <a:fillRect/>
                </a:stretch>
              </p:blipFill>
              <p:spPr>
                <a:xfrm>
                  <a:off x="5460982" y="1304219"/>
                  <a:ext cx="93240" cy="188640"/>
                </a:xfrm>
                <a:prstGeom prst="rect">
                  <a:avLst/>
                </a:prstGeom>
              </p:spPr>
            </p:pic>
          </mc:Fallback>
        </mc:AlternateContent>
        <mc:AlternateContent xmlns:mc="http://schemas.openxmlformats.org/markup-compatibility/2006" xmlns:p14="http://schemas.microsoft.com/office/powerpoint/2010/main">
          <mc:Choice Requires="p14">
            <p:contentPart p14:bwMode="auto" r:id="rId202">
              <p14:nvContentPartPr>
                <p14:cNvPr id="216" name="Ink 215">
                  <a:extLst>
                    <a:ext uri="{FF2B5EF4-FFF2-40B4-BE49-F238E27FC236}">
                      <a16:creationId xmlns:a16="http://schemas.microsoft.com/office/drawing/2014/main" id="{B49094BE-6258-45BC-AACA-D4F9598A566C}"/>
                    </a:ext>
                  </a:extLst>
                </p14:cNvPr>
                <p14:cNvContentPartPr/>
                <p14:nvPr/>
              </p14:nvContentPartPr>
              <p14:xfrm>
                <a:off x="5505262" y="1371179"/>
                <a:ext cx="176040" cy="114840"/>
              </p14:xfrm>
            </p:contentPart>
          </mc:Choice>
          <mc:Fallback xmlns="">
            <p:pic>
              <p:nvPicPr>
                <p:cNvPr id="216" name="Ink 215">
                  <a:extLst>
                    <a:ext uri="{FF2B5EF4-FFF2-40B4-BE49-F238E27FC236}">
                      <a16:creationId xmlns:a16="http://schemas.microsoft.com/office/drawing/2014/main" id="{B49094BE-6258-45BC-AACA-D4F9598A566C}"/>
                    </a:ext>
                  </a:extLst>
                </p:cNvPr>
                <p:cNvPicPr/>
                <p:nvPr/>
              </p:nvPicPr>
              <p:blipFill>
                <a:blip r:embed="rId203"/>
                <a:stretch>
                  <a:fillRect/>
                </a:stretch>
              </p:blipFill>
              <p:spPr>
                <a:xfrm>
                  <a:off x="5487262" y="1353179"/>
                  <a:ext cx="211680" cy="150480"/>
                </a:xfrm>
                <a:prstGeom prst="rect">
                  <a:avLst/>
                </a:prstGeom>
              </p:spPr>
            </p:pic>
          </mc:Fallback>
        </mc:AlternateContent>
        <mc:AlternateContent xmlns:mc="http://schemas.openxmlformats.org/markup-compatibility/2006" xmlns:p14="http://schemas.microsoft.com/office/powerpoint/2010/main">
          <mc:Choice Requires="p14">
            <p:contentPart p14:bwMode="auto" r:id="rId204">
              <p14:nvContentPartPr>
                <p14:cNvPr id="217" name="Ink 216">
                  <a:extLst>
                    <a:ext uri="{FF2B5EF4-FFF2-40B4-BE49-F238E27FC236}">
                      <a16:creationId xmlns:a16="http://schemas.microsoft.com/office/drawing/2014/main" id="{423CC2A0-9659-469A-988B-C3E67C5A3DA3}"/>
                    </a:ext>
                  </a:extLst>
                </p14:cNvPr>
                <p14:cNvContentPartPr/>
                <p14:nvPr/>
              </p14:nvContentPartPr>
              <p14:xfrm>
                <a:off x="5298982" y="1331939"/>
                <a:ext cx="9720" cy="12240"/>
              </p14:xfrm>
            </p:contentPart>
          </mc:Choice>
          <mc:Fallback xmlns="">
            <p:pic>
              <p:nvPicPr>
                <p:cNvPr id="217" name="Ink 216">
                  <a:extLst>
                    <a:ext uri="{FF2B5EF4-FFF2-40B4-BE49-F238E27FC236}">
                      <a16:creationId xmlns:a16="http://schemas.microsoft.com/office/drawing/2014/main" id="{423CC2A0-9659-469A-988B-C3E67C5A3DA3}"/>
                    </a:ext>
                  </a:extLst>
                </p:cNvPr>
                <p:cNvPicPr/>
                <p:nvPr/>
              </p:nvPicPr>
              <p:blipFill>
                <a:blip r:embed="rId205"/>
                <a:stretch>
                  <a:fillRect/>
                </a:stretch>
              </p:blipFill>
              <p:spPr>
                <a:xfrm>
                  <a:off x="5280982" y="1313939"/>
                  <a:ext cx="45360" cy="47880"/>
                </a:xfrm>
                <a:prstGeom prst="rect">
                  <a:avLst/>
                </a:prstGeom>
              </p:spPr>
            </p:pic>
          </mc:Fallback>
        </mc:AlternateContent>
        <mc:AlternateContent xmlns:mc="http://schemas.openxmlformats.org/markup-compatibility/2006" xmlns:p14="http://schemas.microsoft.com/office/powerpoint/2010/main">
          <mc:Choice Requires="p14">
            <p:contentPart p14:bwMode="auto" r:id="rId206">
              <p14:nvContentPartPr>
                <p14:cNvPr id="220" name="Ink 219">
                  <a:extLst>
                    <a:ext uri="{FF2B5EF4-FFF2-40B4-BE49-F238E27FC236}">
                      <a16:creationId xmlns:a16="http://schemas.microsoft.com/office/drawing/2014/main" id="{DC46975E-98F1-4D48-ACAA-A117417A86CF}"/>
                    </a:ext>
                  </a:extLst>
                </p14:cNvPr>
                <p14:cNvContentPartPr/>
                <p14:nvPr/>
              </p14:nvContentPartPr>
              <p14:xfrm>
                <a:off x="3672502" y="1400699"/>
                <a:ext cx="161640" cy="470160"/>
              </p14:xfrm>
            </p:contentPart>
          </mc:Choice>
          <mc:Fallback xmlns="">
            <p:pic>
              <p:nvPicPr>
                <p:cNvPr id="220" name="Ink 219">
                  <a:extLst>
                    <a:ext uri="{FF2B5EF4-FFF2-40B4-BE49-F238E27FC236}">
                      <a16:creationId xmlns:a16="http://schemas.microsoft.com/office/drawing/2014/main" id="{DC46975E-98F1-4D48-ACAA-A117417A86CF}"/>
                    </a:ext>
                  </a:extLst>
                </p:cNvPr>
                <p:cNvPicPr/>
                <p:nvPr/>
              </p:nvPicPr>
              <p:blipFill>
                <a:blip r:embed="rId207"/>
                <a:stretch>
                  <a:fillRect/>
                </a:stretch>
              </p:blipFill>
              <p:spPr>
                <a:xfrm>
                  <a:off x="3654862" y="1382699"/>
                  <a:ext cx="197280" cy="505800"/>
                </a:xfrm>
                <a:prstGeom prst="rect">
                  <a:avLst/>
                </a:prstGeom>
              </p:spPr>
            </p:pic>
          </mc:Fallback>
        </mc:AlternateContent>
        <mc:AlternateContent xmlns:mc="http://schemas.openxmlformats.org/markup-compatibility/2006" xmlns:p14="http://schemas.microsoft.com/office/powerpoint/2010/main">
          <mc:Choice Requires="p14">
            <p:contentPart p14:bwMode="auto" r:id="rId208">
              <p14:nvContentPartPr>
                <p14:cNvPr id="221" name="Ink 220">
                  <a:extLst>
                    <a:ext uri="{FF2B5EF4-FFF2-40B4-BE49-F238E27FC236}">
                      <a16:creationId xmlns:a16="http://schemas.microsoft.com/office/drawing/2014/main" id="{CB91F8CC-9FCA-4B32-B03C-B26B4CA3EFAF}"/>
                    </a:ext>
                  </a:extLst>
                </p14:cNvPr>
                <p14:cNvContentPartPr/>
                <p14:nvPr/>
              </p14:nvContentPartPr>
              <p14:xfrm>
                <a:off x="3635062" y="1023779"/>
                <a:ext cx="2434320" cy="662760"/>
              </p14:xfrm>
            </p:contentPart>
          </mc:Choice>
          <mc:Fallback xmlns="">
            <p:pic>
              <p:nvPicPr>
                <p:cNvPr id="221" name="Ink 220">
                  <a:extLst>
                    <a:ext uri="{FF2B5EF4-FFF2-40B4-BE49-F238E27FC236}">
                      <a16:creationId xmlns:a16="http://schemas.microsoft.com/office/drawing/2014/main" id="{CB91F8CC-9FCA-4B32-B03C-B26B4CA3EFAF}"/>
                    </a:ext>
                  </a:extLst>
                </p:cNvPr>
                <p:cNvPicPr/>
                <p:nvPr/>
              </p:nvPicPr>
              <p:blipFill>
                <a:blip r:embed="rId209"/>
                <a:stretch>
                  <a:fillRect/>
                </a:stretch>
              </p:blipFill>
              <p:spPr>
                <a:xfrm>
                  <a:off x="3617062" y="1006139"/>
                  <a:ext cx="2469960" cy="698400"/>
                </a:xfrm>
                <a:prstGeom prst="rect">
                  <a:avLst/>
                </a:prstGeom>
              </p:spPr>
            </p:pic>
          </mc:Fallback>
        </mc:AlternateContent>
        <mc:AlternateContent xmlns:mc="http://schemas.openxmlformats.org/markup-compatibility/2006" xmlns:p14="http://schemas.microsoft.com/office/powerpoint/2010/main">
          <mc:Choice Requires="p14">
            <p:contentPart p14:bwMode="auto" r:id="rId210">
              <p14:nvContentPartPr>
                <p14:cNvPr id="223" name="Ink 222">
                  <a:extLst>
                    <a:ext uri="{FF2B5EF4-FFF2-40B4-BE49-F238E27FC236}">
                      <a16:creationId xmlns:a16="http://schemas.microsoft.com/office/drawing/2014/main" id="{3006D05E-BB33-43B4-8D1D-2AF27A0E8A14}"/>
                    </a:ext>
                  </a:extLst>
                </p14:cNvPr>
                <p14:cNvContentPartPr/>
                <p14:nvPr/>
              </p14:nvContentPartPr>
              <p14:xfrm>
                <a:off x="3750982" y="1769699"/>
                <a:ext cx="2375280" cy="302760"/>
              </p14:xfrm>
            </p:contentPart>
          </mc:Choice>
          <mc:Fallback xmlns="">
            <p:pic>
              <p:nvPicPr>
                <p:cNvPr id="223" name="Ink 222">
                  <a:extLst>
                    <a:ext uri="{FF2B5EF4-FFF2-40B4-BE49-F238E27FC236}">
                      <a16:creationId xmlns:a16="http://schemas.microsoft.com/office/drawing/2014/main" id="{3006D05E-BB33-43B4-8D1D-2AF27A0E8A14}"/>
                    </a:ext>
                  </a:extLst>
                </p:cNvPr>
                <p:cNvPicPr/>
                <p:nvPr/>
              </p:nvPicPr>
              <p:blipFill>
                <a:blip r:embed="rId211"/>
                <a:stretch>
                  <a:fillRect/>
                </a:stretch>
              </p:blipFill>
              <p:spPr>
                <a:xfrm>
                  <a:off x="3733342" y="1751699"/>
                  <a:ext cx="2410920" cy="338400"/>
                </a:xfrm>
                <a:prstGeom prst="rect">
                  <a:avLst/>
                </a:prstGeom>
              </p:spPr>
            </p:pic>
          </mc:Fallback>
        </mc:AlternateContent>
      </p:grpSp>
      <p:grpSp>
        <p:nvGrpSpPr>
          <p:cNvPr id="235" name="Group 234">
            <a:extLst>
              <a:ext uri="{FF2B5EF4-FFF2-40B4-BE49-F238E27FC236}">
                <a16:creationId xmlns:a16="http://schemas.microsoft.com/office/drawing/2014/main" id="{73B796F5-AC95-4081-9770-85FE4C9A99C3}"/>
              </a:ext>
            </a:extLst>
          </p:cNvPr>
          <p:cNvGrpSpPr/>
          <p:nvPr/>
        </p:nvGrpSpPr>
        <p:grpSpPr>
          <a:xfrm>
            <a:off x="1155382" y="4540259"/>
            <a:ext cx="1275120" cy="381240"/>
            <a:chOff x="1155382" y="4540259"/>
            <a:chExt cx="1275120" cy="381240"/>
          </a:xfrm>
        </p:grpSpPr>
        <mc:AlternateContent xmlns:mc="http://schemas.openxmlformats.org/markup-compatibility/2006" xmlns:p14="http://schemas.microsoft.com/office/powerpoint/2010/main">
          <mc:Choice Requires="p14">
            <p:contentPart p14:bwMode="auto" r:id="rId212">
              <p14:nvContentPartPr>
                <p14:cNvPr id="225" name="Ink 224">
                  <a:extLst>
                    <a:ext uri="{FF2B5EF4-FFF2-40B4-BE49-F238E27FC236}">
                      <a16:creationId xmlns:a16="http://schemas.microsoft.com/office/drawing/2014/main" id="{99EDD42F-C9D2-4BC3-AF6F-F0796CBF625C}"/>
                    </a:ext>
                  </a:extLst>
                </p14:cNvPr>
                <p14:cNvContentPartPr/>
                <p14:nvPr/>
              </p14:nvContentPartPr>
              <p14:xfrm>
                <a:off x="1155382" y="4593179"/>
                <a:ext cx="256680" cy="281160"/>
              </p14:xfrm>
            </p:contentPart>
          </mc:Choice>
          <mc:Fallback xmlns="">
            <p:pic>
              <p:nvPicPr>
                <p:cNvPr id="225" name="Ink 224">
                  <a:extLst>
                    <a:ext uri="{FF2B5EF4-FFF2-40B4-BE49-F238E27FC236}">
                      <a16:creationId xmlns:a16="http://schemas.microsoft.com/office/drawing/2014/main" id="{99EDD42F-C9D2-4BC3-AF6F-F0796CBF625C}"/>
                    </a:ext>
                  </a:extLst>
                </p:cNvPr>
                <p:cNvPicPr/>
                <p:nvPr/>
              </p:nvPicPr>
              <p:blipFill>
                <a:blip r:embed="rId213"/>
                <a:stretch>
                  <a:fillRect/>
                </a:stretch>
              </p:blipFill>
              <p:spPr>
                <a:xfrm>
                  <a:off x="1119742" y="4557179"/>
                  <a:ext cx="328320" cy="352800"/>
                </a:xfrm>
                <a:prstGeom prst="rect">
                  <a:avLst/>
                </a:prstGeom>
              </p:spPr>
            </p:pic>
          </mc:Fallback>
        </mc:AlternateContent>
        <mc:AlternateContent xmlns:mc="http://schemas.openxmlformats.org/markup-compatibility/2006" xmlns:p14="http://schemas.microsoft.com/office/powerpoint/2010/main">
          <mc:Choice Requires="p14">
            <p:contentPart p14:bwMode="auto" r:id="rId214">
              <p14:nvContentPartPr>
                <p14:cNvPr id="226" name="Ink 225">
                  <a:extLst>
                    <a:ext uri="{FF2B5EF4-FFF2-40B4-BE49-F238E27FC236}">
                      <a16:creationId xmlns:a16="http://schemas.microsoft.com/office/drawing/2014/main" id="{6CC59C21-F6ED-4421-B161-710A93E3FBCE}"/>
                    </a:ext>
                  </a:extLst>
                </p14:cNvPr>
                <p14:cNvContentPartPr/>
                <p14:nvPr/>
              </p14:nvContentPartPr>
              <p14:xfrm>
                <a:off x="1485862" y="4540259"/>
                <a:ext cx="216360" cy="381240"/>
              </p14:xfrm>
            </p:contentPart>
          </mc:Choice>
          <mc:Fallback xmlns="">
            <p:pic>
              <p:nvPicPr>
                <p:cNvPr id="226" name="Ink 225">
                  <a:extLst>
                    <a:ext uri="{FF2B5EF4-FFF2-40B4-BE49-F238E27FC236}">
                      <a16:creationId xmlns:a16="http://schemas.microsoft.com/office/drawing/2014/main" id="{6CC59C21-F6ED-4421-B161-710A93E3FBCE}"/>
                    </a:ext>
                  </a:extLst>
                </p:cNvPr>
                <p:cNvPicPr/>
                <p:nvPr/>
              </p:nvPicPr>
              <p:blipFill>
                <a:blip r:embed="rId215"/>
                <a:stretch>
                  <a:fillRect/>
                </a:stretch>
              </p:blipFill>
              <p:spPr>
                <a:xfrm>
                  <a:off x="1449862" y="4504259"/>
                  <a:ext cx="288000" cy="452880"/>
                </a:xfrm>
                <a:prstGeom prst="rect">
                  <a:avLst/>
                </a:prstGeom>
              </p:spPr>
            </p:pic>
          </mc:Fallback>
        </mc:AlternateContent>
        <mc:AlternateContent xmlns:mc="http://schemas.openxmlformats.org/markup-compatibility/2006" xmlns:p14="http://schemas.microsoft.com/office/powerpoint/2010/main">
          <mc:Choice Requires="p14">
            <p:contentPart p14:bwMode="auto" r:id="rId216">
              <p14:nvContentPartPr>
                <p14:cNvPr id="227" name="Ink 226">
                  <a:extLst>
                    <a:ext uri="{FF2B5EF4-FFF2-40B4-BE49-F238E27FC236}">
                      <a16:creationId xmlns:a16="http://schemas.microsoft.com/office/drawing/2014/main" id="{4A45F41A-7E7B-4F38-BCEB-88605FC72DAB}"/>
                    </a:ext>
                  </a:extLst>
                </p14:cNvPr>
                <p14:cNvContentPartPr/>
                <p14:nvPr/>
              </p14:nvContentPartPr>
              <p14:xfrm>
                <a:off x="1730302" y="4657259"/>
                <a:ext cx="165960" cy="218520"/>
              </p14:xfrm>
            </p:contentPart>
          </mc:Choice>
          <mc:Fallback xmlns="">
            <p:pic>
              <p:nvPicPr>
                <p:cNvPr id="227" name="Ink 226">
                  <a:extLst>
                    <a:ext uri="{FF2B5EF4-FFF2-40B4-BE49-F238E27FC236}">
                      <a16:creationId xmlns:a16="http://schemas.microsoft.com/office/drawing/2014/main" id="{4A45F41A-7E7B-4F38-BCEB-88605FC72DAB}"/>
                    </a:ext>
                  </a:extLst>
                </p:cNvPr>
                <p:cNvPicPr/>
                <p:nvPr/>
              </p:nvPicPr>
              <p:blipFill>
                <a:blip r:embed="rId217"/>
                <a:stretch>
                  <a:fillRect/>
                </a:stretch>
              </p:blipFill>
              <p:spPr>
                <a:xfrm>
                  <a:off x="1694302" y="4621619"/>
                  <a:ext cx="237600" cy="290160"/>
                </a:xfrm>
                <a:prstGeom prst="rect">
                  <a:avLst/>
                </a:prstGeom>
              </p:spPr>
            </p:pic>
          </mc:Fallback>
        </mc:AlternateContent>
        <mc:AlternateContent xmlns:mc="http://schemas.openxmlformats.org/markup-compatibility/2006" xmlns:p14="http://schemas.microsoft.com/office/powerpoint/2010/main">
          <mc:Choice Requires="p14">
            <p:contentPart p14:bwMode="auto" r:id="rId218">
              <p14:nvContentPartPr>
                <p14:cNvPr id="228" name="Ink 227">
                  <a:extLst>
                    <a:ext uri="{FF2B5EF4-FFF2-40B4-BE49-F238E27FC236}">
                      <a16:creationId xmlns:a16="http://schemas.microsoft.com/office/drawing/2014/main" id="{76AF7CE1-B65B-4662-8275-EAF90AEFB135}"/>
                    </a:ext>
                  </a:extLst>
                </p14:cNvPr>
                <p14:cNvContentPartPr/>
                <p14:nvPr/>
              </p14:nvContentPartPr>
              <p14:xfrm>
                <a:off x="1940902" y="4707299"/>
                <a:ext cx="154800" cy="101520"/>
              </p14:xfrm>
            </p:contentPart>
          </mc:Choice>
          <mc:Fallback xmlns="">
            <p:pic>
              <p:nvPicPr>
                <p:cNvPr id="228" name="Ink 227">
                  <a:extLst>
                    <a:ext uri="{FF2B5EF4-FFF2-40B4-BE49-F238E27FC236}">
                      <a16:creationId xmlns:a16="http://schemas.microsoft.com/office/drawing/2014/main" id="{76AF7CE1-B65B-4662-8275-EAF90AEFB135}"/>
                    </a:ext>
                  </a:extLst>
                </p:cNvPr>
                <p:cNvPicPr/>
                <p:nvPr/>
              </p:nvPicPr>
              <p:blipFill>
                <a:blip r:embed="rId219"/>
                <a:stretch>
                  <a:fillRect/>
                </a:stretch>
              </p:blipFill>
              <p:spPr>
                <a:xfrm>
                  <a:off x="1904902" y="4671299"/>
                  <a:ext cx="226440" cy="173160"/>
                </a:xfrm>
                <a:prstGeom prst="rect">
                  <a:avLst/>
                </a:prstGeom>
              </p:spPr>
            </p:pic>
          </mc:Fallback>
        </mc:AlternateContent>
        <mc:AlternateContent xmlns:mc="http://schemas.openxmlformats.org/markup-compatibility/2006" xmlns:p14="http://schemas.microsoft.com/office/powerpoint/2010/main">
          <mc:Choice Requires="p14">
            <p:contentPart p14:bwMode="auto" r:id="rId220">
              <p14:nvContentPartPr>
                <p14:cNvPr id="229" name="Ink 228">
                  <a:extLst>
                    <a:ext uri="{FF2B5EF4-FFF2-40B4-BE49-F238E27FC236}">
                      <a16:creationId xmlns:a16="http://schemas.microsoft.com/office/drawing/2014/main" id="{A192ED0F-EF1D-448F-82FD-8EDE0F0B0634}"/>
                    </a:ext>
                  </a:extLst>
                </p14:cNvPr>
                <p14:cNvContentPartPr/>
                <p14:nvPr/>
              </p14:nvContentPartPr>
              <p14:xfrm>
                <a:off x="2160862" y="4600739"/>
                <a:ext cx="93960" cy="205920"/>
              </p14:xfrm>
            </p:contentPart>
          </mc:Choice>
          <mc:Fallback xmlns="">
            <p:pic>
              <p:nvPicPr>
                <p:cNvPr id="229" name="Ink 228">
                  <a:extLst>
                    <a:ext uri="{FF2B5EF4-FFF2-40B4-BE49-F238E27FC236}">
                      <a16:creationId xmlns:a16="http://schemas.microsoft.com/office/drawing/2014/main" id="{A192ED0F-EF1D-448F-82FD-8EDE0F0B0634}"/>
                    </a:ext>
                  </a:extLst>
                </p:cNvPr>
                <p:cNvPicPr/>
                <p:nvPr/>
              </p:nvPicPr>
              <p:blipFill>
                <a:blip r:embed="rId221"/>
                <a:stretch>
                  <a:fillRect/>
                </a:stretch>
              </p:blipFill>
              <p:spPr>
                <a:xfrm>
                  <a:off x="2125222" y="4564739"/>
                  <a:ext cx="165600" cy="277560"/>
                </a:xfrm>
                <a:prstGeom prst="rect">
                  <a:avLst/>
                </a:prstGeom>
              </p:spPr>
            </p:pic>
          </mc:Fallback>
        </mc:AlternateContent>
        <mc:AlternateContent xmlns:mc="http://schemas.openxmlformats.org/markup-compatibility/2006" xmlns:p14="http://schemas.microsoft.com/office/powerpoint/2010/main">
          <mc:Choice Requires="p14">
            <p:contentPart p14:bwMode="auto" r:id="rId222">
              <p14:nvContentPartPr>
                <p14:cNvPr id="230" name="Ink 229">
                  <a:extLst>
                    <a:ext uri="{FF2B5EF4-FFF2-40B4-BE49-F238E27FC236}">
                      <a16:creationId xmlns:a16="http://schemas.microsoft.com/office/drawing/2014/main" id="{5FCA43EC-633C-49CF-93F7-A9B721FD34E0}"/>
                    </a:ext>
                  </a:extLst>
                </p14:cNvPr>
                <p14:cNvContentPartPr/>
                <p14:nvPr/>
              </p14:nvContentPartPr>
              <p14:xfrm>
                <a:off x="2325742" y="4587059"/>
                <a:ext cx="104760" cy="157320"/>
              </p14:xfrm>
            </p:contentPart>
          </mc:Choice>
          <mc:Fallback xmlns="">
            <p:pic>
              <p:nvPicPr>
                <p:cNvPr id="230" name="Ink 229">
                  <a:extLst>
                    <a:ext uri="{FF2B5EF4-FFF2-40B4-BE49-F238E27FC236}">
                      <a16:creationId xmlns:a16="http://schemas.microsoft.com/office/drawing/2014/main" id="{5FCA43EC-633C-49CF-93F7-A9B721FD34E0}"/>
                    </a:ext>
                  </a:extLst>
                </p:cNvPr>
                <p:cNvPicPr/>
                <p:nvPr/>
              </p:nvPicPr>
              <p:blipFill>
                <a:blip r:embed="rId223"/>
                <a:stretch>
                  <a:fillRect/>
                </a:stretch>
              </p:blipFill>
              <p:spPr>
                <a:xfrm>
                  <a:off x="2289742" y="4551419"/>
                  <a:ext cx="176400" cy="228960"/>
                </a:xfrm>
                <a:prstGeom prst="rect">
                  <a:avLst/>
                </a:prstGeom>
              </p:spPr>
            </p:pic>
          </mc:Fallback>
        </mc:AlternateContent>
      </p:grpSp>
      <p:grpSp>
        <p:nvGrpSpPr>
          <p:cNvPr id="241" name="Group 240">
            <a:extLst>
              <a:ext uri="{FF2B5EF4-FFF2-40B4-BE49-F238E27FC236}">
                <a16:creationId xmlns:a16="http://schemas.microsoft.com/office/drawing/2014/main" id="{C47C32EF-29AE-418D-8A3B-FECD9195DCBD}"/>
              </a:ext>
            </a:extLst>
          </p:cNvPr>
          <p:cNvGrpSpPr/>
          <p:nvPr/>
        </p:nvGrpSpPr>
        <p:grpSpPr>
          <a:xfrm>
            <a:off x="2690062" y="4305899"/>
            <a:ext cx="1352520" cy="430200"/>
            <a:chOff x="2690062" y="4305899"/>
            <a:chExt cx="1352520" cy="430200"/>
          </a:xfrm>
        </p:grpSpPr>
        <mc:AlternateContent xmlns:mc="http://schemas.openxmlformats.org/markup-compatibility/2006" xmlns:p14="http://schemas.microsoft.com/office/powerpoint/2010/main">
          <mc:Choice Requires="p14">
            <p:contentPart p14:bwMode="auto" r:id="rId224">
              <p14:nvContentPartPr>
                <p14:cNvPr id="236" name="Ink 235">
                  <a:extLst>
                    <a:ext uri="{FF2B5EF4-FFF2-40B4-BE49-F238E27FC236}">
                      <a16:creationId xmlns:a16="http://schemas.microsoft.com/office/drawing/2014/main" id="{15F444EA-B723-4A6B-9581-5A6BF2DFC389}"/>
                    </a:ext>
                  </a:extLst>
                </p14:cNvPr>
                <p14:cNvContentPartPr/>
                <p14:nvPr/>
              </p14:nvContentPartPr>
              <p14:xfrm>
                <a:off x="2690062" y="4482659"/>
                <a:ext cx="373320" cy="253440"/>
              </p14:xfrm>
            </p:contentPart>
          </mc:Choice>
          <mc:Fallback xmlns="">
            <p:pic>
              <p:nvPicPr>
                <p:cNvPr id="236" name="Ink 235">
                  <a:extLst>
                    <a:ext uri="{FF2B5EF4-FFF2-40B4-BE49-F238E27FC236}">
                      <a16:creationId xmlns:a16="http://schemas.microsoft.com/office/drawing/2014/main" id="{15F444EA-B723-4A6B-9581-5A6BF2DFC389}"/>
                    </a:ext>
                  </a:extLst>
                </p:cNvPr>
                <p:cNvPicPr/>
                <p:nvPr/>
              </p:nvPicPr>
              <p:blipFill>
                <a:blip r:embed="rId225"/>
                <a:stretch>
                  <a:fillRect/>
                </a:stretch>
              </p:blipFill>
              <p:spPr>
                <a:xfrm>
                  <a:off x="2654062" y="4447019"/>
                  <a:ext cx="444960" cy="325080"/>
                </a:xfrm>
                <a:prstGeom prst="rect">
                  <a:avLst/>
                </a:prstGeom>
              </p:spPr>
            </p:pic>
          </mc:Fallback>
        </mc:AlternateContent>
        <mc:AlternateContent xmlns:mc="http://schemas.openxmlformats.org/markup-compatibility/2006" xmlns:p14="http://schemas.microsoft.com/office/powerpoint/2010/main">
          <mc:Choice Requires="p14">
            <p:contentPart p14:bwMode="auto" r:id="rId226">
              <p14:nvContentPartPr>
                <p14:cNvPr id="237" name="Ink 236">
                  <a:extLst>
                    <a:ext uri="{FF2B5EF4-FFF2-40B4-BE49-F238E27FC236}">
                      <a16:creationId xmlns:a16="http://schemas.microsoft.com/office/drawing/2014/main" id="{D52E8B77-2B78-492A-8936-370FAA49CBB9}"/>
                    </a:ext>
                  </a:extLst>
                </p14:cNvPr>
                <p14:cNvContentPartPr/>
                <p14:nvPr/>
              </p14:nvContentPartPr>
              <p14:xfrm>
                <a:off x="3117382" y="4339019"/>
                <a:ext cx="325080" cy="308520"/>
              </p14:xfrm>
            </p:contentPart>
          </mc:Choice>
          <mc:Fallback xmlns="">
            <p:pic>
              <p:nvPicPr>
                <p:cNvPr id="237" name="Ink 236">
                  <a:extLst>
                    <a:ext uri="{FF2B5EF4-FFF2-40B4-BE49-F238E27FC236}">
                      <a16:creationId xmlns:a16="http://schemas.microsoft.com/office/drawing/2014/main" id="{D52E8B77-2B78-492A-8936-370FAA49CBB9}"/>
                    </a:ext>
                  </a:extLst>
                </p:cNvPr>
                <p:cNvPicPr/>
                <p:nvPr/>
              </p:nvPicPr>
              <p:blipFill>
                <a:blip r:embed="rId227"/>
                <a:stretch>
                  <a:fillRect/>
                </a:stretch>
              </p:blipFill>
              <p:spPr>
                <a:xfrm>
                  <a:off x="3081382" y="4303019"/>
                  <a:ext cx="396720" cy="380160"/>
                </a:xfrm>
                <a:prstGeom prst="rect">
                  <a:avLst/>
                </a:prstGeom>
              </p:spPr>
            </p:pic>
          </mc:Fallback>
        </mc:AlternateContent>
        <mc:AlternateContent xmlns:mc="http://schemas.openxmlformats.org/markup-compatibility/2006" xmlns:p14="http://schemas.microsoft.com/office/powerpoint/2010/main">
          <mc:Choice Requires="p14">
            <p:contentPart p14:bwMode="auto" r:id="rId228">
              <p14:nvContentPartPr>
                <p14:cNvPr id="238" name="Ink 237">
                  <a:extLst>
                    <a:ext uri="{FF2B5EF4-FFF2-40B4-BE49-F238E27FC236}">
                      <a16:creationId xmlns:a16="http://schemas.microsoft.com/office/drawing/2014/main" id="{1E70498D-C959-46E6-9E03-BA8B76076B6B}"/>
                    </a:ext>
                  </a:extLst>
                </p14:cNvPr>
                <p14:cNvContentPartPr/>
                <p14:nvPr/>
              </p14:nvContentPartPr>
              <p14:xfrm>
                <a:off x="3385222" y="4439459"/>
                <a:ext cx="382320" cy="147600"/>
              </p14:xfrm>
            </p:contentPart>
          </mc:Choice>
          <mc:Fallback xmlns="">
            <p:pic>
              <p:nvPicPr>
                <p:cNvPr id="238" name="Ink 237">
                  <a:extLst>
                    <a:ext uri="{FF2B5EF4-FFF2-40B4-BE49-F238E27FC236}">
                      <a16:creationId xmlns:a16="http://schemas.microsoft.com/office/drawing/2014/main" id="{1E70498D-C959-46E6-9E03-BA8B76076B6B}"/>
                    </a:ext>
                  </a:extLst>
                </p:cNvPr>
                <p:cNvPicPr/>
                <p:nvPr/>
              </p:nvPicPr>
              <p:blipFill>
                <a:blip r:embed="rId229"/>
                <a:stretch>
                  <a:fillRect/>
                </a:stretch>
              </p:blipFill>
              <p:spPr>
                <a:xfrm>
                  <a:off x="3349582" y="4403459"/>
                  <a:ext cx="453960" cy="219240"/>
                </a:xfrm>
                <a:prstGeom prst="rect">
                  <a:avLst/>
                </a:prstGeom>
              </p:spPr>
            </p:pic>
          </mc:Fallback>
        </mc:AlternateContent>
        <mc:AlternateContent xmlns:mc="http://schemas.openxmlformats.org/markup-compatibility/2006" xmlns:p14="http://schemas.microsoft.com/office/powerpoint/2010/main">
          <mc:Choice Requires="p14">
            <p:contentPart p14:bwMode="auto" r:id="rId230">
              <p14:nvContentPartPr>
                <p14:cNvPr id="239" name="Ink 238">
                  <a:extLst>
                    <a:ext uri="{FF2B5EF4-FFF2-40B4-BE49-F238E27FC236}">
                      <a16:creationId xmlns:a16="http://schemas.microsoft.com/office/drawing/2014/main" id="{2E921691-2821-4385-804C-7D9FFDCE4ABB}"/>
                    </a:ext>
                  </a:extLst>
                </p14:cNvPr>
                <p14:cNvContentPartPr/>
                <p14:nvPr/>
              </p14:nvContentPartPr>
              <p14:xfrm>
                <a:off x="3650182" y="4305899"/>
                <a:ext cx="262080" cy="198720"/>
              </p14:xfrm>
            </p:contentPart>
          </mc:Choice>
          <mc:Fallback xmlns="">
            <p:pic>
              <p:nvPicPr>
                <p:cNvPr id="239" name="Ink 238">
                  <a:extLst>
                    <a:ext uri="{FF2B5EF4-FFF2-40B4-BE49-F238E27FC236}">
                      <a16:creationId xmlns:a16="http://schemas.microsoft.com/office/drawing/2014/main" id="{2E921691-2821-4385-804C-7D9FFDCE4ABB}"/>
                    </a:ext>
                  </a:extLst>
                </p:cNvPr>
                <p:cNvPicPr/>
                <p:nvPr/>
              </p:nvPicPr>
              <p:blipFill>
                <a:blip r:embed="rId231"/>
                <a:stretch>
                  <a:fillRect/>
                </a:stretch>
              </p:blipFill>
              <p:spPr>
                <a:xfrm>
                  <a:off x="3614182" y="4270259"/>
                  <a:ext cx="333720" cy="270360"/>
                </a:xfrm>
                <a:prstGeom prst="rect">
                  <a:avLst/>
                </a:prstGeom>
              </p:spPr>
            </p:pic>
          </mc:Fallback>
        </mc:AlternateContent>
        <mc:AlternateContent xmlns:mc="http://schemas.openxmlformats.org/markup-compatibility/2006" xmlns:p14="http://schemas.microsoft.com/office/powerpoint/2010/main">
          <mc:Choice Requires="p14">
            <p:contentPart p14:bwMode="auto" r:id="rId232">
              <p14:nvContentPartPr>
                <p14:cNvPr id="240" name="Ink 239">
                  <a:extLst>
                    <a:ext uri="{FF2B5EF4-FFF2-40B4-BE49-F238E27FC236}">
                      <a16:creationId xmlns:a16="http://schemas.microsoft.com/office/drawing/2014/main" id="{002D56E9-66D9-4630-867C-FA48C1A6535E}"/>
                    </a:ext>
                  </a:extLst>
                </p14:cNvPr>
                <p14:cNvContentPartPr/>
                <p14:nvPr/>
              </p14:nvContentPartPr>
              <p14:xfrm>
                <a:off x="3774382" y="4420019"/>
                <a:ext cx="268200" cy="90720"/>
              </p14:xfrm>
            </p:contentPart>
          </mc:Choice>
          <mc:Fallback xmlns="">
            <p:pic>
              <p:nvPicPr>
                <p:cNvPr id="240" name="Ink 239">
                  <a:extLst>
                    <a:ext uri="{FF2B5EF4-FFF2-40B4-BE49-F238E27FC236}">
                      <a16:creationId xmlns:a16="http://schemas.microsoft.com/office/drawing/2014/main" id="{002D56E9-66D9-4630-867C-FA48C1A6535E}"/>
                    </a:ext>
                  </a:extLst>
                </p:cNvPr>
                <p:cNvPicPr/>
                <p:nvPr/>
              </p:nvPicPr>
              <p:blipFill>
                <a:blip r:embed="rId233"/>
                <a:stretch>
                  <a:fillRect/>
                </a:stretch>
              </p:blipFill>
              <p:spPr>
                <a:xfrm>
                  <a:off x="3738742" y="4384019"/>
                  <a:ext cx="339840" cy="16236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234">
            <p14:nvContentPartPr>
              <p14:cNvPr id="3" name="Ink 2">
                <a:extLst>
                  <a:ext uri="{FF2B5EF4-FFF2-40B4-BE49-F238E27FC236}">
                    <a16:creationId xmlns:a16="http://schemas.microsoft.com/office/drawing/2014/main" id="{6D7868A6-9AAF-48D1-8D05-2715F5379FD3}"/>
                  </a:ext>
                </a:extLst>
              </p14:cNvPr>
              <p14:cNvContentPartPr/>
              <p14:nvPr/>
            </p14:nvContentPartPr>
            <p14:xfrm>
              <a:off x="3004560" y="3414960"/>
              <a:ext cx="263160" cy="336240"/>
            </p14:xfrm>
          </p:contentPart>
        </mc:Choice>
        <mc:Fallback xmlns="">
          <p:pic>
            <p:nvPicPr>
              <p:cNvPr id="3" name="Ink 2">
                <a:extLst>
                  <a:ext uri="{FF2B5EF4-FFF2-40B4-BE49-F238E27FC236}">
                    <a16:creationId xmlns:a16="http://schemas.microsoft.com/office/drawing/2014/main" id="{6D7868A6-9AAF-48D1-8D05-2715F5379FD3}"/>
                  </a:ext>
                </a:extLst>
              </p:cNvPr>
              <p:cNvPicPr/>
              <p:nvPr/>
            </p:nvPicPr>
            <p:blipFill>
              <a:blip r:embed="rId237"/>
              <a:stretch>
                <a:fillRect/>
              </a:stretch>
            </p:blipFill>
            <p:spPr>
              <a:xfrm>
                <a:off x="2995200" y="3405600"/>
                <a:ext cx="281880" cy="354960"/>
              </a:xfrm>
              <a:prstGeom prst="rect">
                <a:avLst/>
              </a:prstGeom>
            </p:spPr>
          </p:pic>
        </mc:Fallback>
      </mc:AlternateContent>
      <mc:AlternateContent xmlns:mc="http://schemas.openxmlformats.org/markup-compatibility/2006" xmlns:p14="http://schemas.microsoft.com/office/powerpoint/2010/main">
        <mc:Choice Requires="p14">
          <p:contentPart p14:bwMode="auto" r:id="rId238">
            <p14:nvContentPartPr>
              <p14:cNvPr id="6" name="Ink 5">
                <a:extLst>
                  <a:ext uri="{FF2B5EF4-FFF2-40B4-BE49-F238E27FC236}">
                    <a16:creationId xmlns:a16="http://schemas.microsoft.com/office/drawing/2014/main" id="{AC2BC7D0-A0CE-7809-0C88-3C69D6715CAF}"/>
                  </a:ext>
                </a:extLst>
              </p14:cNvPr>
              <p14:cNvContentPartPr/>
              <p14:nvPr/>
            </p14:nvContentPartPr>
            <p14:xfrm>
              <a:off x="959200" y="819760"/>
              <a:ext cx="14400" cy="28800"/>
            </p14:xfrm>
          </p:contentPart>
        </mc:Choice>
        <mc:Fallback xmlns="">
          <p:pic>
            <p:nvPicPr>
              <p:cNvPr id="6" name="Ink 5">
                <a:extLst>
                  <a:ext uri="{FF2B5EF4-FFF2-40B4-BE49-F238E27FC236}">
                    <a16:creationId xmlns:a16="http://schemas.microsoft.com/office/drawing/2014/main" id="{AC2BC7D0-A0CE-7809-0C88-3C69D6715CAF}"/>
                  </a:ext>
                </a:extLst>
              </p:cNvPr>
              <p:cNvPicPr/>
              <p:nvPr/>
            </p:nvPicPr>
            <p:blipFill>
              <a:blip r:embed="rId239"/>
              <a:stretch>
                <a:fillRect/>
              </a:stretch>
            </p:blipFill>
            <p:spPr>
              <a:xfrm>
                <a:off x="944080" y="804280"/>
                <a:ext cx="45000" cy="59400"/>
              </a:xfrm>
              <a:prstGeom prst="rect">
                <a:avLst/>
              </a:prstGeom>
            </p:spPr>
          </p:pic>
        </mc:Fallback>
      </mc:AlternateContent>
      <mc:AlternateContent xmlns:mc="http://schemas.openxmlformats.org/markup-compatibility/2006" xmlns:p14="http://schemas.microsoft.com/office/powerpoint/2010/main">
        <mc:Choice Requires="p14">
          <p:contentPart p14:bwMode="auto" r:id="rId240">
            <p14:nvContentPartPr>
              <p14:cNvPr id="7" name="Ink 6">
                <a:extLst>
                  <a:ext uri="{FF2B5EF4-FFF2-40B4-BE49-F238E27FC236}">
                    <a16:creationId xmlns:a16="http://schemas.microsoft.com/office/drawing/2014/main" id="{6F78FFF1-0960-7408-6BEA-D67A58FE8D1C}"/>
                  </a:ext>
                </a:extLst>
              </p14:cNvPr>
              <p14:cNvContentPartPr/>
              <p14:nvPr/>
            </p14:nvContentPartPr>
            <p14:xfrm>
              <a:off x="1525480" y="2080840"/>
              <a:ext cx="871560" cy="18000"/>
            </p14:xfrm>
          </p:contentPart>
        </mc:Choice>
        <mc:Fallback xmlns="">
          <p:pic>
            <p:nvPicPr>
              <p:cNvPr id="7" name="Ink 6">
                <a:extLst>
                  <a:ext uri="{FF2B5EF4-FFF2-40B4-BE49-F238E27FC236}">
                    <a16:creationId xmlns:a16="http://schemas.microsoft.com/office/drawing/2014/main" id="{6F78FFF1-0960-7408-6BEA-D67A58FE8D1C}"/>
                  </a:ext>
                </a:extLst>
              </p:cNvPr>
              <p:cNvPicPr/>
              <p:nvPr/>
            </p:nvPicPr>
            <p:blipFill>
              <a:blip r:embed="rId241"/>
              <a:stretch>
                <a:fillRect/>
              </a:stretch>
            </p:blipFill>
            <p:spPr>
              <a:xfrm>
                <a:off x="1516840" y="2071840"/>
                <a:ext cx="889200" cy="35640"/>
              </a:xfrm>
              <a:prstGeom prst="rect">
                <a:avLst/>
              </a:prstGeom>
            </p:spPr>
          </p:pic>
        </mc:Fallback>
      </mc:AlternateContent>
      <mc:AlternateContent xmlns:mc="http://schemas.openxmlformats.org/markup-compatibility/2006" xmlns:p14="http://schemas.microsoft.com/office/powerpoint/2010/main">
        <mc:Choice Requires="p14">
          <p:contentPart p14:bwMode="auto" r:id="rId242">
            <p14:nvContentPartPr>
              <p14:cNvPr id="8" name="Ink 7">
                <a:extLst>
                  <a:ext uri="{FF2B5EF4-FFF2-40B4-BE49-F238E27FC236}">
                    <a16:creationId xmlns:a16="http://schemas.microsoft.com/office/drawing/2014/main" id="{B239329E-C869-DE93-8BE5-F832772D03FA}"/>
                  </a:ext>
                </a:extLst>
              </p14:cNvPr>
              <p14:cNvContentPartPr/>
              <p14:nvPr/>
            </p14:nvContentPartPr>
            <p14:xfrm>
              <a:off x="1510360" y="2384320"/>
              <a:ext cx="2319120" cy="127800"/>
            </p14:xfrm>
          </p:contentPart>
        </mc:Choice>
        <mc:Fallback xmlns="">
          <p:pic>
            <p:nvPicPr>
              <p:cNvPr id="8" name="Ink 7">
                <a:extLst>
                  <a:ext uri="{FF2B5EF4-FFF2-40B4-BE49-F238E27FC236}">
                    <a16:creationId xmlns:a16="http://schemas.microsoft.com/office/drawing/2014/main" id="{B239329E-C869-DE93-8BE5-F832772D03FA}"/>
                  </a:ext>
                </a:extLst>
              </p:cNvPr>
              <p:cNvPicPr/>
              <p:nvPr/>
            </p:nvPicPr>
            <p:blipFill>
              <a:blip r:embed="rId243"/>
              <a:stretch>
                <a:fillRect/>
              </a:stretch>
            </p:blipFill>
            <p:spPr>
              <a:xfrm>
                <a:off x="1501720" y="2375680"/>
                <a:ext cx="2336760" cy="145440"/>
              </a:xfrm>
              <a:prstGeom prst="rect">
                <a:avLst/>
              </a:prstGeom>
            </p:spPr>
          </p:pic>
        </mc:Fallback>
      </mc:AlternateContent>
      <mc:AlternateContent xmlns:mc="http://schemas.openxmlformats.org/markup-compatibility/2006" xmlns:p14="http://schemas.microsoft.com/office/powerpoint/2010/main">
        <mc:Choice Requires="p14">
          <p:contentPart p14:bwMode="auto" r:id="rId244">
            <p14:nvContentPartPr>
              <p14:cNvPr id="9" name="Ink 8">
                <a:extLst>
                  <a:ext uri="{FF2B5EF4-FFF2-40B4-BE49-F238E27FC236}">
                    <a16:creationId xmlns:a16="http://schemas.microsoft.com/office/drawing/2014/main" id="{73BCDB27-419D-CBED-B79C-C007F3544ED7}"/>
                  </a:ext>
                </a:extLst>
              </p14:cNvPr>
              <p14:cNvContentPartPr/>
              <p14:nvPr/>
            </p14:nvContentPartPr>
            <p14:xfrm>
              <a:off x="6031960" y="742000"/>
              <a:ext cx="781200" cy="681120"/>
            </p14:xfrm>
          </p:contentPart>
        </mc:Choice>
        <mc:Fallback xmlns="">
          <p:pic>
            <p:nvPicPr>
              <p:cNvPr id="9" name="Ink 8">
                <a:extLst>
                  <a:ext uri="{FF2B5EF4-FFF2-40B4-BE49-F238E27FC236}">
                    <a16:creationId xmlns:a16="http://schemas.microsoft.com/office/drawing/2014/main" id="{73BCDB27-419D-CBED-B79C-C007F3544ED7}"/>
                  </a:ext>
                </a:extLst>
              </p:cNvPr>
              <p:cNvPicPr/>
              <p:nvPr/>
            </p:nvPicPr>
            <p:blipFill>
              <a:blip r:embed="rId245"/>
              <a:stretch>
                <a:fillRect/>
              </a:stretch>
            </p:blipFill>
            <p:spPr>
              <a:xfrm>
                <a:off x="6023320" y="733360"/>
                <a:ext cx="798840" cy="698760"/>
              </a:xfrm>
              <a:prstGeom prst="rect">
                <a:avLst/>
              </a:prstGeom>
            </p:spPr>
          </p:pic>
        </mc:Fallback>
      </mc:AlternateContent>
      <mc:AlternateContent xmlns:mc="http://schemas.openxmlformats.org/markup-compatibility/2006" xmlns:p14="http://schemas.microsoft.com/office/powerpoint/2010/main">
        <mc:Choice Requires="p14">
          <p:contentPart p14:bwMode="auto" r:id="rId246">
            <p14:nvContentPartPr>
              <p14:cNvPr id="2" name="Ink 1">
                <a:extLst>
                  <a:ext uri="{FF2B5EF4-FFF2-40B4-BE49-F238E27FC236}">
                    <a16:creationId xmlns:a16="http://schemas.microsoft.com/office/drawing/2014/main" id="{F61546FD-9947-AD1C-B9FA-ED17156E184D}"/>
                  </a:ext>
                </a:extLst>
              </p14:cNvPr>
              <p14:cNvContentPartPr/>
              <p14:nvPr/>
            </p14:nvContentPartPr>
            <p14:xfrm>
              <a:off x="5380440" y="2077053"/>
              <a:ext cx="471960" cy="19440"/>
            </p14:xfrm>
          </p:contentPart>
        </mc:Choice>
        <mc:Fallback xmlns="">
          <p:pic>
            <p:nvPicPr>
              <p:cNvPr id="2" name="Ink 1">
                <a:extLst>
                  <a:ext uri="{FF2B5EF4-FFF2-40B4-BE49-F238E27FC236}">
                    <a16:creationId xmlns:a16="http://schemas.microsoft.com/office/drawing/2014/main" id="{F61546FD-9947-AD1C-B9FA-ED17156E184D}"/>
                  </a:ext>
                </a:extLst>
              </p:cNvPr>
              <p:cNvPicPr/>
              <p:nvPr/>
            </p:nvPicPr>
            <p:blipFill>
              <a:blip r:embed="rId247"/>
              <a:stretch>
                <a:fillRect/>
              </a:stretch>
            </p:blipFill>
            <p:spPr>
              <a:xfrm>
                <a:off x="5371800" y="2068053"/>
                <a:ext cx="489600" cy="37080"/>
              </a:xfrm>
              <a:prstGeom prst="rect">
                <a:avLst/>
              </a:prstGeom>
            </p:spPr>
          </p:pic>
        </mc:Fallback>
      </mc:AlternateContent>
      <mc:AlternateContent xmlns:mc="http://schemas.openxmlformats.org/markup-compatibility/2006" xmlns:p14="http://schemas.microsoft.com/office/powerpoint/2010/main">
        <mc:Choice Requires="p14">
          <p:contentPart p14:bwMode="auto" r:id="rId248">
            <p14:nvContentPartPr>
              <p14:cNvPr id="10" name="Ink 9">
                <a:extLst>
                  <a:ext uri="{FF2B5EF4-FFF2-40B4-BE49-F238E27FC236}">
                    <a16:creationId xmlns:a16="http://schemas.microsoft.com/office/drawing/2014/main" id="{9EB53EAA-C30D-5790-D165-9FAD923AE1C5}"/>
                  </a:ext>
                </a:extLst>
              </p14:cNvPr>
              <p14:cNvContentPartPr/>
              <p14:nvPr/>
            </p14:nvContentPartPr>
            <p14:xfrm>
              <a:off x="6659160" y="1694733"/>
              <a:ext cx="523080" cy="332640"/>
            </p14:xfrm>
          </p:contentPart>
        </mc:Choice>
        <mc:Fallback xmlns="">
          <p:pic>
            <p:nvPicPr>
              <p:cNvPr id="10" name="Ink 9">
                <a:extLst>
                  <a:ext uri="{FF2B5EF4-FFF2-40B4-BE49-F238E27FC236}">
                    <a16:creationId xmlns:a16="http://schemas.microsoft.com/office/drawing/2014/main" id="{9EB53EAA-C30D-5790-D165-9FAD923AE1C5}"/>
                  </a:ext>
                </a:extLst>
              </p:cNvPr>
              <p:cNvPicPr/>
              <p:nvPr/>
            </p:nvPicPr>
            <p:blipFill>
              <a:blip r:embed="rId249"/>
              <a:stretch>
                <a:fillRect/>
              </a:stretch>
            </p:blipFill>
            <p:spPr>
              <a:xfrm>
                <a:off x="6650520" y="1686093"/>
                <a:ext cx="540720" cy="350280"/>
              </a:xfrm>
              <a:prstGeom prst="rect">
                <a:avLst/>
              </a:prstGeom>
            </p:spPr>
          </p:pic>
        </mc:Fallback>
      </mc:AlternateContent>
      <mc:AlternateContent xmlns:mc="http://schemas.openxmlformats.org/markup-compatibility/2006" xmlns:p14="http://schemas.microsoft.com/office/powerpoint/2010/main">
        <mc:Choice Requires="p14">
          <p:contentPart p14:bwMode="auto" r:id="rId250">
            <p14:nvContentPartPr>
              <p14:cNvPr id="11" name="Ink 10">
                <a:extLst>
                  <a:ext uri="{FF2B5EF4-FFF2-40B4-BE49-F238E27FC236}">
                    <a16:creationId xmlns:a16="http://schemas.microsoft.com/office/drawing/2014/main" id="{BA78CC8B-E317-875A-6669-0FFBB6ADD5D7}"/>
                  </a:ext>
                </a:extLst>
              </p14:cNvPr>
              <p14:cNvContentPartPr/>
              <p14:nvPr/>
            </p14:nvContentPartPr>
            <p14:xfrm>
              <a:off x="8084760" y="2196400"/>
              <a:ext cx="419040" cy="379800"/>
            </p14:xfrm>
          </p:contentPart>
        </mc:Choice>
        <mc:Fallback xmlns="">
          <p:pic>
            <p:nvPicPr>
              <p:cNvPr id="11" name="Ink 10">
                <a:extLst>
                  <a:ext uri="{FF2B5EF4-FFF2-40B4-BE49-F238E27FC236}">
                    <a16:creationId xmlns:a16="http://schemas.microsoft.com/office/drawing/2014/main" id="{BA78CC8B-E317-875A-6669-0FFBB6ADD5D7}"/>
                  </a:ext>
                </a:extLst>
              </p:cNvPr>
              <p:cNvPicPr/>
              <p:nvPr/>
            </p:nvPicPr>
            <p:blipFill>
              <a:blip r:embed="rId251"/>
              <a:stretch>
                <a:fillRect/>
              </a:stretch>
            </p:blipFill>
            <p:spPr>
              <a:xfrm>
                <a:off x="8075760" y="2187400"/>
                <a:ext cx="436680" cy="397440"/>
              </a:xfrm>
              <a:prstGeom prst="rect">
                <a:avLst/>
              </a:prstGeom>
            </p:spPr>
          </p:pic>
        </mc:Fallback>
      </mc:AlternateContent>
      <mc:AlternateContent xmlns:mc="http://schemas.openxmlformats.org/markup-compatibility/2006" xmlns:p14="http://schemas.microsoft.com/office/powerpoint/2010/main">
        <mc:Choice Requires="p14">
          <p:contentPart p14:bwMode="auto" r:id="rId252">
            <p14:nvContentPartPr>
              <p14:cNvPr id="12" name="Ink 11">
                <a:extLst>
                  <a:ext uri="{FF2B5EF4-FFF2-40B4-BE49-F238E27FC236}">
                    <a16:creationId xmlns:a16="http://schemas.microsoft.com/office/drawing/2014/main" id="{874406AB-43AB-73FD-8928-6C136AB2B59C}"/>
                  </a:ext>
                </a:extLst>
              </p14:cNvPr>
              <p14:cNvContentPartPr/>
              <p14:nvPr/>
            </p14:nvContentPartPr>
            <p14:xfrm>
              <a:off x="9952080" y="2177680"/>
              <a:ext cx="509040" cy="276840"/>
            </p14:xfrm>
          </p:contentPart>
        </mc:Choice>
        <mc:Fallback xmlns="">
          <p:pic>
            <p:nvPicPr>
              <p:cNvPr id="12" name="Ink 11">
                <a:extLst>
                  <a:ext uri="{FF2B5EF4-FFF2-40B4-BE49-F238E27FC236}">
                    <a16:creationId xmlns:a16="http://schemas.microsoft.com/office/drawing/2014/main" id="{874406AB-43AB-73FD-8928-6C136AB2B59C}"/>
                  </a:ext>
                </a:extLst>
              </p:cNvPr>
              <p:cNvPicPr/>
              <p:nvPr/>
            </p:nvPicPr>
            <p:blipFill>
              <a:blip r:embed="rId253"/>
              <a:stretch>
                <a:fillRect/>
              </a:stretch>
            </p:blipFill>
            <p:spPr>
              <a:xfrm>
                <a:off x="9943080" y="2168680"/>
                <a:ext cx="526680" cy="294480"/>
              </a:xfrm>
              <a:prstGeom prst="rect">
                <a:avLst/>
              </a:prstGeom>
            </p:spPr>
          </p:pic>
        </mc:Fallback>
      </mc:AlternateContent>
      <mc:AlternateContent xmlns:mc="http://schemas.openxmlformats.org/markup-compatibility/2006" xmlns:p14="http://schemas.microsoft.com/office/powerpoint/2010/main">
        <mc:Choice Requires="p14">
          <p:contentPart p14:bwMode="auto" r:id="rId254">
            <p14:nvContentPartPr>
              <p14:cNvPr id="13" name="Ink 12">
                <a:extLst>
                  <a:ext uri="{FF2B5EF4-FFF2-40B4-BE49-F238E27FC236}">
                    <a16:creationId xmlns:a16="http://schemas.microsoft.com/office/drawing/2014/main" id="{98503D16-F05E-C6C2-B432-0A8811356580}"/>
                  </a:ext>
                </a:extLst>
              </p14:cNvPr>
              <p14:cNvContentPartPr/>
              <p14:nvPr/>
            </p14:nvContentPartPr>
            <p14:xfrm>
              <a:off x="10721400" y="2628040"/>
              <a:ext cx="500400" cy="245880"/>
            </p14:xfrm>
          </p:contentPart>
        </mc:Choice>
        <mc:Fallback xmlns="">
          <p:pic>
            <p:nvPicPr>
              <p:cNvPr id="13" name="Ink 12">
                <a:extLst>
                  <a:ext uri="{FF2B5EF4-FFF2-40B4-BE49-F238E27FC236}">
                    <a16:creationId xmlns:a16="http://schemas.microsoft.com/office/drawing/2014/main" id="{98503D16-F05E-C6C2-B432-0A8811356580}"/>
                  </a:ext>
                </a:extLst>
              </p:cNvPr>
              <p:cNvPicPr/>
              <p:nvPr/>
            </p:nvPicPr>
            <p:blipFill>
              <a:blip r:embed="rId255"/>
              <a:stretch>
                <a:fillRect/>
              </a:stretch>
            </p:blipFill>
            <p:spPr>
              <a:xfrm>
                <a:off x="10712400" y="2619400"/>
                <a:ext cx="518040" cy="263520"/>
              </a:xfrm>
              <a:prstGeom prst="rect">
                <a:avLst/>
              </a:prstGeom>
            </p:spPr>
          </p:pic>
        </mc:Fallback>
      </mc:AlternateContent>
    </p:spTree>
    <p:extLst>
      <p:ext uri="{BB962C8B-B14F-4D97-AF65-F5344CB8AC3E}">
        <p14:creationId xmlns:p14="http://schemas.microsoft.com/office/powerpoint/2010/main" val="34783597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38A216-61D5-490D-8FA0-F6814BAC870E}"/>
              </a:ext>
            </a:extLst>
          </p:cNvPr>
          <p:cNvGraphicFramePr>
            <a:graphicFrameLocks noChangeAspect="1"/>
          </p:cNvGraphicFramePr>
          <p:nvPr>
            <p:custDataLst>
              <p:tags r:id="rId1"/>
            </p:custDataLst>
            <p:extLst>
              <p:ext uri="{D42A27DB-BD31-4B8C-83A1-F6EECF244321}">
                <p14:modId xmlns:p14="http://schemas.microsoft.com/office/powerpoint/2010/main" val="288041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2738A216-61D5-490D-8FA0-F6814BAC87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A8836344-2996-4DB8-AB65-DA7832B162C9}"/>
              </a:ext>
            </a:extLst>
          </p:cNvPr>
          <p:cNvPicPr>
            <a:picLocks noChangeAspect="1"/>
          </p:cNvPicPr>
          <p:nvPr/>
        </p:nvPicPr>
        <p:blipFill>
          <a:blip r:embed="rId5"/>
          <a:stretch>
            <a:fillRect/>
          </a:stretch>
        </p:blipFill>
        <p:spPr>
          <a:xfrm>
            <a:off x="269910" y="634589"/>
            <a:ext cx="11113855" cy="6143625"/>
          </a:xfrm>
          <a:prstGeom prst="rect">
            <a:avLst/>
          </a:prstGeom>
        </p:spPr>
      </p:pic>
      <p:sp>
        <p:nvSpPr>
          <p:cNvPr id="9" name="Title 1">
            <a:extLst>
              <a:ext uri="{FF2B5EF4-FFF2-40B4-BE49-F238E27FC236}">
                <a16:creationId xmlns:a16="http://schemas.microsoft.com/office/drawing/2014/main" id="{0F7AE228-A5FD-4024-A10F-E8E9EA5E0180}"/>
              </a:ext>
            </a:extLst>
          </p:cNvPr>
          <p:cNvSpPr>
            <a:spLocks noGrp="1"/>
          </p:cNvSpPr>
          <p:nvPr>
            <p:ph type="title"/>
          </p:nvPr>
        </p:nvSpPr>
        <p:spPr>
          <a:xfrm>
            <a:off x="147637" y="92147"/>
            <a:ext cx="11896725" cy="615950"/>
          </a:xfrm>
        </p:spPr>
        <p:txBody>
          <a:bodyPr vert="horz">
            <a:normAutofit fontScale="90000"/>
          </a:bodyPr>
          <a:lstStyle/>
          <a:p>
            <a:r>
              <a:rPr lang="en-US" dirty="0">
                <a:solidFill>
                  <a:schemeClr val="accent1"/>
                </a:solidFill>
              </a:rPr>
              <a:t>Word2Vec v/s </a:t>
            </a:r>
            <a:r>
              <a:rPr lang="en-US" dirty="0" err="1">
                <a:solidFill>
                  <a:schemeClr val="accent1"/>
                </a:solidFill>
              </a:rPr>
              <a:t>GloVE</a:t>
            </a:r>
            <a:endParaRPr lang="en-US" dirty="0">
              <a:solidFill>
                <a:schemeClr val="accent1"/>
              </a:solidFill>
            </a:endParaRPr>
          </a:p>
        </p:txBody>
      </p:sp>
      <p:grpSp>
        <p:nvGrpSpPr>
          <p:cNvPr id="39" name="Group 38">
            <a:extLst>
              <a:ext uri="{FF2B5EF4-FFF2-40B4-BE49-F238E27FC236}">
                <a16:creationId xmlns:a16="http://schemas.microsoft.com/office/drawing/2014/main" id="{F1FC73C3-618A-4BB1-9380-DC60FC350D86}"/>
              </a:ext>
            </a:extLst>
          </p:cNvPr>
          <p:cNvGrpSpPr/>
          <p:nvPr/>
        </p:nvGrpSpPr>
        <p:grpSpPr>
          <a:xfrm>
            <a:off x="5028622" y="5484899"/>
            <a:ext cx="2626560" cy="279720"/>
            <a:chOff x="5028622" y="5484899"/>
            <a:chExt cx="2626560" cy="279720"/>
          </a:xfrm>
        </p:grpSpPr>
        <mc:AlternateContent xmlns:mc="http://schemas.openxmlformats.org/markup-compatibility/2006" xmlns:p14="http://schemas.microsoft.com/office/powerpoint/2010/main">
          <mc:Choice Requires="p14">
            <p:contentPart p14:bwMode="auto" r:id="rId6">
              <p14:nvContentPartPr>
                <p14:cNvPr id="28" name="Ink 27">
                  <a:extLst>
                    <a:ext uri="{FF2B5EF4-FFF2-40B4-BE49-F238E27FC236}">
                      <a16:creationId xmlns:a16="http://schemas.microsoft.com/office/drawing/2014/main" id="{B142C4F9-1780-4003-9256-CEA75413EC75}"/>
                    </a:ext>
                  </a:extLst>
                </p14:cNvPr>
                <p14:cNvContentPartPr/>
                <p14:nvPr/>
              </p14:nvContentPartPr>
              <p14:xfrm>
                <a:off x="5028622" y="5524139"/>
                <a:ext cx="481680" cy="100440"/>
              </p14:xfrm>
            </p:contentPart>
          </mc:Choice>
          <mc:Fallback xmlns="">
            <p:pic>
              <p:nvPicPr>
                <p:cNvPr id="28" name="Ink 27">
                  <a:extLst>
                    <a:ext uri="{FF2B5EF4-FFF2-40B4-BE49-F238E27FC236}">
                      <a16:creationId xmlns:a16="http://schemas.microsoft.com/office/drawing/2014/main" id="{B142C4F9-1780-4003-9256-CEA75413EC75}"/>
                    </a:ext>
                  </a:extLst>
                </p:cNvPr>
                <p:cNvPicPr/>
                <p:nvPr/>
              </p:nvPicPr>
              <p:blipFill>
                <a:blip r:embed="rId7"/>
                <a:stretch>
                  <a:fillRect/>
                </a:stretch>
              </p:blipFill>
              <p:spPr>
                <a:xfrm>
                  <a:off x="4992622" y="5488499"/>
                  <a:ext cx="553320" cy="17208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9" name="Ink 28">
                  <a:extLst>
                    <a:ext uri="{FF2B5EF4-FFF2-40B4-BE49-F238E27FC236}">
                      <a16:creationId xmlns:a16="http://schemas.microsoft.com/office/drawing/2014/main" id="{BB10CD6B-46E3-47E7-B814-D1A2E1ED0F23}"/>
                    </a:ext>
                  </a:extLst>
                </p14:cNvPr>
                <p14:cNvContentPartPr/>
                <p14:nvPr/>
              </p14:nvContentPartPr>
              <p14:xfrm>
                <a:off x="5400502" y="5484899"/>
                <a:ext cx="120960" cy="221040"/>
              </p14:xfrm>
            </p:contentPart>
          </mc:Choice>
          <mc:Fallback xmlns="">
            <p:pic>
              <p:nvPicPr>
                <p:cNvPr id="29" name="Ink 28">
                  <a:extLst>
                    <a:ext uri="{FF2B5EF4-FFF2-40B4-BE49-F238E27FC236}">
                      <a16:creationId xmlns:a16="http://schemas.microsoft.com/office/drawing/2014/main" id="{BB10CD6B-46E3-47E7-B814-D1A2E1ED0F23}"/>
                    </a:ext>
                  </a:extLst>
                </p:cNvPr>
                <p:cNvPicPr/>
                <p:nvPr/>
              </p:nvPicPr>
              <p:blipFill>
                <a:blip r:embed="rId9"/>
                <a:stretch>
                  <a:fillRect/>
                </a:stretch>
              </p:blipFill>
              <p:spPr>
                <a:xfrm>
                  <a:off x="5364502" y="5448899"/>
                  <a:ext cx="192600" cy="29268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31" name="Ink 30">
                  <a:extLst>
                    <a:ext uri="{FF2B5EF4-FFF2-40B4-BE49-F238E27FC236}">
                      <a16:creationId xmlns:a16="http://schemas.microsoft.com/office/drawing/2014/main" id="{1412B745-80FF-4F46-BDBB-59D37BDD46AC}"/>
                    </a:ext>
                  </a:extLst>
                </p14:cNvPr>
                <p14:cNvContentPartPr/>
                <p14:nvPr/>
              </p14:nvContentPartPr>
              <p14:xfrm>
                <a:off x="5925022" y="5728979"/>
                <a:ext cx="1730160" cy="35640"/>
              </p14:xfrm>
            </p:contentPart>
          </mc:Choice>
          <mc:Fallback xmlns="">
            <p:pic>
              <p:nvPicPr>
                <p:cNvPr id="31" name="Ink 30">
                  <a:extLst>
                    <a:ext uri="{FF2B5EF4-FFF2-40B4-BE49-F238E27FC236}">
                      <a16:creationId xmlns:a16="http://schemas.microsoft.com/office/drawing/2014/main" id="{1412B745-80FF-4F46-BDBB-59D37BDD46AC}"/>
                    </a:ext>
                  </a:extLst>
                </p:cNvPr>
                <p:cNvPicPr/>
                <p:nvPr/>
              </p:nvPicPr>
              <p:blipFill>
                <a:blip r:embed="rId11"/>
                <a:stretch>
                  <a:fillRect/>
                </a:stretch>
              </p:blipFill>
              <p:spPr>
                <a:xfrm>
                  <a:off x="5889022" y="5692979"/>
                  <a:ext cx="1801800" cy="107280"/>
                </a:xfrm>
                <a:prstGeom prst="rect">
                  <a:avLst/>
                </a:prstGeom>
              </p:spPr>
            </p:pic>
          </mc:Fallback>
        </mc:AlternateContent>
      </p:grpSp>
      <p:grpSp>
        <p:nvGrpSpPr>
          <p:cNvPr id="46" name="Group 45">
            <a:extLst>
              <a:ext uri="{FF2B5EF4-FFF2-40B4-BE49-F238E27FC236}">
                <a16:creationId xmlns:a16="http://schemas.microsoft.com/office/drawing/2014/main" id="{D478FA5E-6113-4E76-9C0E-7919FC31DB0D}"/>
              </a:ext>
            </a:extLst>
          </p:cNvPr>
          <p:cNvGrpSpPr/>
          <p:nvPr/>
        </p:nvGrpSpPr>
        <p:grpSpPr>
          <a:xfrm>
            <a:off x="5890462" y="5901419"/>
            <a:ext cx="1153800" cy="559440"/>
            <a:chOff x="5890462" y="5901419"/>
            <a:chExt cx="1153800" cy="559440"/>
          </a:xfrm>
        </p:grpSpPr>
        <mc:AlternateContent xmlns:mc="http://schemas.openxmlformats.org/markup-compatibility/2006" xmlns:p14="http://schemas.microsoft.com/office/powerpoint/2010/main">
          <mc:Choice Requires="p14">
            <p:contentPart p14:bwMode="auto" r:id="rId12">
              <p14:nvContentPartPr>
                <p14:cNvPr id="32" name="Ink 31">
                  <a:extLst>
                    <a:ext uri="{FF2B5EF4-FFF2-40B4-BE49-F238E27FC236}">
                      <a16:creationId xmlns:a16="http://schemas.microsoft.com/office/drawing/2014/main" id="{2BA1B113-0F49-48BF-9EA7-155B9FEFAC85}"/>
                    </a:ext>
                  </a:extLst>
                </p14:cNvPr>
                <p14:cNvContentPartPr/>
                <p14:nvPr/>
              </p14:nvContentPartPr>
              <p14:xfrm>
                <a:off x="6061462" y="5908979"/>
                <a:ext cx="312480" cy="32400"/>
              </p14:xfrm>
            </p:contentPart>
          </mc:Choice>
          <mc:Fallback xmlns="">
            <p:pic>
              <p:nvPicPr>
                <p:cNvPr id="32" name="Ink 31">
                  <a:extLst>
                    <a:ext uri="{FF2B5EF4-FFF2-40B4-BE49-F238E27FC236}">
                      <a16:creationId xmlns:a16="http://schemas.microsoft.com/office/drawing/2014/main" id="{2BA1B113-0F49-48BF-9EA7-155B9FEFAC85}"/>
                    </a:ext>
                  </a:extLst>
                </p:cNvPr>
                <p:cNvPicPr/>
                <p:nvPr/>
              </p:nvPicPr>
              <p:blipFill>
                <a:blip r:embed="rId13"/>
                <a:stretch>
                  <a:fillRect/>
                </a:stretch>
              </p:blipFill>
              <p:spPr>
                <a:xfrm>
                  <a:off x="6025822" y="5872979"/>
                  <a:ext cx="384120" cy="10404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33" name="Ink 32">
                  <a:extLst>
                    <a:ext uri="{FF2B5EF4-FFF2-40B4-BE49-F238E27FC236}">
                      <a16:creationId xmlns:a16="http://schemas.microsoft.com/office/drawing/2014/main" id="{0F5599F0-A1C1-409D-85EE-5FD0263A2E22}"/>
                    </a:ext>
                  </a:extLst>
                </p14:cNvPr>
                <p14:cNvContentPartPr/>
                <p14:nvPr/>
              </p14:nvContentPartPr>
              <p14:xfrm>
                <a:off x="6088462" y="5901419"/>
                <a:ext cx="250920" cy="344880"/>
              </p14:xfrm>
            </p:contentPart>
          </mc:Choice>
          <mc:Fallback xmlns="">
            <p:pic>
              <p:nvPicPr>
                <p:cNvPr id="33" name="Ink 32">
                  <a:extLst>
                    <a:ext uri="{FF2B5EF4-FFF2-40B4-BE49-F238E27FC236}">
                      <a16:creationId xmlns:a16="http://schemas.microsoft.com/office/drawing/2014/main" id="{0F5599F0-A1C1-409D-85EE-5FD0263A2E22}"/>
                    </a:ext>
                  </a:extLst>
                </p:cNvPr>
                <p:cNvPicPr/>
                <p:nvPr/>
              </p:nvPicPr>
              <p:blipFill>
                <a:blip r:embed="rId15"/>
                <a:stretch>
                  <a:fillRect/>
                </a:stretch>
              </p:blipFill>
              <p:spPr>
                <a:xfrm>
                  <a:off x="6052462" y="5865779"/>
                  <a:ext cx="322560" cy="41652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34" name="Ink 33">
                  <a:extLst>
                    <a:ext uri="{FF2B5EF4-FFF2-40B4-BE49-F238E27FC236}">
                      <a16:creationId xmlns:a16="http://schemas.microsoft.com/office/drawing/2014/main" id="{30B7204A-772D-456E-A3B7-934450857DFE}"/>
                    </a:ext>
                  </a:extLst>
                </p14:cNvPr>
                <p14:cNvContentPartPr/>
                <p14:nvPr/>
              </p14:nvContentPartPr>
              <p14:xfrm>
                <a:off x="6091702" y="6343499"/>
                <a:ext cx="46440" cy="113400"/>
              </p14:xfrm>
            </p:contentPart>
          </mc:Choice>
          <mc:Fallback xmlns="">
            <p:pic>
              <p:nvPicPr>
                <p:cNvPr id="34" name="Ink 33">
                  <a:extLst>
                    <a:ext uri="{FF2B5EF4-FFF2-40B4-BE49-F238E27FC236}">
                      <a16:creationId xmlns:a16="http://schemas.microsoft.com/office/drawing/2014/main" id="{30B7204A-772D-456E-A3B7-934450857DFE}"/>
                    </a:ext>
                  </a:extLst>
                </p:cNvPr>
                <p:cNvPicPr/>
                <p:nvPr/>
              </p:nvPicPr>
              <p:blipFill>
                <a:blip r:embed="rId17"/>
                <a:stretch>
                  <a:fillRect/>
                </a:stretch>
              </p:blipFill>
              <p:spPr>
                <a:xfrm>
                  <a:off x="6056062" y="6307859"/>
                  <a:ext cx="118080" cy="18504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35" name="Ink 34">
                  <a:extLst>
                    <a:ext uri="{FF2B5EF4-FFF2-40B4-BE49-F238E27FC236}">
                      <a16:creationId xmlns:a16="http://schemas.microsoft.com/office/drawing/2014/main" id="{A66FC9A0-6D84-44FA-A7EE-48B97279F14B}"/>
                    </a:ext>
                  </a:extLst>
                </p14:cNvPr>
                <p14:cNvContentPartPr/>
                <p14:nvPr/>
              </p14:nvContentPartPr>
              <p14:xfrm>
                <a:off x="6049942" y="6283739"/>
                <a:ext cx="16560" cy="23400"/>
              </p14:xfrm>
            </p:contentPart>
          </mc:Choice>
          <mc:Fallback xmlns="">
            <p:pic>
              <p:nvPicPr>
                <p:cNvPr id="35" name="Ink 34">
                  <a:extLst>
                    <a:ext uri="{FF2B5EF4-FFF2-40B4-BE49-F238E27FC236}">
                      <a16:creationId xmlns:a16="http://schemas.microsoft.com/office/drawing/2014/main" id="{A66FC9A0-6D84-44FA-A7EE-48B97279F14B}"/>
                    </a:ext>
                  </a:extLst>
                </p:cNvPr>
                <p:cNvPicPr/>
                <p:nvPr/>
              </p:nvPicPr>
              <p:blipFill>
                <a:blip r:embed="rId19"/>
                <a:stretch>
                  <a:fillRect/>
                </a:stretch>
              </p:blipFill>
              <p:spPr>
                <a:xfrm>
                  <a:off x="6013942" y="6248099"/>
                  <a:ext cx="88200" cy="950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36" name="Ink 35">
                  <a:extLst>
                    <a:ext uri="{FF2B5EF4-FFF2-40B4-BE49-F238E27FC236}">
                      <a16:creationId xmlns:a16="http://schemas.microsoft.com/office/drawing/2014/main" id="{06EFBBDE-A1EE-4FFA-AC94-F0AB7851E1BE}"/>
                    </a:ext>
                  </a:extLst>
                </p14:cNvPr>
                <p14:cNvContentPartPr/>
                <p14:nvPr/>
              </p14:nvContentPartPr>
              <p14:xfrm>
                <a:off x="6238942" y="6416219"/>
                <a:ext cx="43920" cy="10080"/>
              </p14:xfrm>
            </p:contentPart>
          </mc:Choice>
          <mc:Fallback xmlns="">
            <p:pic>
              <p:nvPicPr>
                <p:cNvPr id="36" name="Ink 35">
                  <a:extLst>
                    <a:ext uri="{FF2B5EF4-FFF2-40B4-BE49-F238E27FC236}">
                      <a16:creationId xmlns:a16="http://schemas.microsoft.com/office/drawing/2014/main" id="{06EFBBDE-A1EE-4FFA-AC94-F0AB7851E1BE}"/>
                    </a:ext>
                  </a:extLst>
                </p:cNvPr>
                <p:cNvPicPr/>
                <p:nvPr/>
              </p:nvPicPr>
              <p:blipFill>
                <a:blip r:embed="rId21"/>
                <a:stretch>
                  <a:fillRect/>
                </a:stretch>
              </p:blipFill>
              <p:spPr>
                <a:xfrm>
                  <a:off x="6203302" y="6380219"/>
                  <a:ext cx="115560" cy="817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37" name="Ink 36">
                  <a:extLst>
                    <a:ext uri="{FF2B5EF4-FFF2-40B4-BE49-F238E27FC236}">
                      <a16:creationId xmlns:a16="http://schemas.microsoft.com/office/drawing/2014/main" id="{42C245E4-BE2C-4F50-91E3-95F73377753D}"/>
                    </a:ext>
                  </a:extLst>
                </p14:cNvPr>
                <p14:cNvContentPartPr/>
                <p14:nvPr/>
              </p14:nvContentPartPr>
              <p14:xfrm>
                <a:off x="6281782" y="6388859"/>
                <a:ext cx="180000" cy="72000"/>
              </p14:xfrm>
            </p:contentPart>
          </mc:Choice>
          <mc:Fallback xmlns="">
            <p:pic>
              <p:nvPicPr>
                <p:cNvPr id="37" name="Ink 36">
                  <a:extLst>
                    <a:ext uri="{FF2B5EF4-FFF2-40B4-BE49-F238E27FC236}">
                      <a16:creationId xmlns:a16="http://schemas.microsoft.com/office/drawing/2014/main" id="{42C245E4-BE2C-4F50-91E3-95F73377753D}"/>
                    </a:ext>
                  </a:extLst>
                </p:cNvPr>
                <p:cNvPicPr/>
                <p:nvPr/>
              </p:nvPicPr>
              <p:blipFill>
                <a:blip r:embed="rId23"/>
                <a:stretch>
                  <a:fillRect/>
                </a:stretch>
              </p:blipFill>
              <p:spPr>
                <a:xfrm>
                  <a:off x="6245782" y="6352859"/>
                  <a:ext cx="251640" cy="14364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40" name="Ink 39">
                  <a:extLst>
                    <a:ext uri="{FF2B5EF4-FFF2-40B4-BE49-F238E27FC236}">
                      <a16:creationId xmlns:a16="http://schemas.microsoft.com/office/drawing/2014/main" id="{E0C9BD52-420F-471D-A435-FED4D91BFB42}"/>
                    </a:ext>
                  </a:extLst>
                </p14:cNvPr>
                <p14:cNvContentPartPr/>
                <p14:nvPr/>
              </p14:nvContentPartPr>
              <p14:xfrm>
                <a:off x="5890462" y="5902139"/>
                <a:ext cx="140760" cy="72360"/>
              </p14:xfrm>
            </p:contentPart>
          </mc:Choice>
          <mc:Fallback xmlns="">
            <p:pic>
              <p:nvPicPr>
                <p:cNvPr id="40" name="Ink 39">
                  <a:extLst>
                    <a:ext uri="{FF2B5EF4-FFF2-40B4-BE49-F238E27FC236}">
                      <a16:creationId xmlns:a16="http://schemas.microsoft.com/office/drawing/2014/main" id="{E0C9BD52-420F-471D-A435-FED4D91BFB42}"/>
                    </a:ext>
                  </a:extLst>
                </p:cNvPr>
                <p:cNvPicPr/>
                <p:nvPr/>
              </p:nvPicPr>
              <p:blipFill>
                <a:blip r:embed="rId25"/>
                <a:stretch>
                  <a:fillRect/>
                </a:stretch>
              </p:blipFill>
              <p:spPr>
                <a:xfrm>
                  <a:off x="5854822" y="5866139"/>
                  <a:ext cx="212400" cy="14400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42" name="Ink 41">
                  <a:extLst>
                    <a:ext uri="{FF2B5EF4-FFF2-40B4-BE49-F238E27FC236}">
                      <a16:creationId xmlns:a16="http://schemas.microsoft.com/office/drawing/2014/main" id="{E1963D9A-A28A-446A-88F0-9B91D6D10A26}"/>
                    </a:ext>
                  </a:extLst>
                </p14:cNvPr>
                <p14:cNvContentPartPr/>
                <p14:nvPr/>
              </p14:nvContentPartPr>
              <p14:xfrm>
                <a:off x="6636742" y="5939939"/>
                <a:ext cx="194040" cy="211320"/>
              </p14:xfrm>
            </p:contentPart>
          </mc:Choice>
          <mc:Fallback xmlns="">
            <p:pic>
              <p:nvPicPr>
                <p:cNvPr id="42" name="Ink 41">
                  <a:extLst>
                    <a:ext uri="{FF2B5EF4-FFF2-40B4-BE49-F238E27FC236}">
                      <a16:creationId xmlns:a16="http://schemas.microsoft.com/office/drawing/2014/main" id="{E1963D9A-A28A-446A-88F0-9B91D6D10A26}"/>
                    </a:ext>
                  </a:extLst>
                </p:cNvPr>
                <p:cNvPicPr/>
                <p:nvPr/>
              </p:nvPicPr>
              <p:blipFill>
                <a:blip r:embed="rId27"/>
                <a:stretch>
                  <a:fillRect/>
                </a:stretch>
              </p:blipFill>
              <p:spPr>
                <a:xfrm>
                  <a:off x="6600742" y="5903939"/>
                  <a:ext cx="265680" cy="28296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44" name="Ink 43">
                  <a:extLst>
                    <a:ext uri="{FF2B5EF4-FFF2-40B4-BE49-F238E27FC236}">
                      <a16:creationId xmlns:a16="http://schemas.microsoft.com/office/drawing/2014/main" id="{845D7588-39AA-4839-AD3A-B0A06021A938}"/>
                    </a:ext>
                  </a:extLst>
                </p14:cNvPr>
                <p14:cNvContentPartPr/>
                <p14:nvPr/>
              </p14:nvContentPartPr>
              <p14:xfrm>
                <a:off x="6954622" y="6104819"/>
                <a:ext cx="81000" cy="119520"/>
              </p14:xfrm>
            </p:contentPart>
          </mc:Choice>
          <mc:Fallback xmlns="">
            <p:pic>
              <p:nvPicPr>
                <p:cNvPr id="44" name="Ink 43">
                  <a:extLst>
                    <a:ext uri="{FF2B5EF4-FFF2-40B4-BE49-F238E27FC236}">
                      <a16:creationId xmlns:a16="http://schemas.microsoft.com/office/drawing/2014/main" id="{845D7588-39AA-4839-AD3A-B0A06021A938}"/>
                    </a:ext>
                  </a:extLst>
                </p:cNvPr>
                <p:cNvPicPr/>
                <p:nvPr/>
              </p:nvPicPr>
              <p:blipFill>
                <a:blip r:embed="rId29"/>
                <a:stretch>
                  <a:fillRect/>
                </a:stretch>
              </p:blipFill>
              <p:spPr>
                <a:xfrm>
                  <a:off x="6918622" y="6068819"/>
                  <a:ext cx="152640" cy="19116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45" name="Ink 44">
                  <a:extLst>
                    <a:ext uri="{FF2B5EF4-FFF2-40B4-BE49-F238E27FC236}">
                      <a16:creationId xmlns:a16="http://schemas.microsoft.com/office/drawing/2014/main" id="{74EE93D7-EDCE-4BB4-A2EE-632583E906D7}"/>
                    </a:ext>
                  </a:extLst>
                </p14:cNvPr>
                <p14:cNvContentPartPr/>
                <p14:nvPr/>
              </p14:nvContentPartPr>
              <p14:xfrm>
                <a:off x="7037062" y="6037139"/>
                <a:ext cx="7200" cy="33120"/>
              </p14:xfrm>
            </p:contentPart>
          </mc:Choice>
          <mc:Fallback xmlns="">
            <p:pic>
              <p:nvPicPr>
                <p:cNvPr id="45" name="Ink 44">
                  <a:extLst>
                    <a:ext uri="{FF2B5EF4-FFF2-40B4-BE49-F238E27FC236}">
                      <a16:creationId xmlns:a16="http://schemas.microsoft.com/office/drawing/2014/main" id="{74EE93D7-EDCE-4BB4-A2EE-632583E906D7}"/>
                    </a:ext>
                  </a:extLst>
                </p:cNvPr>
                <p:cNvPicPr/>
                <p:nvPr/>
              </p:nvPicPr>
              <p:blipFill>
                <a:blip r:embed="rId31"/>
                <a:stretch>
                  <a:fillRect/>
                </a:stretch>
              </p:blipFill>
              <p:spPr>
                <a:xfrm>
                  <a:off x="7001062" y="6001499"/>
                  <a:ext cx="78840" cy="104760"/>
                </a:xfrm>
                <a:prstGeom prst="rect">
                  <a:avLst/>
                </a:prstGeom>
              </p:spPr>
            </p:pic>
          </mc:Fallback>
        </mc:AlternateContent>
      </p:grpSp>
      <p:grpSp>
        <p:nvGrpSpPr>
          <p:cNvPr id="58" name="Group 57">
            <a:extLst>
              <a:ext uri="{FF2B5EF4-FFF2-40B4-BE49-F238E27FC236}">
                <a16:creationId xmlns:a16="http://schemas.microsoft.com/office/drawing/2014/main" id="{490E119E-50FD-4FAC-93B4-B8A069BBD96D}"/>
              </a:ext>
            </a:extLst>
          </p:cNvPr>
          <p:cNvGrpSpPr/>
          <p:nvPr/>
        </p:nvGrpSpPr>
        <p:grpSpPr>
          <a:xfrm>
            <a:off x="7641502" y="5869379"/>
            <a:ext cx="2676960" cy="343440"/>
            <a:chOff x="7641502" y="5869379"/>
            <a:chExt cx="2676960" cy="343440"/>
          </a:xfrm>
        </p:grpSpPr>
        <mc:AlternateContent xmlns:mc="http://schemas.openxmlformats.org/markup-compatibility/2006" xmlns:p14="http://schemas.microsoft.com/office/powerpoint/2010/main">
          <mc:Choice Requires="p14">
            <p:contentPart p14:bwMode="auto" r:id="rId32">
              <p14:nvContentPartPr>
                <p14:cNvPr id="47" name="Ink 46">
                  <a:extLst>
                    <a:ext uri="{FF2B5EF4-FFF2-40B4-BE49-F238E27FC236}">
                      <a16:creationId xmlns:a16="http://schemas.microsoft.com/office/drawing/2014/main" id="{1CDE7ED1-3F37-49DD-BCC0-AEEF1FFF64A0}"/>
                    </a:ext>
                  </a:extLst>
                </p14:cNvPr>
                <p14:cNvContentPartPr/>
                <p14:nvPr/>
              </p14:nvContentPartPr>
              <p14:xfrm>
                <a:off x="7641502" y="6041819"/>
                <a:ext cx="192240" cy="7200"/>
              </p14:xfrm>
            </p:contentPart>
          </mc:Choice>
          <mc:Fallback xmlns="">
            <p:pic>
              <p:nvPicPr>
                <p:cNvPr id="47" name="Ink 46">
                  <a:extLst>
                    <a:ext uri="{FF2B5EF4-FFF2-40B4-BE49-F238E27FC236}">
                      <a16:creationId xmlns:a16="http://schemas.microsoft.com/office/drawing/2014/main" id="{1CDE7ED1-3F37-49DD-BCC0-AEEF1FFF64A0}"/>
                    </a:ext>
                  </a:extLst>
                </p:cNvPr>
                <p:cNvPicPr/>
                <p:nvPr/>
              </p:nvPicPr>
              <p:blipFill>
                <a:blip r:embed="rId33"/>
                <a:stretch>
                  <a:fillRect/>
                </a:stretch>
              </p:blipFill>
              <p:spPr>
                <a:xfrm>
                  <a:off x="7605862" y="6005819"/>
                  <a:ext cx="263880" cy="7884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48" name="Ink 47">
                  <a:extLst>
                    <a:ext uri="{FF2B5EF4-FFF2-40B4-BE49-F238E27FC236}">
                      <a16:creationId xmlns:a16="http://schemas.microsoft.com/office/drawing/2014/main" id="{099EAA8A-BCC7-40F3-AC12-0E6CC6F1C504}"/>
                    </a:ext>
                  </a:extLst>
                </p14:cNvPr>
                <p14:cNvContentPartPr/>
                <p14:nvPr/>
              </p14:nvContentPartPr>
              <p14:xfrm>
                <a:off x="8022382" y="5932739"/>
                <a:ext cx="251280" cy="185400"/>
              </p14:xfrm>
            </p:contentPart>
          </mc:Choice>
          <mc:Fallback xmlns="">
            <p:pic>
              <p:nvPicPr>
                <p:cNvPr id="48" name="Ink 47">
                  <a:extLst>
                    <a:ext uri="{FF2B5EF4-FFF2-40B4-BE49-F238E27FC236}">
                      <a16:creationId xmlns:a16="http://schemas.microsoft.com/office/drawing/2014/main" id="{099EAA8A-BCC7-40F3-AC12-0E6CC6F1C504}"/>
                    </a:ext>
                  </a:extLst>
                </p:cNvPr>
                <p:cNvPicPr/>
                <p:nvPr/>
              </p:nvPicPr>
              <p:blipFill>
                <a:blip r:embed="rId35"/>
                <a:stretch>
                  <a:fillRect/>
                </a:stretch>
              </p:blipFill>
              <p:spPr>
                <a:xfrm>
                  <a:off x="7986742" y="5896739"/>
                  <a:ext cx="322920" cy="25704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49" name="Ink 48">
                  <a:extLst>
                    <a:ext uri="{FF2B5EF4-FFF2-40B4-BE49-F238E27FC236}">
                      <a16:creationId xmlns:a16="http://schemas.microsoft.com/office/drawing/2014/main" id="{5F6ADC55-840D-4192-BD44-2098B3EC8377}"/>
                    </a:ext>
                  </a:extLst>
                </p14:cNvPr>
                <p14:cNvContentPartPr/>
                <p14:nvPr/>
              </p14:nvContentPartPr>
              <p14:xfrm>
                <a:off x="8342422" y="5869379"/>
                <a:ext cx="383400" cy="274680"/>
              </p14:xfrm>
            </p:contentPart>
          </mc:Choice>
          <mc:Fallback xmlns="">
            <p:pic>
              <p:nvPicPr>
                <p:cNvPr id="49" name="Ink 48">
                  <a:extLst>
                    <a:ext uri="{FF2B5EF4-FFF2-40B4-BE49-F238E27FC236}">
                      <a16:creationId xmlns:a16="http://schemas.microsoft.com/office/drawing/2014/main" id="{5F6ADC55-840D-4192-BD44-2098B3EC8377}"/>
                    </a:ext>
                  </a:extLst>
                </p:cNvPr>
                <p:cNvPicPr/>
                <p:nvPr/>
              </p:nvPicPr>
              <p:blipFill>
                <a:blip r:embed="rId37"/>
                <a:stretch>
                  <a:fillRect/>
                </a:stretch>
              </p:blipFill>
              <p:spPr>
                <a:xfrm>
                  <a:off x="8306422" y="5833739"/>
                  <a:ext cx="455040" cy="34632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50" name="Ink 49">
                  <a:extLst>
                    <a:ext uri="{FF2B5EF4-FFF2-40B4-BE49-F238E27FC236}">
                      <a16:creationId xmlns:a16="http://schemas.microsoft.com/office/drawing/2014/main" id="{2CB742C4-A0CB-427F-AEB7-1FDD49231DE5}"/>
                    </a:ext>
                  </a:extLst>
                </p14:cNvPr>
                <p14:cNvContentPartPr/>
                <p14:nvPr/>
              </p14:nvContentPartPr>
              <p14:xfrm>
                <a:off x="8784862" y="5900339"/>
                <a:ext cx="70200" cy="285840"/>
              </p14:xfrm>
            </p:contentPart>
          </mc:Choice>
          <mc:Fallback xmlns="">
            <p:pic>
              <p:nvPicPr>
                <p:cNvPr id="50" name="Ink 49">
                  <a:extLst>
                    <a:ext uri="{FF2B5EF4-FFF2-40B4-BE49-F238E27FC236}">
                      <a16:creationId xmlns:a16="http://schemas.microsoft.com/office/drawing/2014/main" id="{2CB742C4-A0CB-427F-AEB7-1FDD49231DE5}"/>
                    </a:ext>
                  </a:extLst>
                </p:cNvPr>
                <p:cNvPicPr/>
                <p:nvPr/>
              </p:nvPicPr>
              <p:blipFill>
                <a:blip r:embed="rId39"/>
                <a:stretch>
                  <a:fillRect/>
                </a:stretch>
              </p:blipFill>
              <p:spPr>
                <a:xfrm>
                  <a:off x="8749222" y="5864699"/>
                  <a:ext cx="141840" cy="35748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51" name="Ink 50">
                  <a:extLst>
                    <a:ext uri="{FF2B5EF4-FFF2-40B4-BE49-F238E27FC236}">
                      <a16:creationId xmlns:a16="http://schemas.microsoft.com/office/drawing/2014/main" id="{10875EED-BC37-4065-96FB-5CF66D7FC4F9}"/>
                    </a:ext>
                  </a:extLst>
                </p14:cNvPr>
                <p14:cNvContentPartPr/>
                <p14:nvPr/>
              </p14:nvContentPartPr>
              <p14:xfrm>
                <a:off x="8888182" y="6013019"/>
                <a:ext cx="137880" cy="110520"/>
              </p14:xfrm>
            </p:contentPart>
          </mc:Choice>
          <mc:Fallback xmlns="">
            <p:pic>
              <p:nvPicPr>
                <p:cNvPr id="51" name="Ink 50">
                  <a:extLst>
                    <a:ext uri="{FF2B5EF4-FFF2-40B4-BE49-F238E27FC236}">
                      <a16:creationId xmlns:a16="http://schemas.microsoft.com/office/drawing/2014/main" id="{10875EED-BC37-4065-96FB-5CF66D7FC4F9}"/>
                    </a:ext>
                  </a:extLst>
                </p:cNvPr>
                <p:cNvPicPr/>
                <p:nvPr/>
              </p:nvPicPr>
              <p:blipFill>
                <a:blip r:embed="rId41"/>
                <a:stretch>
                  <a:fillRect/>
                </a:stretch>
              </p:blipFill>
              <p:spPr>
                <a:xfrm>
                  <a:off x="8852542" y="5977379"/>
                  <a:ext cx="209520" cy="18216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52" name="Ink 51">
                  <a:extLst>
                    <a:ext uri="{FF2B5EF4-FFF2-40B4-BE49-F238E27FC236}">
                      <a16:creationId xmlns:a16="http://schemas.microsoft.com/office/drawing/2014/main" id="{FFA827D1-C8DC-476E-B60D-AF39E44A7F92}"/>
                    </a:ext>
                  </a:extLst>
                </p14:cNvPr>
                <p14:cNvContentPartPr/>
                <p14:nvPr/>
              </p14:nvContentPartPr>
              <p14:xfrm>
                <a:off x="9132622" y="6016259"/>
                <a:ext cx="169560" cy="156960"/>
              </p14:xfrm>
            </p:contentPart>
          </mc:Choice>
          <mc:Fallback xmlns="">
            <p:pic>
              <p:nvPicPr>
                <p:cNvPr id="52" name="Ink 51">
                  <a:extLst>
                    <a:ext uri="{FF2B5EF4-FFF2-40B4-BE49-F238E27FC236}">
                      <a16:creationId xmlns:a16="http://schemas.microsoft.com/office/drawing/2014/main" id="{FFA827D1-C8DC-476E-B60D-AF39E44A7F92}"/>
                    </a:ext>
                  </a:extLst>
                </p:cNvPr>
                <p:cNvPicPr/>
                <p:nvPr/>
              </p:nvPicPr>
              <p:blipFill>
                <a:blip r:embed="rId43"/>
                <a:stretch>
                  <a:fillRect/>
                </a:stretch>
              </p:blipFill>
              <p:spPr>
                <a:xfrm>
                  <a:off x="9096982" y="5980619"/>
                  <a:ext cx="241200" cy="22860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3" name="Ink 52">
                  <a:extLst>
                    <a:ext uri="{FF2B5EF4-FFF2-40B4-BE49-F238E27FC236}">
                      <a16:creationId xmlns:a16="http://schemas.microsoft.com/office/drawing/2014/main" id="{61F6645A-FBB2-47EE-9A41-C1E776FA75ED}"/>
                    </a:ext>
                  </a:extLst>
                </p14:cNvPr>
                <p14:cNvContentPartPr/>
                <p14:nvPr/>
              </p14:nvContentPartPr>
              <p14:xfrm>
                <a:off x="9447622" y="6012299"/>
                <a:ext cx="108360" cy="127800"/>
              </p14:xfrm>
            </p:contentPart>
          </mc:Choice>
          <mc:Fallback xmlns="">
            <p:pic>
              <p:nvPicPr>
                <p:cNvPr id="53" name="Ink 52">
                  <a:extLst>
                    <a:ext uri="{FF2B5EF4-FFF2-40B4-BE49-F238E27FC236}">
                      <a16:creationId xmlns:a16="http://schemas.microsoft.com/office/drawing/2014/main" id="{61F6645A-FBB2-47EE-9A41-C1E776FA75ED}"/>
                    </a:ext>
                  </a:extLst>
                </p:cNvPr>
                <p:cNvPicPr/>
                <p:nvPr/>
              </p:nvPicPr>
              <p:blipFill>
                <a:blip r:embed="rId45"/>
                <a:stretch>
                  <a:fillRect/>
                </a:stretch>
              </p:blipFill>
              <p:spPr>
                <a:xfrm>
                  <a:off x="9411622" y="5976659"/>
                  <a:ext cx="180000" cy="19944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54" name="Ink 53">
                  <a:extLst>
                    <a:ext uri="{FF2B5EF4-FFF2-40B4-BE49-F238E27FC236}">
                      <a16:creationId xmlns:a16="http://schemas.microsoft.com/office/drawing/2014/main" id="{6F3D5EF1-7B75-478E-9B04-EFC04FB219CD}"/>
                    </a:ext>
                  </a:extLst>
                </p14:cNvPr>
                <p14:cNvContentPartPr/>
                <p14:nvPr/>
              </p14:nvContentPartPr>
              <p14:xfrm>
                <a:off x="9618982" y="6013379"/>
                <a:ext cx="127800" cy="147960"/>
              </p14:xfrm>
            </p:contentPart>
          </mc:Choice>
          <mc:Fallback xmlns="">
            <p:pic>
              <p:nvPicPr>
                <p:cNvPr id="54" name="Ink 53">
                  <a:extLst>
                    <a:ext uri="{FF2B5EF4-FFF2-40B4-BE49-F238E27FC236}">
                      <a16:creationId xmlns:a16="http://schemas.microsoft.com/office/drawing/2014/main" id="{6F3D5EF1-7B75-478E-9B04-EFC04FB219CD}"/>
                    </a:ext>
                  </a:extLst>
                </p:cNvPr>
                <p:cNvPicPr/>
                <p:nvPr/>
              </p:nvPicPr>
              <p:blipFill>
                <a:blip r:embed="rId47"/>
                <a:stretch>
                  <a:fillRect/>
                </a:stretch>
              </p:blipFill>
              <p:spPr>
                <a:xfrm>
                  <a:off x="9583342" y="5977379"/>
                  <a:ext cx="199440" cy="21960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55" name="Ink 54">
                  <a:extLst>
                    <a:ext uri="{FF2B5EF4-FFF2-40B4-BE49-F238E27FC236}">
                      <a16:creationId xmlns:a16="http://schemas.microsoft.com/office/drawing/2014/main" id="{23F5060E-70F6-4FCB-9F8C-EA66A6F9FFF7}"/>
                    </a:ext>
                  </a:extLst>
                </p14:cNvPr>
                <p14:cNvContentPartPr/>
                <p14:nvPr/>
              </p14:nvContentPartPr>
              <p14:xfrm>
                <a:off x="9770902" y="5993939"/>
                <a:ext cx="360720" cy="218880"/>
              </p14:xfrm>
            </p:contentPart>
          </mc:Choice>
          <mc:Fallback xmlns="">
            <p:pic>
              <p:nvPicPr>
                <p:cNvPr id="55" name="Ink 54">
                  <a:extLst>
                    <a:ext uri="{FF2B5EF4-FFF2-40B4-BE49-F238E27FC236}">
                      <a16:creationId xmlns:a16="http://schemas.microsoft.com/office/drawing/2014/main" id="{23F5060E-70F6-4FCB-9F8C-EA66A6F9FFF7}"/>
                    </a:ext>
                  </a:extLst>
                </p:cNvPr>
                <p:cNvPicPr/>
                <p:nvPr/>
              </p:nvPicPr>
              <p:blipFill>
                <a:blip r:embed="rId49"/>
                <a:stretch>
                  <a:fillRect/>
                </a:stretch>
              </p:blipFill>
              <p:spPr>
                <a:xfrm>
                  <a:off x="9735262" y="5957939"/>
                  <a:ext cx="432360" cy="29052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56" name="Ink 55">
                  <a:extLst>
                    <a:ext uri="{FF2B5EF4-FFF2-40B4-BE49-F238E27FC236}">
                      <a16:creationId xmlns:a16="http://schemas.microsoft.com/office/drawing/2014/main" id="{FA3CDB4F-7825-432E-99AB-F349F01A150C}"/>
                    </a:ext>
                  </a:extLst>
                </p14:cNvPr>
                <p14:cNvContentPartPr/>
                <p14:nvPr/>
              </p14:nvContentPartPr>
              <p14:xfrm>
                <a:off x="10206142" y="6071339"/>
                <a:ext cx="360" cy="360"/>
              </p14:xfrm>
            </p:contentPart>
          </mc:Choice>
          <mc:Fallback xmlns="">
            <p:pic>
              <p:nvPicPr>
                <p:cNvPr id="56" name="Ink 55">
                  <a:extLst>
                    <a:ext uri="{FF2B5EF4-FFF2-40B4-BE49-F238E27FC236}">
                      <a16:creationId xmlns:a16="http://schemas.microsoft.com/office/drawing/2014/main" id="{FA3CDB4F-7825-432E-99AB-F349F01A150C}"/>
                    </a:ext>
                  </a:extLst>
                </p:cNvPr>
                <p:cNvPicPr/>
                <p:nvPr/>
              </p:nvPicPr>
              <p:blipFill>
                <a:blip r:embed="rId51"/>
                <a:stretch>
                  <a:fillRect/>
                </a:stretch>
              </p:blipFill>
              <p:spPr>
                <a:xfrm>
                  <a:off x="10170502" y="6035699"/>
                  <a:ext cx="7200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57" name="Ink 56">
                  <a:extLst>
                    <a:ext uri="{FF2B5EF4-FFF2-40B4-BE49-F238E27FC236}">
                      <a16:creationId xmlns:a16="http://schemas.microsoft.com/office/drawing/2014/main" id="{FA6B58CD-78EB-4C63-87D2-AAA4BD789A1C}"/>
                    </a:ext>
                  </a:extLst>
                </p14:cNvPr>
                <p14:cNvContentPartPr/>
                <p14:nvPr/>
              </p14:nvContentPartPr>
              <p14:xfrm>
                <a:off x="10234942" y="6118139"/>
                <a:ext cx="83520" cy="1080"/>
              </p14:xfrm>
            </p:contentPart>
          </mc:Choice>
          <mc:Fallback xmlns="">
            <p:pic>
              <p:nvPicPr>
                <p:cNvPr id="57" name="Ink 56">
                  <a:extLst>
                    <a:ext uri="{FF2B5EF4-FFF2-40B4-BE49-F238E27FC236}">
                      <a16:creationId xmlns:a16="http://schemas.microsoft.com/office/drawing/2014/main" id="{FA6B58CD-78EB-4C63-87D2-AAA4BD789A1C}"/>
                    </a:ext>
                  </a:extLst>
                </p:cNvPr>
                <p:cNvPicPr/>
                <p:nvPr/>
              </p:nvPicPr>
              <p:blipFill>
                <a:blip r:embed="rId53"/>
                <a:stretch>
                  <a:fillRect/>
                </a:stretch>
              </p:blipFill>
              <p:spPr>
                <a:xfrm>
                  <a:off x="10198942" y="6082499"/>
                  <a:ext cx="155160" cy="72720"/>
                </a:xfrm>
                <a:prstGeom prst="rect">
                  <a:avLst/>
                </a:prstGeom>
              </p:spPr>
            </p:pic>
          </mc:Fallback>
        </mc:AlternateContent>
      </p:grpSp>
      <p:grpSp>
        <p:nvGrpSpPr>
          <p:cNvPr id="72" name="Group 71">
            <a:extLst>
              <a:ext uri="{FF2B5EF4-FFF2-40B4-BE49-F238E27FC236}">
                <a16:creationId xmlns:a16="http://schemas.microsoft.com/office/drawing/2014/main" id="{7C376DE5-C98B-43CE-BA18-4D234489BF11}"/>
              </a:ext>
            </a:extLst>
          </p:cNvPr>
          <p:cNvGrpSpPr/>
          <p:nvPr/>
        </p:nvGrpSpPr>
        <p:grpSpPr>
          <a:xfrm>
            <a:off x="10577302" y="5969099"/>
            <a:ext cx="1418040" cy="248760"/>
            <a:chOff x="10577302" y="5969099"/>
            <a:chExt cx="1418040" cy="248760"/>
          </a:xfrm>
        </p:grpSpPr>
        <mc:AlternateContent xmlns:mc="http://schemas.openxmlformats.org/markup-compatibility/2006" xmlns:p14="http://schemas.microsoft.com/office/powerpoint/2010/main">
          <mc:Choice Requires="p14">
            <p:contentPart p14:bwMode="auto" r:id="rId54">
              <p14:nvContentPartPr>
                <p14:cNvPr id="59" name="Ink 58">
                  <a:extLst>
                    <a:ext uri="{FF2B5EF4-FFF2-40B4-BE49-F238E27FC236}">
                      <a16:creationId xmlns:a16="http://schemas.microsoft.com/office/drawing/2014/main" id="{5A321D9E-9BAE-414E-A90E-0D3A16200F18}"/>
                    </a:ext>
                  </a:extLst>
                </p14:cNvPr>
                <p14:cNvContentPartPr/>
                <p14:nvPr/>
              </p14:nvContentPartPr>
              <p14:xfrm>
                <a:off x="10577302" y="5997179"/>
                <a:ext cx="208440" cy="152640"/>
              </p14:xfrm>
            </p:contentPart>
          </mc:Choice>
          <mc:Fallback xmlns="">
            <p:pic>
              <p:nvPicPr>
                <p:cNvPr id="59" name="Ink 58">
                  <a:extLst>
                    <a:ext uri="{FF2B5EF4-FFF2-40B4-BE49-F238E27FC236}">
                      <a16:creationId xmlns:a16="http://schemas.microsoft.com/office/drawing/2014/main" id="{5A321D9E-9BAE-414E-A90E-0D3A16200F18}"/>
                    </a:ext>
                  </a:extLst>
                </p:cNvPr>
                <p:cNvPicPr/>
                <p:nvPr/>
              </p:nvPicPr>
              <p:blipFill>
                <a:blip r:embed="rId55"/>
                <a:stretch>
                  <a:fillRect/>
                </a:stretch>
              </p:blipFill>
              <p:spPr>
                <a:xfrm>
                  <a:off x="10541662" y="5961539"/>
                  <a:ext cx="280080" cy="22428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60" name="Ink 59">
                  <a:extLst>
                    <a:ext uri="{FF2B5EF4-FFF2-40B4-BE49-F238E27FC236}">
                      <a16:creationId xmlns:a16="http://schemas.microsoft.com/office/drawing/2014/main" id="{208619A5-84D4-4F03-90B1-44D1DBAA2BC4}"/>
                    </a:ext>
                  </a:extLst>
                </p14:cNvPr>
                <p14:cNvContentPartPr/>
                <p14:nvPr/>
              </p14:nvContentPartPr>
              <p14:xfrm>
                <a:off x="10870342" y="6028139"/>
                <a:ext cx="213840" cy="161640"/>
              </p14:xfrm>
            </p:contentPart>
          </mc:Choice>
          <mc:Fallback xmlns="">
            <p:pic>
              <p:nvPicPr>
                <p:cNvPr id="60" name="Ink 59">
                  <a:extLst>
                    <a:ext uri="{FF2B5EF4-FFF2-40B4-BE49-F238E27FC236}">
                      <a16:creationId xmlns:a16="http://schemas.microsoft.com/office/drawing/2014/main" id="{208619A5-84D4-4F03-90B1-44D1DBAA2BC4}"/>
                    </a:ext>
                  </a:extLst>
                </p:cNvPr>
                <p:cNvPicPr/>
                <p:nvPr/>
              </p:nvPicPr>
              <p:blipFill>
                <a:blip r:embed="rId57"/>
                <a:stretch>
                  <a:fillRect/>
                </a:stretch>
              </p:blipFill>
              <p:spPr>
                <a:xfrm>
                  <a:off x="10834342" y="5992139"/>
                  <a:ext cx="285480" cy="23328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61" name="Ink 60">
                  <a:extLst>
                    <a:ext uri="{FF2B5EF4-FFF2-40B4-BE49-F238E27FC236}">
                      <a16:creationId xmlns:a16="http://schemas.microsoft.com/office/drawing/2014/main" id="{7BF4F89E-9FB4-4FFF-9C21-8F0621DB2979}"/>
                    </a:ext>
                  </a:extLst>
                </p14:cNvPr>
                <p14:cNvContentPartPr/>
                <p14:nvPr/>
              </p14:nvContentPartPr>
              <p14:xfrm>
                <a:off x="11162662" y="5975579"/>
                <a:ext cx="64800" cy="222480"/>
              </p14:xfrm>
            </p:contentPart>
          </mc:Choice>
          <mc:Fallback xmlns="">
            <p:pic>
              <p:nvPicPr>
                <p:cNvPr id="61" name="Ink 60">
                  <a:extLst>
                    <a:ext uri="{FF2B5EF4-FFF2-40B4-BE49-F238E27FC236}">
                      <a16:creationId xmlns:a16="http://schemas.microsoft.com/office/drawing/2014/main" id="{7BF4F89E-9FB4-4FFF-9C21-8F0621DB2979}"/>
                    </a:ext>
                  </a:extLst>
                </p:cNvPr>
                <p:cNvPicPr/>
                <p:nvPr/>
              </p:nvPicPr>
              <p:blipFill>
                <a:blip r:embed="rId59"/>
                <a:stretch>
                  <a:fillRect/>
                </a:stretch>
              </p:blipFill>
              <p:spPr>
                <a:xfrm>
                  <a:off x="11127022" y="5939579"/>
                  <a:ext cx="136440" cy="29412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62" name="Ink 61">
                  <a:extLst>
                    <a:ext uri="{FF2B5EF4-FFF2-40B4-BE49-F238E27FC236}">
                      <a16:creationId xmlns:a16="http://schemas.microsoft.com/office/drawing/2014/main" id="{6220778D-EE65-4A7E-84F3-1CC9B4FDB2E8}"/>
                    </a:ext>
                  </a:extLst>
                </p14:cNvPr>
                <p14:cNvContentPartPr/>
                <p14:nvPr/>
              </p14:nvContentPartPr>
              <p14:xfrm>
                <a:off x="11295862" y="6100859"/>
                <a:ext cx="23040" cy="11520"/>
              </p14:xfrm>
            </p:contentPart>
          </mc:Choice>
          <mc:Fallback xmlns="">
            <p:pic>
              <p:nvPicPr>
                <p:cNvPr id="62" name="Ink 61">
                  <a:extLst>
                    <a:ext uri="{FF2B5EF4-FFF2-40B4-BE49-F238E27FC236}">
                      <a16:creationId xmlns:a16="http://schemas.microsoft.com/office/drawing/2014/main" id="{6220778D-EE65-4A7E-84F3-1CC9B4FDB2E8}"/>
                    </a:ext>
                  </a:extLst>
                </p:cNvPr>
                <p:cNvPicPr/>
                <p:nvPr/>
              </p:nvPicPr>
              <p:blipFill>
                <a:blip r:embed="rId61"/>
                <a:stretch>
                  <a:fillRect/>
                </a:stretch>
              </p:blipFill>
              <p:spPr>
                <a:xfrm>
                  <a:off x="11259862" y="6064859"/>
                  <a:ext cx="94680" cy="8316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63" name="Ink 62">
                  <a:extLst>
                    <a:ext uri="{FF2B5EF4-FFF2-40B4-BE49-F238E27FC236}">
                      <a16:creationId xmlns:a16="http://schemas.microsoft.com/office/drawing/2014/main" id="{DB51D606-DE13-4110-B3F5-77E10B70481F}"/>
                    </a:ext>
                  </a:extLst>
                </p14:cNvPr>
                <p14:cNvContentPartPr/>
                <p14:nvPr/>
              </p14:nvContentPartPr>
              <p14:xfrm>
                <a:off x="11460382" y="5969099"/>
                <a:ext cx="126000" cy="171000"/>
              </p14:xfrm>
            </p:contentPart>
          </mc:Choice>
          <mc:Fallback xmlns="">
            <p:pic>
              <p:nvPicPr>
                <p:cNvPr id="63" name="Ink 62">
                  <a:extLst>
                    <a:ext uri="{FF2B5EF4-FFF2-40B4-BE49-F238E27FC236}">
                      <a16:creationId xmlns:a16="http://schemas.microsoft.com/office/drawing/2014/main" id="{DB51D606-DE13-4110-B3F5-77E10B70481F}"/>
                    </a:ext>
                  </a:extLst>
                </p:cNvPr>
                <p:cNvPicPr/>
                <p:nvPr/>
              </p:nvPicPr>
              <p:blipFill>
                <a:blip r:embed="rId63"/>
                <a:stretch>
                  <a:fillRect/>
                </a:stretch>
              </p:blipFill>
              <p:spPr>
                <a:xfrm>
                  <a:off x="11424742" y="5933459"/>
                  <a:ext cx="197640" cy="24264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64" name="Ink 63">
                  <a:extLst>
                    <a:ext uri="{FF2B5EF4-FFF2-40B4-BE49-F238E27FC236}">
                      <a16:creationId xmlns:a16="http://schemas.microsoft.com/office/drawing/2014/main" id="{43F11830-8B85-484E-AA86-63A5A9C0805E}"/>
                    </a:ext>
                  </a:extLst>
                </p14:cNvPr>
                <p14:cNvContentPartPr/>
                <p14:nvPr/>
              </p14:nvContentPartPr>
              <p14:xfrm>
                <a:off x="11587822" y="6055499"/>
                <a:ext cx="139320" cy="161640"/>
              </p14:xfrm>
            </p:contentPart>
          </mc:Choice>
          <mc:Fallback xmlns="">
            <p:pic>
              <p:nvPicPr>
                <p:cNvPr id="64" name="Ink 63">
                  <a:extLst>
                    <a:ext uri="{FF2B5EF4-FFF2-40B4-BE49-F238E27FC236}">
                      <a16:creationId xmlns:a16="http://schemas.microsoft.com/office/drawing/2014/main" id="{43F11830-8B85-484E-AA86-63A5A9C0805E}"/>
                    </a:ext>
                  </a:extLst>
                </p:cNvPr>
                <p:cNvPicPr/>
                <p:nvPr/>
              </p:nvPicPr>
              <p:blipFill>
                <a:blip r:embed="rId65"/>
                <a:stretch>
                  <a:fillRect/>
                </a:stretch>
              </p:blipFill>
              <p:spPr>
                <a:xfrm>
                  <a:off x="11551822" y="6019499"/>
                  <a:ext cx="210960" cy="23328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65" name="Ink 64">
                  <a:extLst>
                    <a:ext uri="{FF2B5EF4-FFF2-40B4-BE49-F238E27FC236}">
                      <a16:creationId xmlns:a16="http://schemas.microsoft.com/office/drawing/2014/main" id="{FF128547-DD97-4DF4-A88C-29B7615A2DEF}"/>
                    </a:ext>
                  </a:extLst>
                </p14:cNvPr>
                <p14:cNvContentPartPr/>
                <p14:nvPr/>
              </p14:nvContentPartPr>
              <p14:xfrm>
                <a:off x="11787262" y="6019139"/>
                <a:ext cx="128160" cy="198720"/>
              </p14:xfrm>
            </p:contentPart>
          </mc:Choice>
          <mc:Fallback xmlns="">
            <p:pic>
              <p:nvPicPr>
                <p:cNvPr id="65" name="Ink 64">
                  <a:extLst>
                    <a:ext uri="{FF2B5EF4-FFF2-40B4-BE49-F238E27FC236}">
                      <a16:creationId xmlns:a16="http://schemas.microsoft.com/office/drawing/2014/main" id="{FF128547-DD97-4DF4-A88C-29B7615A2DEF}"/>
                    </a:ext>
                  </a:extLst>
                </p:cNvPr>
                <p:cNvPicPr/>
                <p:nvPr/>
              </p:nvPicPr>
              <p:blipFill>
                <a:blip r:embed="rId67"/>
                <a:stretch>
                  <a:fillRect/>
                </a:stretch>
              </p:blipFill>
              <p:spPr>
                <a:xfrm>
                  <a:off x="11751622" y="5983139"/>
                  <a:ext cx="199800" cy="27036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66" name="Ink 65">
                  <a:extLst>
                    <a:ext uri="{FF2B5EF4-FFF2-40B4-BE49-F238E27FC236}">
                      <a16:creationId xmlns:a16="http://schemas.microsoft.com/office/drawing/2014/main" id="{1B4446E7-C499-46CA-8BD4-C3B8C98425CE}"/>
                    </a:ext>
                  </a:extLst>
                </p14:cNvPr>
                <p14:cNvContentPartPr/>
                <p14:nvPr/>
              </p14:nvContentPartPr>
              <p14:xfrm>
                <a:off x="11913262" y="6146219"/>
                <a:ext cx="82080" cy="11520"/>
              </p14:xfrm>
            </p:contentPart>
          </mc:Choice>
          <mc:Fallback xmlns="">
            <p:pic>
              <p:nvPicPr>
                <p:cNvPr id="66" name="Ink 65">
                  <a:extLst>
                    <a:ext uri="{FF2B5EF4-FFF2-40B4-BE49-F238E27FC236}">
                      <a16:creationId xmlns:a16="http://schemas.microsoft.com/office/drawing/2014/main" id="{1B4446E7-C499-46CA-8BD4-C3B8C98425CE}"/>
                    </a:ext>
                  </a:extLst>
                </p:cNvPr>
                <p:cNvPicPr/>
                <p:nvPr/>
              </p:nvPicPr>
              <p:blipFill>
                <a:blip r:embed="rId69"/>
                <a:stretch>
                  <a:fillRect/>
                </a:stretch>
              </p:blipFill>
              <p:spPr>
                <a:xfrm>
                  <a:off x="11877262" y="6110219"/>
                  <a:ext cx="153720" cy="83160"/>
                </a:xfrm>
                <a:prstGeom prst="rect">
                  <a:avLst/>
                </a:prstGeom>
              </p:spPr>
            </p:pic>
          </mc:Fallback>
        </mc:AlternateContent>
      </p:grpSp>
      <p:grpSp>
        <p:nvGrpSpPr>
          <p:cNvPr id="71" name="Group 70">
            <a:extLst>
              <a:ext uri="{FF2B5EF4-FFF2-40B4-BE49-F238E27FC236}">
                <a16:creationId xmlns:a16="http://schemas.microsoft.com/office/drawing/2014/main" id="{97E3D002-379B-4A6F-896E-E1C55DCE28BD}"/>
              </a:ext>
            </a:extLst>
          </p:cNvPr>
          <p:cNvGrpSpPr/>
          <p:nvPr/>
        </p:nvGrpSpPr>
        <p:grpSpPr>
          <a:xfrm>
            <a:off x="11292982" y="6367259"/>
            <a:ext cx="726840" cy="182160"/>
            <a:chOff x="11292982" y="6367259"/>
            <a:chExt cx="726840" cy="182160"/>
          </a:xfrm>
        </p:grpSpPr>
        <mc:AlternateContent xmlns:mc="http://schemas.openxmlformats.org/markup-compatibility/2006" xmlns:p14="http://schemas.microsoft.com/office/powerpoint/2010/main">
          <mc:Choice Requires="p14">
            <p:contentPart p14:bwMode="auto" r:id="rId70">
              <p14:nvContentPartPr>
                <p14:cNvPr id="67" name="Ink 66">
                  <a:extLst>
                    <a:ext uri="{FF2B5EF4-FFF2-40B4-BE49-F238E27FC236}">
                      <a16:creationId xmlns:a16="http://schemas.microsoft.com/office/drawing/2014/main" id="{71716422-3647-4505-8A14-C984AD231C88}"/>
                    </a:ext>
                  </a:extLst>
                </p14:cNvPr>
                <p14:cNvContentPartPr/>
                <p14:nvPr/>
              </p14:nvContentPartPr>
              <p14:xfrm>
                <a:off x="11292982" y="6367259"/>
                <a:ext cx="350640" cy="182160"/>
              </p14:xfrm>
            </p:contentPart>
          </mc:Choice>
          <mc:Fallback xmlns="">
            <p:pic>
              <p:nvPicPr>
                <p:cNvPr id="67" name="Ink 66">
                  <a:extLst>
                    <a:ext uri="{FF2B5EF4-FFF2-40B4-BE49-F238E27FC236}">
                      <a16:creationId xmlns:a16="http://schemas.microsoft.com/office/drawing/2014/main" id="{71716422-3647-4505-8A14-C984AD231C88}"/>
                    </a:ext>
                  </a:extLst>
                </p:cNvPr>
                <p:cNvPicPr/>
                <p:nvPr/>
              </p:nvPicPr>
              <p:blipFill>
                <a:blip r:embed="rId71"/>
                <a:stretch>
                  <a:fillRect/>
                </a:stretch>
              </p:blipFill>
              <p:spPr>
                <a:xfrm>
                  <a:off x="11256982" y="6331259"/>
                  <a:ext cx="422280" cy="25380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68" name="Ink 67">
                  <a:extLst>
                    <a:ext uri="{FF2B5EF4-FFF2-40B4-BE49-F238E27FC236}">
                      <a16:creationId xmlns:a16="http://schemas.microsoft.com/office/drawing/2014/main" id="{C344C07C-B750-4110-BBDD-4A4A7F9B2557}"/>
                    </a:ext>
                  </a:extLst>
                </p14:cNvPr>
                <p14:cNvContentPartPr/>
                <p14:nvPr/>
              </p14:nvContentPartPr>
              <p14:xfrm>
                <a:off x="11696542" y="6429179"/>
                <a:ext cx="31680" cy="65880"/>
              </p14:xfrm>
            </p:contentPart>
          </mc:Choice>
          <mc:Fallback xmlns="">
            <p:pic>
              <p:nvPicPr>
                <p:cNvPr id="68" name="Ink 67">
                  <a:extLst>
                    <a:ext uri="{FF2B5EF4-FFF2-40B4-BE49-F238E27FC236}">
                      <a16:creationId xmlns:a16="http://schemas.microsoft.com/office/drawing/2014/main" id="{C344C07C-B750-4110-BBDD-4A4A7F9B2557}"/>
                    </a:ext>
                  </a:extLst>
                </p:cNvPr>
                <p:cNvPicPr/>
                <p:nvPr/>
              </p:nvPicPr>
              <p:blipFill>
                <a:blip r:embed="rId73"/>
                <a:stretch>
                  <a:fillRect/>
                </a:stretch>
              </p:blipFill>
              <p:spPr>
                <a:xfrm>
                  <a:off x="11660542" y="6393539"/>
                  <a:ext cx="103320" cy="13752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69" name="Ink 68">
                  <a:extLst>
                    <a:ext uri="{FF2B5EF4-FFF2-40B4-BE49-F238E27FC236}">
                      <a16:creationId xmlns:a16="http://schemas.microsoft.com/office/drawing/2014/main" id="{46209486-F886-481B-8299-8A11A1DB78C7}"/>
                    </a:ext>
                  </a:extLst>
                </p14:cNvPr>
                <p14:cNvContentPartPr/>
                <p14:nvPr/>
              </p14:nvContentPartPr>
              <p14:xfrm>
                <a:off x="11687902" y="6380939"/>
                <a:ext cx="277920" cy="90360"/>
              </p14:xfrm>
            </p:contentPart>
          </mc:Choice>
          <mc:Fallback xmlns="">
            <p:pic>
              <p:nvPicPr>
                <p:cNvPr id="69" name="Ink 68">
                  <a:extLst>
                    <a:ext uri="{FF2B5EF4-FFF2-40B4-BE49-F238E27FC236}">
                      <a16:creationId xmlns:a16="http://schemas.microsoft.com/office/drawing/2014/main" id="{46209486-F886-481B-8299-8A11A1DB78C7}"/>
                    </a:ext>
                  </a:extLst>
                </p:cNvPr>
                <p:cNvPicPr/>
                <p:nvPr/>
              </p:nvPicPr>
              <p:blipFill>
                <a:blip r:embed="rId75"/>
                <a:stretch>
                  <a:fillRect/>
                </a:stretch>
              </p:blipFill>
              <p:spPr>
                <a:xfrm>
                  <a:off x="11652262" y="6345299"/>
                  <a:ext cx="349560" cy="1620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70" name="Ink 69">
                  <a:extLst>
                    <a:ext uri="{FF2B5EF4-FFF2-40B4-BE49-F238E27FC236}">
                      <a16:creationId xmlns:a16="http://schemas.microsoft.com/office/drawing/2014/main" id="{3048582F-41CA-43F3-910A-EAD7FAB12B79}"/>
                    </a:ext>
                  </a:extLst>
                </p14:cNvPr>
                <p14:cNvContentPartPr/>
                <p14:nvPr/>
              </p14:nvContentPartPr>
              <p14:xfrm>
                <a:off x="11916142" y="6371219"/>
                <a:ext cx="103680" cy="137880"/>
              </p14:xfrm>
            </p:contentPart>
          </mc:Choice>
          <mc:Fallback xmlns="">
            <p:pic>
              <p:nvPicPr>
                <p:cNvPr id="70" name="Ink 69">
                  <a:extLst>
                    <a:ext uri="{FF2B5EF4-FFF2-40B4-BE49-F238E27FC236}">
                      <a16:creationId xmlns:a16="http://schemas.microsoft.com/office/drawing/2014/main" id="{3048582F-41CA-43F3-910A-EAD7FAB12B79}"/>
                    </a:ext>
                  </a:extLst>
                </p:cNvPr>
                <p:cNvPicPr/>
                <p:nvPr/>
              </p:nvPicPr>
              <p:blipFill>
                <a:blip r:embed="rId77"/>
                <a:stretch>
                  <a:fillRect/>
                </a:stretch>
              </p:blipFill>
              <p:spPr>
                <a:xfrm>
                  <a:off x="11880502" y="6335579"/>
                  <a:ext cx="175320" cy="20952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78">
            <p14:nvContentPartPr>
              <p14:cNvPr id="2" name="Ink 1">
                <a:extLst>
                  <a:ext uri="{FF2B5EF4-FFF2-40B4-BE49-F238E27FC236}">
                    <a16:creationId xmlns:a16="http://schemas.microsoft.com/office/drawing/2014/main" id="{3E7F05E8-6B66-BD24-6289-82FA86A366D2}"/>
                  </a:ext>
                </a:extLst>
              </p14:cNvPr>
              <p14:cNvContentPartPr/>
              <p14:nvPr/>
            </p14:nvContentPartPr>
            <p14:xfrm>
              <a:off x="5966867" y="36400"/>
              <a:ext cx="6480" cy="18720"/>
            </p14:xfrm>
          </p:contentPart>
        </mc:Choice>
        <mc:Fallback xmlns="">
          <p:pic>
            <p:nvPicPr>
              <p:cNvPr id="2" name="Ink 1">
                <a:extLst>
                  <a:ext uri="{FF2B5EF4-FFF2-40B4-BE49-F238E27FC236}">
                    <a16:creationId xmlns:a16="http://schemas.microsoft.com/office/drawing/2014/main" id="{3E7F05E8-6B66-BD24-6289-82FA86A366D2}"/>
                  </a:ext>
                </a:extLst>
              </p:cNvPr>
              <p:cNvPicPr/>
              <p:nvPr/>
            </p:nvPicPr>
            <p:blipFill>
              <a:blip r:embed="rId79"/>
              <a:stretch>
                <a:fillRect/>
              </a:stretch>
            </p:blipFill>
            <p:spPr>
              <a:xfrm>
                <a:off x="5958227" y="27400"/>
                <a:ext cx="24120" cy="3636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3" name="Ink 2">
                <a:extLst>
                  <a:ext uri="{FF2B5EF4-FFF2-40B4-BE49-F238E27FC236}">
                    <a16:creationId xmlns:a16="http://schemas.microsoft.com/office/drawing/2014/main" id="{045A9DF9-2BBE-B4F9-7100-BAFEFA477BD7}"/>
                  </a:ext>
                </a:extLst>
              </p14:cNvPr>
              <p14:cNvContentPartPr/>
              <p14:nvPr/>
            </p14:nvContentPartPr>
            <p14:xfrm>
              <a:off x="3570707" y="2748640"/>
              <a:ext cx="360" cy="360"/>
            </p14:xfrm>
          </p:contentPart>
        </mc:Choice>
        <mc:Fallback xmlns="">
          <p:pic>
            <p:nvPicPr>
              <p:cNvPr id="3" name="Ink 2">
                <a:extLst>
                  <a:ext uri="{FF2B5EF4-FFF2-40B4-BE49-F238E27FC236}">
                    <a16:creationId xmlns:a16="http://schemas.microsoft.com/office/drawing/2014/main" id="{045A9DF9-2BBE-B4F9-7100-BAFEFA477BD7}"/>
                  </a:ext>
                </a:extLst>
              </p:cNvPr>
              <p:cNvPicPr/>
              <p:nvPr/>
            </p:nvPicPr>
            <p:blipFill>
              <a:blip r:embed="rId81"/>
              <a:stretch>
                <a:fillRect/>
              </a:stretch>
            </p:blipFill>
            <p:spPr>
              <a:xfrm>
                <a:off x="3561707" y="273964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5" name="Ink 4">
                <a:extLst>
                  <a:ext uri="{FF2B5EF4-FFF2-40B4-BE49-F238E27FC236}">
                    <a16:creationId xmlns:a16="http://schemas.microsoft.com/office/drawing/2014/main" id="{FDF840E0-702E-5C4C-5733-B5942FDF6DFD}"/>
                  </a:ext>
                </a:extLst>
              </p14:cNvPr>
              <p14:cNvContentPartPr/>
              <p14:nvPr/>
            </p14:nvContentPartPr>
            <p14:xfrm>
              <a:off x="1780720" y="2488360"/>
              <a:ext cx="2761920" cy="381240"/>
            </p14:xfrm>
          </p:contentPart>
        </mc:Choice>
        <mc:Fallback xmlns="">
          <p:pic>
            <p:nvPicPr>
              <p:cNvPr id="5" name="Ink 4">
                <a:extLst>
                  <a:ext uri="{FF2B5EF4-FFF2-40B4-BE49-F238E27FC236}">
                    <a16:creationId xmlns:a16="http://schemas.microsoft.com/office/drawing/2014/main" id="{FDF840E0-702E-5C4C-5733-B5942FDF6DFD}"/>
                  </a:ext>
                </a:extLst>
              </p:cNvPr>
              <p:cNvPicPr/>
              <p:nvPr/>
            </p:nvPicPr>
            <p:blipFill>
              <a:blip r:embed="rId83"/>
              <a:stretch>
                <a:fillRect/>
              </a:stretch>
            </p:blipFill>
            <p:spPr>
              <a:xfrm>
                <a:off x="1772080" y="2479720"/>
                <a:ext cx="2779560" cy="398880"/>
              </a:xfrm>
              <a:prstGeom prst="rect">
                <a:avLst/>
              </a:prstGeom>
            </p:spPr>
          </p:pic>
        </mc:Fallback>
      </mc:AlternateContent>
    </p:spTree>
    <p:extLst>
      <p:ext uri="{BB962C8B-B14F-4D97-AF65-F5344CB8AC3E}">
        <p14:creationId xmlns:p14="http://schemas.microsoft.com/office/powerpoint/2010/main" val="10869564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A82A69-4174-4C0E-8005-C3E00AFFB8F3}"/>
              </a:ext>
            </a:extLst>
          </p:cNvPr>
          <p:cNvGraphicFramePr>
            <a:graphicFrameLocks noChangeAspect="1"/>
          </p:cNvGraphicFramePr>
          <p:nvPr>
            <p:custDataLst>
              <p:tags r:id="rId1"/>
            </p:custDataLst>
            <p:extLst>
              <p:ext uri="{D42A27DB-BD31-4B8C-83A1-F6EECF244321}">
                <p14:modId xmlns:p14="http://schemas.microsoft.com/office/powerpoint/2010/main" val="3338924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F6A82A69-4174-4C0E-8005-C3E00AFFB8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15D10EE8-7E18-41BD-B742-4105EFB8A13D}"/>
              </a:ext>
            </a:extLst>
          </p:cNvPr>
          <p:cNvSpPr>
            <a:spLocks noGrp="1"/>
          </p:cNvSpPr>
          <p:nvPr>
            <p:ph type="title"/>
          </p:nvPr>
        </p:nvSpPr>
        <p:spPr>
          <a:xfrm>
            <a:off x="147637" y="92147"/>
            <a:ext cx="11896725" cy="615950"/>
          </a:xfrm>
        </p:spPr>
        <p:txBody>
          <a:bodyPr vert="horz">
            <a:normAutofit fontScale="90000"/>
          </a:bodyPr>
          <a:lstStyle/>
          <a:p>
            <a:r>
              <a:rPr lang="en-US" b="1" dirty="0" err="1">
                <a:solidFill>
                  <a:schemeClr val="accent1"/>
                </a:solidFill>
              </a:rPr>
              <a:t>GloVe</a:t>
            </a:r>
            <a:r>
              <a:rPr lang="en-US" b="1" dirty="0">
                <a:solidFill>
                  <a:schemeClr val="accent1"/>
                </a:solidFill>
              </a:rPr>
              <a:t> – </a:t>
            </a:r>
            <a:r>
              <a:rPr lang="en-US" dirty="0">
                <a:solidFill>
                  <a:schemeClr val="accent1"/>
                </a:solidFill>
              </a:rPr>
              <a:t>Co-occurrence Probabilities Intuition</a:t>
            </a:r>
          </a:p>
        </p:txBody>
      </p:sp>
      <p:pic>
        <p:nvPicPr>
          <p:cNvPr id="18" name="Picture 17">
            <a:extLst>
              <a:ext uri="{FF2B5EF4-FFF2-40B4-BE49-F238E27FC236}">
                <a16:creationId xmlns:a16="http://schemas.microsoft.com/office/drawing/2014/main" id="{F90CC633-7A00-4344-B055-E5CE6BA74E2D}"/>
              </a:ext>
            </a:extLst>
          </p:cNvPr>
          <p:cNvPicPr>
            <a:picLocks noChangeAspect="1"/>
          </p:cNvPicPr>
          <p:nvPr/>
        </p:nvPicPr>
        <p:blipFill>
          <a:blip r:embed="rId5"/>
          <a:stretch>
            <a:fillRect/>
          </a:stretch>
        </p:blipFill>
        <p:spPr>
          <a:xfrm>
            <a:off x="147636" y="708097"/>
            <a:ext cx="11896725" cy="6054069"/>
          </a:xfrm>
          <a:prstGeom prst="rect">
            <a:avLst/>
          </a:prstGeom>
        </p:spPr>
      </p:pic>
    </p:spTree>
    <p:extLst>
      <p:ext uri="{BB962C8B-B14F-4D97-AF65-F5344CB8AC3E}">
        <p14:creationId xmlns:p14="http://schemas.microsoft.com/office/powerpoint/2010/main" val="31612404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2DE97D5-6D9C-468A-A354-F56866DE5F50}"/>
              </a:ext>
            </a:extLst>
          </p:cNvPr>
          <p:cNvGraphicFramePr>
            <a:graphicFrameLocks noChangeAspect="1"/>
          </p:cNvGraphicFramePr>
          <p:nvPr>
            <p:custDataLst>
              <p:tags r:id="rId1"/>
            </p:custDataLst>
            <p:extLst>
              <p:ext uri="{D42A27DB-BD31-4B8C-83A1-F6EECF244321}">
                <p14:modId xmlns:p14="http://schemas.microsoft.com/office/powerpoint/2010/main" val="3766611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12DE97D5-6D9C-468A-A354-F56866DE5F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62F72FFC-84FD-4A33-9982-CAFB999696EF}"/>
              </a:ext>
            </a:extLst>
          </p:cNvPr>
          <p:cNvSpPr>
            <a:spLocks noGrp="1"/>
          </p:cNvSpPr>
          <p:nvPr>
            <p:ph type="title"/>
          </p:nvPr>
        </p:nvSpPr>
        <p:spPr>
          <a:xfrm>
            <a:off x="147637" y="92147"/>
            <a:ext cx="11896725" cy="615950"/>
          </a:xfrm>
        </p:spPr>
        <p:txBody>
          <a:bodyPr vert="horz">
            <a:normAutofit fontScale="90000"/>
          </a:bodyPr>
          <a:lstStyle/>
          <a:p>
            <a:r>
              <a:rPr lang="en-US" b="1" dirty="0" err="1">
                <a:solidFill>
                  <a:schemeClr val="accent1"/>
                </a:solidFill>
              </a:rPr>
              <a:t>GloVe</a:t>
            </a:r>
            <a:r>
              <a:rPr lang="en-US" b="1" dirty="0">
                <a:solidFill>
                  <a:schemeClr val="accent1"/>
                </a:solidFill>
              </a:rPr>
              <a:t> – </a:t>
            </a:r>
            <a:r>
              <a:rPr lang="en-US" dirty="0">
                <a:solidFill>
                  <a:schemeClr val="accent1"/>
                </a:solidFill>
              </a:rPr>
              <a:t>Co-occurrence Probabilities Intuition</a:t>
            </a:r>
          </a:p>
        </p:txBody>
      </p:sp>
      <p:pic>
        <p:nvPicPr>
          <p:cNvPr id="10" name="Picture 9">
            <a:extLst>
              <a:ext uri="{FF2B5EF4-FFF2-40B4-BE49-F238E27FC236}">
                <a16:creationId xmlns:a16="http://schemas.microsoft.com/office/drawing/2014/main" id="{A55565DC-9DBA-4C06-99D4-FAB29EEE3556}"/>
              </a:ext>
            </a:extLst>
          </p:cNvPr>
          <p:cNvPicPr>
            <a:picLocks noChangeAspect="1"/>
          </p:cNvPicPr>
          <p:nvPr/>
        </p:nvPicPr>
        <p:blipFill>
          <a:blip r:embed="rId5"/>
          <a:stretch>
            <a:fillRect/>
          </a:stretch>
        </p:blipFill>
        <p:spPr>
          <a:xfrm>
            <a:off x="301857" y="833384"/>
            <a:ext cx="11115675" cy="5581650"/>
          </a:xfrm>
          <a:prstGeom prst="rect">
            <a:avLst/>
          </a:prstGeom>
        </p:spPr>
      </p:pic>
      <p:grpSp>
        <p:nvGrpSpPr>
          <p:cNvPr id="36" name="Group 35">
            <a:extLst>
              <a:ext uri="{FF2B5EF4-FFF2-40B4-BE49-F238E27FC236}">
                <a16:creationId xmlns:a16="http://schemas.microsoft.com/office/drawing/2014/main" id="{B7D25229-36B3-49AD-A336-06672983A02E}"/>
              </a:ext>
            </a:extLst>
          </p:cNvPr>
          <p:cNvGrpSpPr/>
          <p:nvPr/>
        </p:nvGrpSpPr>
        <p:grpSpPr>
          <a:xfrm>
            <a:off x="8891422" y="4484819"/>
            <a:ext cx="2321280" cy="1166040"/>
            <a:chOff x="8891422" y="4484819"/>
            <a:chExt cx="2321280" cy="1166040"/>
          </a:xfrm>
        </p:grpSpPr>
        <mc:AlternateContent xmlns:mc="http://schemas.openxmlformats.org/markup-compatibility/2006" xmlns:p14="http://schemas.microsoft.com/office/powerpoint/2010/main">
          <mc:Choice Requires="p14">
            <p:contentPart p14:bwMode="auto" r:id="rId6">
              <p14:nvContentPartPr>
                <p14:cNvPr id="14" name="Ink 13">
                  <a:extLst>
                    <a:ext uri="{FF2B5EF4-FFF2-40B4-BE49-F238E27FC236}">
                      <a16:creationId xmlns:a16="http://schemas.microsoft.com/office/drawing/2014/main" id="{C5592FCC-2A05-4EC2-90DC-66D9D6CE77E2}"/>
                    </a:ext>
                  </a:extLst>
                </p14:cNvPr>
                <p14:cNvContentPartPr/>
                <p14:nvPr/>
              </p14:nvContentPartPr>
              <p14:xfrm>
                <a:off x="8891422" y="4484819"/>
                <a:ext cx="2079000" cy="375120"/>
              </p14:xfrm>
            </p:contentPart>
          </mc:Choice>
          <mc:Fallback xmlns="">
            <p:pic>
              <p:nvPicPr>
                <p:cNvPr id="14" name="Ink 13">
                  <a:extLst>
                    <a:ext uri="{FF2B5EF4-FFF2-40B4-BE49-F238E27FC236}">
                      <a16:creationId xmlns:a16="http://schemas.microsoft.com/office/drawing/2014/main" id="{C5592FCC-2A05-4EC2-90DC-66D9D6CE77E2}"/>
                    </a:ext>
                  </a:extLst>
                </p:cNvPr>
                <p:cNvPicPr/>
                <p:nvPr/>
              </p:nvPicPr>
              <p:blipFill>
                <a:blip r:embed="rId7"/>
                <a:stretch>
                  <a:fillRect/>
                </a:stretch>
              </p:blipFill>
              <p:spPr>
                <a:xfrm>
                  <a:off x="8873422" y="4467179"/>
                  <a:ext cx="2114640" cy="4107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5" name="Ink 14">
                  <a:extLst>
                    <a:ext uri="{FF2B5EF4-FFF2-40B4-BE49-F238E27FC236}">
                      <a16:creationId xmlns:a16="http://schemas.microsoft.com/office/drawing/2014/main" id="{5A430E64-8BCD-437E-8266-0E78248236A4}"/>
                    </a:ext>
                  </a:extLst>
                </p14:cNvPr>
                <p14:cNvContentPartPr/>
                <p14:nvPr/>
              </p14:nvContentPartPr>
              <p14:xfrm>
                <a:off x="9691342" y="4870019"/>
                <a:ext cx="55800" cy="304920"/>
              </p14:xfrm>
            </p:contentPart>
          </mc:Choice>
          <mc:Fallback xmlns="">
            <p:pic>
              <p:nvPicPr>
                <p:cNvPr id="15" name="Ink 14">
                  <a:extLst>
                    <a:ext uri="{FF2B5EF4-FFF2-40B4-BE49-F238E27FC236}">
                      <a16:creationId xmlns:a16="http://schemas.microsoft.com/office/drawing/2014/main" id="{5A430E64-8BCD-437E-8266-0E78248236A4}"/>
                    </a:ext>
                  </a:extLst>
                </p:cNvPr>
                <p:cNvPicPr/>
                <p:nvPr/>
              </p:nvPicPr>
              <p:blipFill>
                <a:blip r:embed="rId9"/>
                <a:stretch>
                  <a:fillRect/>
                </a:stretch>
              </p:blipFill>
              <p:spPr>
                <a:xfrm>
                  <a:off x="9673342" y="4852019"/>
                  <a:ext cx="91440" cy="34056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6" name="Ink 15">
                  <a:extLst>
                    <a:ext uri="{FF2B5EF4-FFF2-40B4-BE49-F238E27FC236}">
                      <a16:creationId xmlns:a16="http://schemas.microsoft.com/office/drawing/2014/main" id="{26B99BF6-28FB-4D16-AA10-42FDDAC3280C}"/>
                    </a:ext>
                  </a:extLst>
                </p14:cNvPr>
                <p14:cNvContentPartPr/>
                <p14:nvPr/>
              </p14:nvContentPartPr>
              <p14:xfrm>
                <a:off x="9576502" y="5041379"/>
                <a:ext cx="290880" cy="160560"/>
              </p14:xfrm>
            </p:contentPart>
          </mc:Choice>
          <mc:Fallback xmlns="">
            <p:pic>
              <p:nvPicPr>
                <p:cNvPr id="16" name="Ink 15">
                  <a:extLst>
                    <a:ext uri="{FF2B5EF4-FFF2-40B4-BE49-F238E27FC236}">
                      <a16:creationId xmlns:a16="http://schemas.microsoft.com/office/drawing/2014/main" id="{26B99BF6-28FB-4D16-AA10-42FDDAC3280C}"/>
                    </a:ext>
                  </a:extLst>
                </p:cNvPr>
                <p:cNvPicPr/>
                <p:nvPr/>
              </p:nvPicPr>
              <p:blipFill>
                <a:blip r:embed="rId11"/>
                <a:stretch>
                  <a:fillRect/>
                </a:stretch>
              </p:blipFill>
              <p:spPr>
                <a:xfrm>
                  <a:off x="9558502" y="5023379"/>
                  <a:ext cx="326520" cy="1962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8" name="Ink 17">
                  <a:extLst>
                    <a:ext uri="{FF2B5EF4-FFF2-40B4-BE49-F238E27FC236}">
                      <a16:creationId xmlns:a16="http://schemas.microsoft.com/office/drawing/2014/main" id="{2AD07AC0-CF00-42D1-B184-616EFBDF7203}"/>
                    </a:ext>
                  </a:extLst>
                </p14:cNvPr>
                <p14:cNvContentPartPr/>
                <p14:nvPr/>
              </p14:nvContentPartPr>
              <p14:xfrm>
                <a:off x="9058822" y="5312099"/>
                <a:ext cx="309600" cy="296640"/>
              </p14:xfrm>
            </p:contentPart>
          </mc:Choice>
          <mc:Fallback xmlns="">
            <p:pic>
              <p:nvPicPr>
                <p:cNvPr id="18" name="Ink 17">
                  <a:extLst>
                    <a:ext uri="{FF2B5EF4-FFF2-40B4-BE49-F238E27FC236}">
                      <a16:creationId xmlns:a16="http://schemas.microsoft.com/office/drawing/2014/main" id="{2AD07AC0-CF00-42D1-B184-616EFBDF7203}"/>
                    </a:ext>
                  </a:extLst>
                </p:cNvPr>
                <p:cNvPicPr/>
                <p:nvPr/>
              </p:nvPicPr>
              <p:blipFill>
                <a:blip r:embed="rId13"/>
                <a:stretch>
                  <a:fillRect/>
                </a:stretch>
              </p:blipFill>
              <p:spPr>
                <a:xfrm>
                  <a:off x="9041182" y="5294459"/>
                  <a:ext cx="345240" cy="3322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9" name="Ink 18">
                  <a:extLst>
                    <a:ext uri="{FF2B5EF4-FFF2-40B4-BE49-F238E27FC236}">
                      <a16:creationId xmlns:a16="http://schemas.microsoft.com/office/drawing/2014/main" id="{84144BAD-3D1A-4FBA-A7CB-D2EB2E77572E}"/>
                    </a:ext>
                  </a:extLst>
                </p14:cNvPr>
                <p14:cNvContentPartPr/>
                <p14:nvPr/>
              </p14:nvContentPartPr>
              <p14:xfrm>
                <a:off x="9431782" y="5322899"/>
                <a:ext cx="23040" cy="309960"/>
              </p14:xfrm>
            </p:contentPart>
          </mc:Choice>
          <mc:Fallback xmlns="">
            <p:pic>
              <p:nvPicPr>
                <p:cNvPr id="19" name="Ink 18">
                  <a:extLst>
                    <a:ext uri="{FF2B5EF4-FFF2-40B4-BE49-F238E27FC236}">
                      <a16:creationId xmlns:a16="http://schemas.microsoft.com/office/drawing/2014/main" id="{84144BAD-3D1A-4FBA-A7CB-D2EB2E77572E}"/>
                    </a:ext>
                  </a:extLst>
                </p:cNvPr>
                <p:cNvPicPr/>
                <p:nvPr/>
              </p:nvPicPr>
              <p:blipFill>
                <a:blip r:embed="rId15"/>
                <a:stretch>
                  <a:fillRect/>
                </a:stretch>
              </p:blipFill>
              <p:spPr>
                <a:xfrm>
                  <a:off x="9413782" y="5304899"/>
                  <a:ext cx="58680" cy="34560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0" name="Ink 19">
                  <a:extLst>
                    <a:ext uri="{FF2B5EF4-FFF2-40B4-BE49-F238E27FC236}">
                      <a16:creationId xmlns:a16="http://schemas.microsoft.com/office/drawing/2014/main" id="{D21765A7-BA6A-42D2-8DA9-2A3CDB4686DC}"/>
                    </a:ext>
                  </a:extLst>
                </p14:cNvPr>
                <p14:cNvContentPartPr/>
                <p14:nvPr/>
              </p14:nvContentPartPr>
              <p14:xfrm>
                <a:off x="9495502" y="5452139"/>
                <a:ext cx="155880" cy="143640"/>
              </p14:xfrm>
            </p:contentPart>
          </mc:Choice>
          <mc:Fallback xmlns="">
            <p:pic>
              <p:nvPicPr>
                <p:cNvPr id="20" name="Ink 19">
                  <a:extLst>
                    <a:ext uri="{FF2B5EF4-FFF2-40B4-BE49-F238E27FC236}">
                      <a16:creationId xmlns:a16="http://schemas.microsoft.com/office/drawing/2014/main" id="{D21765A7-BA6A-42D2-8DA9-2A3CDB4686DC}"/>
                    </a:ext>
                  </a:extLst>
                </p:cNvPr>
                <p:cNvPicPr/>
                <p:nvPr/>
              </p:nvPicPr>
              <p:blipFill>
                <a:blip r:embed="rId17"/>
                <a:stretch>
                  <a:fillRect/>
                </a:stretch>
              </p:blipFill>
              <p:spPr>
                <a:xfrm>
                  <a:off x="9477862" y="5434139"/>
                  <a:ext cx="191520" cy="17928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1" name="Ink 20">
                  <a:extLst>
                    <a:ext uri="{FF2B5EF4-FFF2-40B4-BE49-F238E27FC236}">
                      <a16:creationId xmlns:a16="http://schemas.microsoft.com/office/drawing/2014/main" id="{8B6869E3-A8FE-4479-B9C1-971BAB13AFAE}"/>
                    </a:ext>
                  </a:extLst>
                </p14:cNvPr>
                <p14:cNvContentPartPr/>
                <p14:nvPr/>
              </p14:nvContentPartPr>
              <p14:xfrm>
                <a:off x="9738862" y="5408219"/>
                <a:ext cx="317520" cy="206280"/>
              </p14:xfrm>
            </p:contentPart>
          </mc:Choice>
          <mc:Fallback xmlns="">
            <p:pic>
              <p:nvPicPr>
                <p:cNvPr id="21" name="Ink 20">
                  <a:extLst>
                    <a:ext uri="{FF2B5EF4-FFF2-40B4-BE49-F238E27FC236}">
                      <a16:creationId xmlns:a16="http://schemas.microsoft.com/office/drawing/2014/main" id="{8B6869E3-A8FE-4479-B9C1-971BAB13AFAE}"/>
                    </a:ext>
                  </a:extLst>
                </p:cNvPr>
                <p:cNvPicPr/>
                <p:nvPr/>
              </p:nvPicPr>
              <p:blipFill>
                <a:blip r:embed="rId19"/>
                <a:stretch>
                  <a:fillRect/>
                </a:stretch>
              </p:blipFill>
              <p:spPr>
                <a:xfrm>
                  <a:off x="9720862" y="5390219"/>
                  <a:ext cx="353160" cy="24192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2" name="Ink 21">
                  <a:extLst>
                    <a:ext uri="{FF2B5EF4-FFF2-40B4-BE49-F238E27FC236}">
                      <a16:creationId xmlns:a16="http://schemas.microsoft.com/office/drawing/2014/main" id="{3FAB5ECE-E8EC-4A26-B0B5-15C3F2AE90C1}"/>
                    </a:ext>
                  </a:extLst>
                </p14:cNvPr>
                <p14:cNvContentPartPr/>
                <p14:nvPr/>
              </p14:nvContentPartPr>
              <p14:xfrm>
                <a:off x="10367062" y="5314619"/>
                <a:ext cx="45000" cy="248040"/>
              </p14:xfrm>
            </p:contentPart>
          </mc:Choice>
          <mc:Fallback xmlns="">
            <p:pic>
              <p:nvPicPr>
                <p:cNvPr id="22" name="Ink 21">
                  <a:extLst>
                    <a:ext uri="{FF2B5EF4-FFF2-40B4-BE49-F238E27FC236}">
                      <a16:creationId xmlns:a16="http://schemas.microsoft.com/office/drawing/2014/main" id="{3FAB5ECE-E8EC-4A26-B0B5-15C3F2AE90C1}"/>
                    </a:ext>
                  </a:extLst>
                </p:cNvPr>
                <p:cNvPicPr/>
                <p:nvPr/>
              </p:nvPicPr>
              <p:blipFill>
                <a:blip r:embed="rId21"/>
                <a:stretch>
                  <a:fillRect/>
                </a:stretch>
              </p:blipFill>
              <p:spPr>
                <a:xfrm>
                  <a:off x="10349062" y="5296979"/>
                  <a:ext cx="80640" cy="28368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3" name="Ink 22">
                  <a:extLst>
                    <a:ext uri="{FF2B5EF4-FFF2-40B4-BE49-F238E27FC236}">
                      <a16:creationId xmlns:a16="http://schemas.microsoft.com/office/drawing/2014/main" id="{A70BDCE8-4464-468B-8D30-B926B28C268F}"/>
                    </a:ext>
                  </a:extLst>
                </p14:cNvPr>
                <p14:cNvContentPartPr/>
                <p14:nvPr/>
              </p14:nvContentPartPr>
              <p14:xfrm>
                <a:off x="10271302" y="5406059"/>
                <a:ext cx="426600" cy="108000"/>
              </p14:xfrm>
            </p:contentPart>
          </mc:Choice>
          <mc:Fallback xmlns="">
            <p:pic>
              <p:nvPicPr>
                <p:cNvPr id="23" name="Ink 22">
                  <a:extLst>
                    <a:ext uri="{FF2B5EF4-FFF2-40B4-BE49-F238E27FC236}">
                      <a16:creationId xmlns:a16="http://schemas.microsoft.com/office/drawing/2014/main" id="{A70BDCE8-4464-468B-8D30-B926B28C268F}"/>
                    </a:ext>
                  </a:extLst>
                </p:cNvPr>
                <p:cNvPicPr/>
                <p:nvPr/>
              </p:nvPicPr>
              <p:blipFill>
                <a:blip r:embed="rId23"/>
                <a:stretch>
                  <a:fillRect/>
                </a:stretch>
              </p:blipFill>
              <p:spPr>
                <a:xfrm>
                  <a:off x="10253662" y="5388419"/>
                  <a:ext cx="462240" cy="14364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4" name="Ink 23">
                  <a:extLst>
                    <a:ext uri="{FF2B5EF4-FFF2-40B4-BE49-F238E27FC236}">
                      <a16:creationId xmlns:a16="http://schemas.microsoft.com/office/drawing/2014/main" id="{A9F66C1E-EFA0-49DE-9A3B-A1500B168520}"/>
                    </a:ext>
                  </a:extLst>
                </p14:cNvPr>
                <p14:cNvContentPartPr/>
                <p14:nvPr/>
              </p14:nvContentPartPr>
              <p14:xfrm>
                <a:off x="10379302" y="5326139"/>
                <a:ext cx="127080" cy="324720"/>
              </p14:xfrm>
            </p:contentPart>
          </mc:Choice>
          <mc:Fallback xmlns="">
            <p:pic>
              <p:nvPicPr>
                <p:cNvPr id="24" name="Ink 23">
                  <a:extLst>
                    <a:ext uri="{FF2B5EF4-FFF2-40B4-BE49-F238E27FC236}">
                      <a16:creationId xmlns:a16="http://schemas.microsoft.com/office/drawing/2014/main" id="{A9F66C1E-EFA0-49DE-9A3B-A1500B168520}"/>
                    </a:ext>
                  </a:extLst>
                </p:cNvPr>
                <p:cNvPicPr/>
                <p:nvPr/>
              </p:nvPicPr>
              <p:blipFill>
                <a:blip r:embed="rId25"/>
                <a:stretch>
                  <a:fillRect/>
                </a:stretch>
              </p:blipFill>
              <p:spPr>
                <a:xfrm>
                  <a:off x="10361662" y="5308499"/>
                  <a:ext cx="162720" cy="3603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9" name="Ink 28">
                  <a:extLst>
                    <a:ext uri="{FF2B5EF4-FFF2-40B4-BE49-F238E27FC236}">
                      <a16:creationId xmlns:a16="http://schemas.microsoft.com/office/drawing/2014/main" id="{68F25129-1DE8-4B25-AF44-8CFD2C349C31}"/>
                    </a:ext>
                  </a:extLst>
                </p14:cNvPr>
                <p14:cNvContentPartPr/>
                <p14:nvPr/>
              </p14:nvContentPartPr>
              <p14:xfrm>
                <a:off x="11022622" y="5303819"/>
                <a:ext cx="52200" cy="262440"/>
              </p14:xfrm>
            </p:contentPart>
          </mc:Choice>
          <mc:Fallback xmlns="">
            <p:pic>
              <p:nvPicPr>
                <p:cNvPr id="29" name="Ink 28">
                  <a:extLst>
                    <a:ext uri="{FF2B5EF4-FFF2-40B4-BE49-F238E27FC236}">
                      <a16:creationId xmlns:a16="http://schemas.microsoft.com/office/drawing/2014/main" id="{68F25129-1DE8-4B25-AF44-8CFD2C349C31}"/>
                    </a:ext>
                  </a:extLst>
                </p:cNvPr>
                <p:cNvPicPr/>
                <p:nvPr/>
              </p:nvPicPr>
              <p:blipFill>
                <a:blip r:embed="rId27"/>
                <a:stretch>
                  <a:fillRect/>
                </a:stretch>
              </p:blipFill>
              <p:spPr>
                <a:xfrm>
                  <a:off x="11004982" y="5286179"/>
                  <a:ext cx="87840" cy="29808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30" name="Ink 29">
                  <a:extLst>
                    <a:ext uri="{FF2B5EF4-FFF2-40B4-BE49-F238E27FC236}">
                      <a16:creationId xmlns:a16="http://schemas.microsoft.com/office/drawing/2014/main" id="{D0F44C70-65F1-4042-90CB-B8696A42915B}"/>
                    </a:ext>
                  </a:extLst>
                </p14:cNvPr>
                <p14:cNvContentPartPr/>
                <p14:nvPr/>
              </p14:nvContentPartPr>
              <p14:xfrm>
                <a:off x="10926862" y="5316059"/>
                <a:ext cx="136080" cy="131400"/>
              </p14:xfrm>
            </p:contentPart>
          </mc:Choice>
          <mc:Fallback xmlns="">
            <p:pic>
              <p:nvPicPr>
                <p:cNvPr id="30" name="Ink 29">
                  <a:extLst>
                    <a:ext uri="{FF2B5EF4-FFF2-40B4-BE49-F238E27FC236}">
                      <a16:creationId xmlns:a16="http://schemas.microsoft.com/office/drawing/2014/main" id="{D0F44C70-65F1-4042-90CB-B8696A42915B}"/>
                    </a:ext>
                  </a:extLst>
                </p:cNvPr>
                <p:cNvPicPr/>
                <p:nvPr/>
              </p:nvPicPr>
              <p:blipFill>
                <a:blip r:embed="rId29"/>
                <a:stretch>
                  <a:fillRect/>
                </a:stretch>
              </p:blipFill>
              <p:spPr>
                <a:xfrm>
                  <a:off x="10909222" y="5298059"/>
                  <a:ext cx="171720" cy="16704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31" name="Ink 30">
                  <a:extLst>
                    <a:ext uri="{FF2B5EF4-FFF2-40B4-BE49-F238E27FC236}">
                      <a16:creationId xmlns:a16="http://schemas.microsoft.com/office/drawing/2014/main" id="{1D714042-4A83-4A2F-A8F0-775DDAEDDF83}"/>
                    </a:ext>
                  </a:extLst>
                </p14:cNvPr>
                <p14:cNvContentPartPr/>
                <p14:nvPr/>
              </p14:nvContentPartPr>
              <p14:xfrm>
                <a:off x="10977982" y="5587499"/>
                <a:ext cx="160560" cy="23760"/>
              </p14:xfrm>
            </p:contentPart>
          </mc:Choice>
          <mc:Fallback xmlns="">
            <p:pic>
              <p:nvPicPr>
                <p:cNvPr id="31" name="Ink 30">
                  <a:extLst>
                    <a:ext uri="{FF2B5EF4-FFF2-40B4-BE49-F238E27FC236}">
                      <a16:creationId xmlns:a16="http://schemas.microsoft.com/office/drawing/2014/main" id="{1D714042-4A83-4A2F-A8F0-775DDAEDDF83}"/>
                    </a:ext>
                  </a:extLst>
                </p:cNvPr>
                <p:cNvPicPr/>
                <p:nvPr/>
              </p:nvPicPr>
              <p:blipFill>
                <a:blip r:embed="rId31"/>
                <a:stretch>
                  <a:fillRect/>
                </a:stretch>
              </p:blipFill>
              <p:spPr>
                <a:xfrm>
                  <a:off x="10960342" y="5569499"/>
                  <a:ext cx="196200" cy="5940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33" name="Ink 32">
                  <a:extLst>
                    <a:ext uri="{FF2B5EF4-FFF2-40B4-BE49-F238E27FC236}">
                      <a16:creationId xmlns:a16="http://schemas.microsoft.com/office/drawing/2014/main" id="{A8C055EA-F68A-452A-80D8-56497CFF21D2}"/>
                    </a:ext>
                  </a:extLst>
                </p14:cNvPr>
                <p14:cNvContentPartPr/>
                <p14:nvPr/>
              </p14:nvContentPartPr>
              <p14:xfrm>
                <a:off x="11058982" y="5344499"/>
                <a:ext cx="42480" cy="290520"/>
              </p14:xfrm>
            </p:contentPart>
          </mc:Choice>
          <mc:Fallback xmlns="">
            <p:pic>
              <p:nvPicPr>
                <p:cNvPr id="33" name="Ink 32">
                  <a:extLst>
                    <a:ext uri="{FF2B5EF4-FFF2-40B4-BE49-F238E27FC236}">
                      <a16:creationId xmlns:a16="http://schemas.microsoft.com/office/drawing/2014/main" id="{A8C055EA-F68A-452A-80D8-56497CFF21D2}"/>
                    </a:ext>
                  </a:extLst>
                </p:cNvPr>
                <p:cNvPicPr/>
                <p:nvPr/>
              </p:nvPicPr>
              <p:blipFill>
                <a:blip r:embed="rId33"/>
                <a:stretch>
                  <a:fillRect/>
                </a:stretch>
              </p:blipFill>
              <p:spPr>
                <a:xfrm>
                  <a:off x="11040982" y="5326859"/>
                  <a:ext cx="78120" cy="32616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35" name="Ink 34">
                  <a:extLst>
                    <a:ext uri="{FF2B5EF4-FFF2-40B4-BE49-F238E27FC236}">
                      <a16:creationId xmlns:a16="http://schemas.microsoft.com/office/drawing/2014/main" id="{94C512B9-DA62-4019-89A9-2AA68AAE8742}"/>
                    </a:ext>
                  </a:extLst>
                </p14:cNvPr>
                <p14:cNvContentPartPr/>
                <p14:nvPr/>
              </p14:nvContentPartPr>
              <p14:xfrm>
                <a:off x="10933702" y="5580299"/>
                <a:ext cx="279000" cy="33120"/>
              </p14:xfrm>
            </p:contentPart>
          </mc:Choice>
          <mc:Fallback xmlns="">
            <p:pic>
              <p:nvPicPr>
                <p:cNvPr id="35" name="Ink 34">
                  <a:extLst>
                    <a:ext uri="{FF2B5EF4-FFF2-40B4-BE49-F238E27FC236}">
                      <a16:creationId xmlns:a16="http://schemas.microsoft.com/office/drawing/2014/main" id="{94C512B9-DA62-4019-89A9-2AA68AAE8742}"/>
                    </a:ext>
                  </a:extLst>
                </p:cNvPr>
                <p:cNvPicPr/>
                <p:nvPr/>
              </p:nvPicPr>
              <p:blipFill>
                <a:blip r:embed="rId37"/>
                <a:stretch>
                  <a:fillRect/>
                </a:stretch>
              </p:blipFill>
              <p:spPr>
                <a:xfrm>
                  <a:off x="10916062" y="5562659"/>
                  <a:ext cx="314640" cy="68760"/>
                </a:xfrm>
                <a:prstGeom prst="rect">
                  <a:avLst/>
                </a:prstGeom>
              </p:spPr>
            </p:pic>
          </mc:Fallback>
        </mc:AlternateContent>
      </p:grpSp>
      <p:grpSp>
        <p:nvGrpSpPr>
          <p:cNvPr id="71" name="Group 70">
            <a:extLst>
              <a:ext uri="{FF2B5EF4-FFF2-40B4-BE49-F238E27FC236}">
                <a16:creationId xmlns:a16="http://schemas.microsoft.com/office/drawing/2014/main" id="{BF9C8024-444A-4AB3-85F9-F6BDECC3F47F}"/>
              </a:ext>
            </a:extLst>
          </p:cNvPr>
          <p:cNvGrpSpPr/>
          <p:nvPr/>
        </p:nvGrpSpPr>
        <p:grpSpPr>
          <a:xfrm>
            <a:off x="7797382" y="5842739"/>
            <a:ext cx="3095640" cy="412920"/>
            <a:chOff x="7797382" y="5842739"/>
            <a:chExt cx="3095640" cy="412920"/>
          </a:xfrm>
        </p:grpSpPr>
        <mc:AlternateContent xmlns:mc="http://schemas.openxmlformats.org/markup-compatibility/2006" xmlns:p14="http://schemas.microsoft.com/office/powerpoint/2010/main">
          <mc:Choice Requires="p14">
            <p:contentPart p14:bwMode="auto" r:id="rId38">
              <p14:nvContentPartPr>
                <p14:cNvPr id="37" name="Ink 36">
                  <a:extLst>
                    <a:ext uri="{FF2B5EF4-FFF2-40B4-BE49-F238E27FC236}">
                      <a16:creationId xmlns:a16="http://schemas.microsoft.com/office/drawing/2014/main" id="{5F654781-2180-42CB-9FFF-94F132434C37}"/>
                    </a:ext>
                  </a:extLst>
                </p14:cNvPr>
                <p14:cNvContentPartPr/>
                <p14:nvPr/>
              </p14:nvContentPartPr>
              <p14:xfrm>
                <a:off x="7797382" y="5858939"/>
                <a:ext cx="234720" cy="253800"/>
              </p14:xfrm>
            </p:contentPart>
          </mc:Choice>
          <mc:Fallback xmlns="">
            <p:pic>
              <p:nvPicPr>
                <p:cNvPr id="37" name="Ink 36">
                  <a:extLst>
                    <a:ext uri="{FF2B5EF4-FFF2-40B4-BE49-F238E27FC236}">
                      <a16:creationId xmlns:a16="http://schemas.microsoft.com/office/drawing/2014/main" id="{5F654781-2180-42CB-9FFF-94F132434C37}"/>
                    </a:ext>
                  </a:extLst>
                </p:cNvPr>
                <p:cNvPicPr/>
                <p:nvPr/>
              </p:nvPicPr>
              <p:blipFill>
                <a:blip r:embed="rId39"/>
                <a:stretch>
                  <a:fillRect/>
                </a:stretch>
              </p:blipFill>
              <p:spPr>
                <a:xfrm>
                  <a:off x="7779382" y="5841299"/>
                  <a:ext cx="270360" cy="28944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38" name="Ink 37">
                  <a:extLst>
                    <a:ext uri="{FF2B5EF4-FFF2-40B4-BE49-F238E27FC236}">
                      <a16:creationId xmlns:a16="http://schemas.microsoft.com/office/drawing/2014/main" id="{F6C31097-41EC-4E72-9C84-AAFD1BD3F99C}"/>
                    </a:ext>
                  </a:extLst>
                </p14:cNvPr>
                <p14:cNvContentPartPr/>
                <p14:nvPr/>
              </p14:nvContentPartPr>
              <p14:xfrm>
                <a:off x="8045782" y="6014099"/>
                <a:ext cx="91080" cy="170280"/>
              </p14:xfrm>
            </p:contentPart>
          </mc:Choice>
          <mc:Fallback xmlns="">
            <p:pic>
              <p:nvPicPr>
                <p:cNvPr id="38" name="Ink 37">
                  <a:extLst>
                    <a:ext uri="{FF2B5EF4-FFF2-40B4-BE49-F238E27FC236}">
                      <a16:creationId xmlns:a16="http://schemas.microsoft.com/office/drawing/2014/main" id="{F6C31097-41EC-4E72-9C84-AAFD1BD3F99C}"/>
                    </a:ext>
                  </a:extLst>
                </p:cNvPr>
                <p:cNvPicPr/>
                <p:nvPr/>
              </p:nvPicPr>
              <p:blipFill>
                <a:blip r:embed="rId41"/>
                <a:stretch>
                  <a:fillRect/>
                </a:stretch>
              </p:blipFill>
              <p:spPr>
                <a:xfrm>
                  <a:off x="8027782" y="5996459"/>
                  <a:ext cx="126720" cy="20592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39" name="Ink 38">
                  <a:extLst>
                    <a:ext uri="{FF2B5EF4-FFF2-40B4-BE49-F238E27FC236}">
                      <a16:creationId xmlns:a16="http://schemas.microsoft.com/office/drawing/2014/main" id="{FBE6176D-8764-472A-B563-329D7A293123}"/>
                    </a:ext>
                  </a:extLst>
                </p14:cNvPr>
                <p14:cNvContentPartPr/>
                <p14:nvPr/>
              </p14:nvContentPartPr>
              <p14:xfrm>
                <a:off x="8190502" y="5974859"/>
                <a:ext cx="291960" cy="203760"/>
              </p14:xfrm>
            </p:contentPart>
          </mc:Choice>
          <mc:Fallback xmlns="">
            <p:pic>
              <p:nvPicPr>
                <p:cNvPr id="39" name="Ink 38">
                  <a:extLst>
                    <a:ext uri="{FF2B5EF4-FFF2-40B4-BE49-F238E27FC236}">
                      <a16:creationId xmlns:a16="http://schemas.microsoft.com/office/drawing/2014/main" id="{FBE6176D-8764-472A-B563-329D7A293123}"/>
                    </a:ext>
                  </a:extLst>
                </p:cNvPr>
                <p:cNvPicPr/>
                <p:nvPr/>
              </p:nvPicPr>
              <p:blipFill>
                <a:blip r:embed="rId43"/>
                <a:stretch>
                  <a:fillRect/>
                </a:stretch>
              </p:blipFill>
              <p:spPr>
                <a:xfrm>
                  <a:off x="8172502" y="5957219"/>
                  <a:ext cx="327600" cy="23940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40" name="Ink 39">
                  <a:extLst>
                    <a:ext uri="{FF2B5EF4-FFF2-40B4-BE49-F238E27FC236}">
                      <a16:creationId xmlns:a16="http://schemas.microsoft.com/office/drawing/2014/main" id="{8A488183-A866-40D6-AE9A-E11A0711F74A}"/>
                    </a:ext>
                  </a:extLst>
                </p14:cNvPr>
                <p14:cNvContentPartPr/>
                <p14:nvPr/>
              </p14:nvContentPartPr>
              <p14:xfrm>
                <a:off x="8563822" y="6045419"/>
                <a:ext cx="81720" cy="127440"/>
              </p14:xfrm>
            </p:contentPart>
          </mc:Choice>
          <mc:Fallback xmlns="">
            <p:pic>
              <p:nvPicPr>
                <p:cNvPr id="40" name="Ink 39">
                  <a:extLst>
                    <a:ext uri="{FF2B5EF4-FFF2-40B4-BE49-F238E27FC236}">
                      <a16:creationId xmlns:a16="http://schemas.microsoft.com/office/drawing/2014/main" id="{8A488183-A866-40D6-AE9A-E11A0711F74A}"/>
                    </a:ext>
                  </a:extLst>
                </p:cNvPr>
                <p:cNvPicPr/>
                <p:nvPr/>
              </p:nvPicPr>
              <p:blipFill>
                <a:blip r:embed="rId45"/>
                <a:stretch>
                  <a:fillRect/>
                </a:stretch>
              </p:blipFill>
              <p:spPr>
                <a:xfrm>
                  <a:off x="8546182" y="6027779"/>
                  <a:ext cx="117360" cy="16308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41" name="Ink 40">
                  <a:extLst>
                    <a:ext uri="{FF2B5EF4-FFF2-40B4-BE49-F238E27FC236}">
                      <a16:creationId xmlns:a16="http://schemas.microsoft.com/office/drawing/2014/main" id="{A643213A-A332-45EE-85F9-8D1AC58F0D19}"/>
                    </a:ext>
                  </a:extLst>
                </p14:cNvPr>
                <p14:cNvContentPartPr/>
                <p14:nvPr/>
              </p14:nvContentPartPr>
              <p14:xfrm>
                <a:off x="8711422" y="6053699"/>
                <a:ext cx="110520" cy="125640"/>
              </p14:xfrm>
            </p:contentPart>
          </mc:Choice>
          <mc:Fallback xmlns="">
            <p:pic>
              <p:nvPicPr>
                <p:cNvPr id="41" name="Ink 40">
                  <a:extLst>
                    <a:ext uri="{FF2B5EF4-FFF2-40B4-BE49-F238E27FC236}">
                      <a16:creationId xmlns:a16="http://schemas.microsoft.com/office/drawing/2014/main" id="{A643213A-A332-45EE-85F9-8D1AC58F0D19}"/>
                    </a:ext>
                  </a:extLst>
                </p:cNvPr>
                <p:cNvPicPr/>
                <p:nvPr/>
              </p:nvPicPr>
              <p:blipFill>
                <a:blip r:embed="rId47"/>
                <a:stretch>
                  <a:fillRect/>
                </a:stretch>
              </p:blipFill>
              <p:spPr>
                <a:xfrm>
                  <a:off x="8693422" y="6036059"/>
                  <a:ext cx="146160" cy="16128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42" name="Ink 41">
                  <a:extLst>
                    <a:ext uri="{FF2B5EF4-FFF2-40B4-BE49-F238E27FC236}">
                      <a16:creationId xmlns:a16="http://schemas.microsoft.com/office/drawing/2014/main" id="{830B5BDA-3D5D-4E18-873E-036D6942912C}"/>
                    </a:ext>
                  </a:extLst>
                </p14:cNvPr>
                <p14:cNvContentPartPr/>
                <p14:nvPr/>
              </p14:nvContentPartPr>
              <p14:xfrm>
                <a:off x="9072502" y="5969819"/>
                <a:ext cx="15840" cy="251640"/>
              </p14:xfrm>
            </p:contentPart>
          </mc:Choice>
          <mc:Fallback xmlns="">
            <p:pic>
              <p:nvPicPr>
                <p:cNvPr id="42" name="Ink 41">
                  <a:extLst>
                    <a:ext uri="{FF2B5EF4-FFF2-40B4-BE49-F238E27FC236}">
                      <a16:creationId xmlns:a16="http://schemas.microsoft.com/office/drawing/2014/main" id="{830B5BDA-3D5D-4E18-873E-036D6942912C}"/>
                    </a:ext>
                  </a:extLst>
                </p:cNvPr>
                <p:cNvPicPr/>
                <p:nvPr/>
              </p:nvPicPr>
              <p:blipFill>
                <a:blip r:embed="rId49"/>
                <a:stretch>
                  <a:fillRect/>
                </a:stretch>
              </p:blipFill>
              <p:spPr>
                <a:xfrm>
                  <a:off x="9054502" y="5952179"/>
                  <a:ext cx="51480" cy="28728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43" name="Ink 42">
                  <a:extLst>
                    <a:ext uri="{FF2B5EF4-FFF2-40B4-BE49-F238E27FC236}">
                      <a16:creationId xmlns:a16="http://schemas.microsoft.com/office/drawing/2014/main" id="{CBEE13FC-B0F4-43BE-9FEE-282B9FAACA05}"/>
                    </a:ext>
                  </a:extLst>
                </p14:cNvPr>
                <p14:cNvContentPartPr/>
                <p14:nvPr/>
              </p14:nvContentPartPr>
              <p14:xfrm>
                <a:off x="9006262" y="5923379"/>
                <a:ext cx="231840" cy="264240"/>
              </p14:xfrm>
            </p:contentPart>
          </mc:Choice>
          <mc:Fallback xmlns="">
            <p:pic>
              <p:nvPicPr>
                <p:cNvPr id="43" name="Ink 42">
                  <a:extLst>
                    <a:ext uri="{FF2B5EF4-FFF2-40B4-BE49-F238E27FC236}">
                      <a16:creationId xmlns:a16="http://schemas.microsoft.com/office/drawing/2014/main" id="{CBEE13FC-B0F4-43BE-9FEE-282B9FAACA05}"/>
                    </a:ext>
                  </a:extLst>
                </p:cNvPr>
                <p:cNvPicPr/>
                <p:nvPr/>
              </p:nvPicPr>
              <p:blipFill>
                <a:blip r:embed="rId51"/>
                <a:stretch>
                  <a:fillRect/>
                </a:stretch>
              </p:blipFill>
              <p:spPr>
                <a:xfrm>
                  <a:off x="8988622" y="5905379"/>
                  <a:ext cx="267480" cy="29988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44" name="Ink 43">
                  <a:extLst>
                    <a:ext uri="{FF2B5EF4-FFF2-40B4-BE49-F238E27FC236}">
                      <a16:creationId xmlns:a16="http://schemas.microsoft.com/office/drawing/2014/main" id="{E3D1271B-080B-4CA7-9961-2FD6E26DC285}"/>
                    </a:ext>
                  </a:extLst>
                </p14:cNvPr>
                <p14:cNvContentPartPr/>
                <p14:nvPr/>
              </p14:nvContentPartPr>
              <p14:xfrm>
                <a:off x="9171862" y="6118859"/>
                <a:ext cx="144720" cy="59400"/>
              </p14:xfrm>
            </p:contentPart>
          </mc:Choice>
          <mc:Fallback xmlns="">
            <p:pic>
              <p:nvPicPr>
                <p:cNvPr id="44" name="Ink 43">
                  <a:extLst>
                    <a:ext uri="{FF2B5EF4-FFF2-40B4-BE49-F238E27FC236}">
                      <a16:creationId xmlns:a16="http://schemas.microsoft.com/office/drawing/2014/main" id="{E3D1271B-080B-4CA7-9961-2FD6E26DC285}"/>
                    </a:ext>
                  </a:extLst>
                </p:cNvPr>
                <p:cNvPicPr/>
                <p:nvPr/>
              </p:nvPicPr>
              <p:blipFill>
                <a:blip r:embed="rId53"/>
                <a:stretch>
                  <a:fillRect/>
                </a:stretch>
              </p:blipFill>
              <p:spPr>
                <a:xfrm>
                  <a:off x="9153862" y="6100859"/>
                  <a:ext cx="180360" cy="9504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51" name="Ink 50">
                  <a:extLst>
                    <a:ext uri="{FF2B5EF4-FFF2-40B4-BE49-F238E27FC236}">
                      <a16:creationId xmlns:a16="http://schemas.microsoft.com/office/drawing/2014/main" id="{CE508274-50BF-4AEC-9C67-BFF42599B94F}"/>
                    </a:ext>
                  </a:extLst>
                </p14:cNvPr>
                <p14:cNvContentPartPr/>
                <p14:nvPr/>
              </p14:nvContentPartPr>
              <p14:xfrm>
                <a:off x="9366622" y="6011219"/>
                <a:ext cx="154440" cy="188280"/>
              </p14:xfrm>
            </p:contentPart>
          </mc:Choice>
          <mc:Fallback xmlns="">
            <p:pic>
              <p:nvPicPr>
                <p:cNvPr id="51" name="Ink 50">
                  <a:extLst>
                    <a:ext uri="{FF2B5EF4-FFF2-40B4-BE49-F238E27FC236}">
                      <a16:creationId xmlns:a16="http://schemas.microsoft.com/office/drawing/2014/main" id="{CE508274-50BF-4AEC-9C67-BFF42599B94F}"/>
                    </a:ext>
                  </a:extLst>
                </p:cNvPr>
                <p:cNvPicPr/>
                <p:nvPr/>
              </p:nvPicPr>
              <p:blipFill>
                <a:blip r:embed="rId55"/>
                <a:stretch>
                  <a:fillRect/>
                </a:stretch>
              </p:blipFill>
              <p:spPr>
                <a:xfrm>
                  <a:off x="9348982" y="5993579"/>
                  <a:ext cx="190080" cy="22392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56" name="Ink 55">
                  <a:extLst>
                    <a:ext uri="{FF2B5EF4-FFF2-40B4-BE49-F238E27FC236}">
                      <a16:creationId xmlns:a16="http://schemas.microsoft.com/office/drawing/2014/main" id="{9430891D-3333-40B6-A475-04864E2EC211}"/>
                    </a:ext>
                  </a:extLst>
                </p14:cNvPr>
                <p14:cNvContentPartPr/>
                <p14:nvPr/>
              </p14:nvContentPartPr>
              <p14:xfrm>
                <a:off x="10767742" y="5842739"/>
                <a:ext cx="360" cy="360"/>
              </p14:xfrm>
            </p:contentPart>
          </mc:Choice>
          <mc:Fallback xmlns="">
            <p:pic>
              <p:nvPicPr>
                <p:cNvPr id="56" name="Ink 55">
                  <a:extLst>
                    <a:ext uri="{FF2B5EF4-FFF2-40B4-BE49-F238E27FC236}">
                      <a16:creationId xmlns:a16="http://schemas.microsoft.com/office/drawing/2014/main" id="{9430891D-3333-40B6-A475-04864E2EC211}"/>
                    </a:ext>
                  </a:extLst>
                </p:cNvPr>
                <p:cNvPicPr/>
                <p:nvPr/>
              </p:nvPicPr>
              <p:blipFill>
                <a:blip r:embed="rId57"/>
                <a:stretch>
                  <a:fillRect/>
                </a:stretch>
              </p:blipFill>
              <p:spPr>
                <a:xfrm>
                  <a:off x="10749742" y="5825099"/>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57" name="Ink 56">
                  <a:extLst>
                    <a:ext uri="{FF2B5EF4-FFF2-40B4-BE49-F238E27FC236}">
                      <a16:creationId xmlns:a16="http://schemas.microsoft.com/office/drawing/2014/main" id="{0C09E339-927C-41EA-99B3-9E85BB1DAE94}"/>
                    </a:ext>
                  </a:extLst>
                </p14:cNvPr>
                <p14:cNvContentPartPr/>
                <p14:nvPr/>
              </p14:nvContentPartPr>
              <p14:xfrm>
                <a:off x="9633742" y="5916539"/>
                <a:ext cx="471600" cy="339120"/>
              </p14:xfrm>
            </p:contentPart>
          </mc:Choice>
          <mc:Fallback xmlns="">
            <p:pic>
              <p:nvPicPr>
                <p:cNvPr id="57" name="Ink 56">
                  <a:extLst>
                    <a:ext uri="{FF2B5EF4-FFF2-40B4-BE49-F238E27FC236}">
                      <a16:creationId xmlns:a16="http://schemas.microsoft.com/office/drawing/2014/main" id="{0C09E339-927C-41EA-99B3-9E85BB1DAE94}"/>
                    </a:ext>
                  </a:extLst>
                </p:cNvPr>
                <p:cNvPicPr/>
                <p:nvPr/>
              </p:nvPicPr>
              <p:blipFill>
                <a:blip r:embed="rId59"/>
                <a:stretch>
                  <a:fillRect/>
                </a:stretch>
              </p:blipFill>
              <p:spPr>
                <a:xfrm>
                  <a:off x="9616102" y="5898899"/>
                  <a:ext cx="507240" cy="37476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61" name="Ink 60">
                  <a:extLst>
                    <a:ext uri="{FF2B5EF4-FFF2-40B4-BE49-F238E27FC236}">
                      <a16:creationId xmlns:a16="http://schemas.microsoft.com/office/drawing/2014/main" id="{208BCFD0-F1F0-4CDE-94B3-388BA07A7788}"/>
                    </a:ext>
                  </a:extLst>
                </p14:cNvPr>
                <p14:cNvContentPartPr/>
                <p14:nvPr/>
              </p14:nvContentPartPr>
              <p14:xfrm>
                <a:off x="10752982" y="5920139"/>
                <a:ext cx="140040" cy="290160"/>
              </p14:xfrm>
            </p:contentPart>
          </mc:Choice>
          <mc:Fallback xmlns="">
            <p:pic>
              <p:nvPicPr>
                <p:cNvPr id="61" name="Ink 60">
                  <a:extLst>
                    <a:ext uri="{FF2B5EF4-FFF2-40B4-BE49-F238E27FC236}">
                      <a16:creationId xmlns:a16="http://schemas.microsoft.com/office/drawing/2014/main" id="{208BCFD0-F1F0-4CDE-94B3-388BA07A7788}"/>
                    </a:ext>
                  </a:extLst>
                </p:cNvPr>
                <p:cNvPicPr/>
                <p:nvPr/>
              </p:nvPicPr>
              <p:blipFill>
                <a:blip r:embed="rId67"/>
                <a:stretch>
                  <a:fillRect/>
                </a:stretch>
              </p:blipFill>
              <p:spPr>
                <a:xfrm>
                  <a:off x="10734982" y="5902139"/>
                  <a:ext cx="175680" cy="325800"/>
                </a:xfrm>
                <a:prstGeom prst="rect">
                  <a:avLst/>
                </a:prstGeom>
              </p:spPr>
            </p:pic>
          </mc:Fallback>
        </mc:AlternateContent>
      </p:grpSp>
      <p:grpSp>
        <p:nvGrpSpPr>
          <p:cNvPr id="70" name="Group 69">
            <a:extLst>
              <a:ext uri="{FF2B5EF4-FFF2-40B4-BE49-F238E27FC236}">
                <a16:creationId xmlns:a16="http://schemas.microsoft.com/office/drawing/2014/main" id="{0A81D94A-71C8-45C6-B453-602F230085F2}"/>
              </a:ext>
            </a:extLst>
          </p:cNvPr>
          <p:cNvGrpSpPr/>
          <p:nvPr/>
        </p:nvGrpSpPr>
        <p:grpSpPr>
          <a:xfrm>
            <a:off x="8388862" y="6463379"/>
            <a:ext cx="900360" cy="241560"/>
            <a:chOff x="8388862" y="6463379"/>
            <a:chExt cx="900360" cy="241560"/>
          </a:xfrm>
        </p:grpSpPr>
        <mc:AlternateContent xmlns:mc="http://schemas.openxmlformats.org/markup-compatibility/2006" xmlns:p14="http://schemas.microsoft.com/office/powerpoint/2010/main">
          <mc:Choice Requires="p14">
            <p:contentPart p14:bwMode="auto" r:id="rId68">
              <p14:nvContentPartPr>
                <p14:cNvPr id="66" name="Ink 65">
                  <a:extLst>
                    <a:ext uri="{FF2B5EF4-FFF2-40B4-BE49-F238E27FC236}">
                      <a16:creationId xmlns:a16="http://schemas.microsoft.com/office/drawing/2014/main" id="{0145E386-CD9B-499D-B597-CBBB335DF894}"/>
                    </a:ext>
                  </a:extLst>
                </p14:cNvPr>
                <p14:cNvContentPartPr/>
                <p14:nvPr/>
              </p14:nvContentPartPr>
              <p14:xfrm>
                <a:off x="8388862" y="6468419"/>
                <a:ext cx="262440" cy="236520"/>
              </p14:xfrm>
            </p:contentPart>
          </mc:Choice>
          <mc:Fallback xmlns="">
            <p:pic>
              <p:nvPicPr>
                <p:cNvPr id="66" name="Ink 65">
                  <a:extLst>
                    <a:ext uri="{FF2B5EF4-FFF2-40B4-BE49-F238E27FC236}">
                      <a16:creationId xmlns:a16="http://schemas.microsoft.com/office/drawing/2014/main" id="{0145E386-CD9B-499D-B597-CBBB335DF894}"/>
                    </a:ext>
                  </a:extLst>
                </p:cNvPr>
                <p:cNvPicPr/>
                <p:nvPr/>
              </p:nvPicPr>
              <p:blipFill>
                <a:blip r:embed="rId69"/>
                <a:stretch>
                  <a:fillRect/>
                </a:stretch>
              </p:blipFill>
              <p:spPr>
                <a:xfrm>
                  <a:off x="8371222" y="6450419"/>
                  <a:ext cx="298080" cy="27216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67" name="Ink 66">
                  <a:extLst>
                    <a:ext uri="{FF2B5EF4-FFF2-40B4-BE49-F238E27FC236}">
                      <a16:creationId xmlns:a16="http://schemas.microsoft.com/office/drawing/2014/main" id="{09CD9C69-48E3-4914-83E8-A958B97D7147}"/>
                    </a:ext>
                  </a:extLst>
                </p14:cNvPr>
                <p14:cNvContentPartPr/>
                <p14:nvPr/>
              </p14:nvContentPartPr>
              <p14:xfrm>
                <a:off x="8720422" y="6527099"/>
                <a:ext cx="160920" cy="137520"/>
              </p14:xfrm>
            </p:contentPart>
          </mc:Choice>
          <mc:Fallback xmlns="">
            <p:pic>
              <p:nvPicPr>
                <p:cNvPr id="67" name="Ink 66">
                  <a:extLst>
                    <a:ext uri="{FF2B5EF4-FFF2-40B4-BE49-F238E27FC236}">
                      <a16:creationId xmlns:a16="http://schemas.microsoft.com/office/drawing/2014/main" id="{09CD9C69-48E3-4914-83E8-A958B97D7147}"/>
                    </a:ext>
                  </a:extLst>
                </p:cNvPr>
                <p:cNvPicPr/>
                <p:nvPr/>
              </p:nvPicPr>
              <p:blipFill>
                <a:blip r:embed="rId71"/>
                <a:stretch>
                  <a:fillRect/>
                </a:stretch>
              </p:blipFill>
              <p:spPr>
                <a:xfrm>
                  <a:off x="8702782" y="6509459"/>
                  <a:ext cx="196560" cy="17316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68" name="Ink 67">
                  <a:extLst>
                    <a:ext uri="{FF2B5EF4-FFF2-40B4-BE49-F238E27FC236}">
                      <a16:creationId xmlns:a16="http://schemas.microsoft.com/office/drawing/2014/main" id="{EC14548B-022E-48C2-8C47-D83CC5CBA355}"/>
                    </a:ext>
                  </a:extLst>
                </p14:cNvPr>
                <p14:cNvContentPartPr/>
                <p14:nvPr/>
              </p14:nvContentPartPr>
              <p14:xfrm>
                <a:off x="8914822" y="6463379"/>
                <a:ext cx="69480" cy="223200"/>
              </p14:xfrm>
            </p:contentPart>
          </mc:Choice>
          <mc:Fallback xmlns="">
            <p:pic>
              <p:nvPicPr>
                <p:cNvPr id="68" name="Ink 67">
                  <a:extLst>
                    <a:ext uri="{FF2B5EF4-FFF2-40B4-BE49-F238E27FC236}">
                      <a16:creationId xmlns:a16="http://schemas.microsoft.com/office/drawing/2014/main" id="{EC14548B-022E-48C2-8C47-D83CC5CBA355}"/>
                    </a:ext>
                  </a:extLst>
                </p:cNvPr>
                <p:cNvPicPr/>
                <p:nvPr/>
              </p:nvPicPr>
              <p:blipFill>
                <a:blip r:embed="rId73"/>
                <a:stretch>
                  <a:fillRect/>
                </a:stretch>
              </p:blipFill>
              <p:spPr>
                <a:xfrm>
                  <a:off x="8896822" y="6445739"/>
                  <a:ext cx="105120" cy="25884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69" name="Ink 68">
                  <a:extLst>
                    <a:ext uri="{FF2B5EF4-FFF2-40B4-BE49-F238E27FC236}">
                      <a16:creationId xmlns:a16="http://schemas.microsoft.com/office/drawing/2014/main" id="{7356E1A6-461A-4D0A-8A17-BF628404AB16}"/>
                    </a:ext>
                  </a:extLst>
                </p14:cNvPr>
                <p14:cNvContentPartPr/>
                <p14:nvPr/>
              </p14:nvContentPartPr>
              <p14:xfrm>
                <a:off x="8881342" y="6571019"/>
                <a:ext cx="407880" cy="106920"/>
              </p14:xfrm>
            </p:contentPart>
          </mc:Choice>
          <mc:Fallback xmlns="">
            <p:pic>
              <p:nvPicPr>
                <p:cNvPr id="69" name="Ink 68">
                  <a:extLst>
                    <a:ext uri="{FF2B5EF4-FFF2-40B4-BE49-F238E27FC236}">
                      <a16:creationId xmlns:a16="http://schemas.microsoft.com/office/drawing/2014/main" id="{7356E1A6-461A-4D0A-8A17-BF628404AB16}"/>
                    </a:ext>
                  </a:extLst>
                </p:cNvPr>
                <p:cNvPicPr/>
                <p:nvPr/>
              </p:nvPicPr>
              <p:blipFill>
                <a:blip r:embed="rId75"/>
                <a:stretch>
                  <a:fillRect/>
                </a:stretch>
              </p:blipFill>
              <p:spPr>
                <a:xfrm>
                  <a:off x="8863702" y="6553379"/>
                  <a:ext cx="443520" cy="142560"/>
                </a:xfrm>
                <a:prstGeom prst="rect">
                  <a:avLst/>
                </a:prstGeom>
              </p:spPr>
            </p:pic>
          </mc:Fallback>
        </mc:AlternateContent>
      </p:grpSp>
      <p:grpSp>
        <p:nvGrpSpPr>
          <p:cNvPr id="81" name="Group 80">
            <a:extLst>
              <a:ext uri="{FF2B5EF4-FFF2-40B4-BE49-F238E27FC236}">
                <a16:creationId xmlns:a16="http://schemas.microsoft.com/office/drawing/2014/main" id="{9506A430-D46B-4BCB-B01D-991B0D26E028}"/>
              </a:ext>
            </a:extLst>
          </p:cNvPr>
          <p:cNvGrpSpPr/>
          <p:nvPr/>
        </p:nvGrpSpPr>
        <p:grpSpPr>
          <a:xfrm>
            <a:off x="9539782" y="6429899"/>
            <a:ext cx="2014920" cy="280080"/>
            <a:chOff x="9539782" y="6429899"/>
            <a:chExt cx="2014920" cy="280080"/>
          </a:xfrm>
        </p:grpSpPr>
        <mc:AlternateContent xmlns:mc="http://schemas.openxmlformats.org/markup-compatibility/2006" xmlns:p14="http://schemas.microsoft.com/office/powerpoint/2010/main">
          <mc:Choice Requires="p14">
            <p:contentPart p14:bwMode="auto" r:id="rId76">
              <p14:nvContentPartPr>
                <p14:cNvPr id="72" name="Ink 71">
                  <a:extLst>
                    <a:ext uri="{FF2B5EF4-FFF2-40B4-BE49-F238E27FC236}">
                      <a16:creationId xmlns:a16="http://schemas.microsoft.com/office/drawing/2014/main" id="{CAC979A3-A595-4D7E-AAFC-A7507151F8A8}"/>
                    </a:ext>
                  </a:extLst>
                </p14:cNvPr>
                <p14:cNvContentPartPr/>
                <p14:nvPr/>
              </p14:nvContentPartPr>
              <p14:xfrm>
                <a:off x="9555262" y="6544019"/>
                <a:ext cx="36000" cy="137880"/>
              </p14:xfrm>
            </p:contentPart>
          </mc:Choice>
          <mc:Fallback xmlns="">
            <p:pic>
              <p:nvPicPr>
                <p:cNvPr id="72" name="Ink 71">
                  <a:extLst>
                    <a:ext uri="{FF2B5EF4-FFF2-40B4-BE49-F238E27FC236}">
                      <a16:creationId xmlns:a16="http://schemas.microsoft.com/office/drawing/2014/main" id="{CAC979A3-A595-4D7E-AAFC-A7507151F8A8}"/>
                    </a:ext>
                  </a:extLst>
                </p:cNvPr>
                <p:cNvPicPr/>
                <p:nvPr/>
              </p:nvPicPr>
              <p:blipFill>
                <a:blip r:embed="rId77"/>
                <a:stretch>
                  <a:fillRect/>
                </a:stretch>
              </p:blipFill>
              <p:spPr>
                <a:xfrm>
                  <a:off x="9537622" y="6526019"/>
                  <a:ext cx="71640" cy="17352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73" name="Ink 72">
                  <a:extLst>
                    <a:ext uri="{FF2B5EF4-FFF2-40B4-BE49-F238E27FC236}">
                      <a16:creationId xmlns:a16="http://schemas.microsoft.com/office/drawing/2014/main" id="{EF35AEFE-4032-47D2-869E-06EC36AE9B97}"/>
                    </a:ext>
                  </a:extLst>
                </p14:cNvPr>
                <p14:cNvContentPartPr/>
                <p14:nvPr/>
              </p14:nvContentPartPr>
              <p14:xfrm>
                <a:off x="9539782" y="6460139"/>
                <a:ext cx="33120" cy="58320"/>
              </p14:xfrm>
            </p:contentPart>
          </mc:Choice>
          <mc:Fallback xmlns="">
            <p:pic>
              <p:nvPicPr>
                <p:cNvPr id="73" name="Ink 72">
                  <a:extLst>
                    <a:ext uri="{FF2B5EF4-FFF2-40B4-BE49-F238E27FC236}">
                      <a16:creationId xmlns:a16="http://schemas.microsoft.com/office/drawing/2014/main" id="{EF35AEFE-4032-47D2-869E-06EC36AE9B97}"/>
                    </a:ext>
                  </a:extLst>
                </p:cNvPr>
                <p:cNvPicPr/>
                <p:nvPr/>
              </p:nvPicPr>
              <p:blipFill>
                <a:blip r:embed="rId79"/>
                <a:stretch>
                  <a:fillRect/>
                </a:stretch>
              </p:blipFill>
              <p:spPr>
                <a:xfrm>
                  <a:off x="9522142" y="6442139"/>
                  <a:ext cx="6876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76" name="Ink 75">
                  <a:extLst>
                    <a:ext uri="{FF2B5EF4-FFF2-40B4-BE49-F238E27FC236}">
                      <a16:creationId xmlns:a16="http://schemas.microsoft.com/office/drawing/2014/main" id="{82EA67B2-B0A2-404F-A650-76B6EA7F787E}"/>
                    </a:ext>
                  </a:extLst>
                </p14:cNvPr>
                <p14:cNvContentPartPr/>
                <p14:nvPr/>
              </p14:nvContentPartPr>
              <p14:xfrm>
                <a:off x="10194262" y="6433139"/>
                <a:ext cx="137880" cy="276840"/>
              </p14:xfrm>
            </p:contentPart>
          </mc:Choice>
          <mc:Fallback xmlns="">
            <p:pic>
              <p:nvPicPr>
                <p:cNvPr id="76" name="Ink 75">
                  <a:extLst>
                    <a:ext uri="{FF2B5EF4-FFF2-40B4-BE49-F238E27FC236}">
                      <a16:creationId xmlns:a16="http://schemas.microsoft.com/office/drawing/2014/main" id="{82EA67B2-B0A2-404F-A650-76B6EA7F787E}"/>
                    </a:ext>
                  </a:extLst>
                </p:cNvPr>
                <p:cNvPicPr/>
                <p:nvPr/>
              </p:nvPicPr>
              <p:blipFill>
                <a:blip r:embed="rId85"/>
                <a:stretch>
                  <a:fillRect/>
                </a:stretch>
              </p:blipFill>
              <p:spPr>
                <a:xfrm>
                  <a:off x="10176262" y="6415139"/>
                  <a:ext cx="173520" cy="31248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77" name="Ink 76">
                  <a:extLst>
                    <a:ext uri="{FF2B5EF4-FFF2-40B4-BE49-F238E27FC236}">
                      <a16:creationId xmlns:a16="http://schemas.microsoft.com/office/drawing/2014/main" id="{24F32F59-FE3E-4F6E-8C90-C3AD2B3A1E61}"/>
                    </a:ext>
                  </a:extLst>
                </p14:cNvPr>
                <p14:cNvContentPartPr/>
                <p14:nvPr/>
              </p14:nvContentPartPr>
              <p14:xfrm>
                <a:off x="10413502" y="6429899"/>
                <a:ext cx="126000" cy="245880"/>
              </p14:xfrm>
            </p:contentPart>
          </mc:Choice>
          <mc:Fallback xmlns="">
            <p:pic>
              <p:nvPicPr>
                <p:cNvPr id="77" name="Ink 76">
                  <a:extLst>
                    <a:ext uri="{FF2B5EF4-FFF2-40B4-BE49-F238E27FC236}">
                      <a16:creationId xmlns:a16="http://schemas.microsoft.com/office/drawing/2014/main" id="{24F32F59-FE3E-4F6E-8C90-C3AD2B3A1E61}"/>
                    </a:ext>
                  </a:extLst>
                </p:cNvPr>
                <p:cNvPicPr/>
                <p:nvPr/>
              </p:nvPicPr>
              <p:blipFill>
                <a:blip r:embed="rId87"/>
                <a:stretch>
                  <a:fillRect/>
                </a:stretch>
              </p:blipFill>
              <p:spPr>
                <a:xfrm>
                  <a:off x="10395862" y="6411899"/>
                  <a:ext cx="161640" cy="28152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78" name="Ink 77">
                  <a:extLst>
                    <a:ext uri="{FF2B5EF4-FFF2-40B4-BE49-F238E27FC236}">
                      <a16:creationId xmlns:a16="http://schemas.microsoft.com/office/drawing/2014/main" id="{183B7C80-9E0C-4AED-94F7-3EF9A46901C9}"/>
                    </a:ext>
                  </a:extLst>
                </p14:cNvPr>
                <p14:cNvContentPartPr/>
                <p14:nvPr/>
              </p14:nvContentPartPr>
              <p14:xfrm>
                <a:off x="10651102" y="6433859"/>
                <a:ext cx="79560" cy="253800"/>
              </p14:xfrm>
            </p:contentPart>
          </mc:Choice>
          <mc:Fallback xmlns="">
            <p:pic>
              <p:nvPicPr>
                <p:cNvPr id="78" name="Ink 77">
                  <a:extLst>
                    <a:ext uri="{FF2B5EF4-FFF2-40B4-BE49-F238E27FC236}">
                      <a16:creationId xmlns:a16="http://schemas.microsoft.com/office/drawing/2014/main" id="{183B7C80-9E0C-4AED-94F7-3EF9A46901C9}"/>
                    </a:ext>
                  </a:extLst>
                </p:cNvPr>
                <p:cNvPicPr/>
                <p:nvPr/>
              </p:nvPicPr>
              <p:blipFill>
                <a:blip r:embed="rId89"/>
                <a:stretch>
                  <a:fillRect/>
                </a:stretch>
              </p:blipFill>
              <p:spPr>
                <a:xfrm>
                  <a:off x="10633462" y="6416219"/>
                  <a:ext cx="115200" cy="28944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79" name="Ink 78">
                  <a:extLst>
                    <a:ext uri="{FF2B5EF4-FFF2-40B4-BE49-F238E27FC236}">
                      <a16:creationId xmlns:a16="http://schemas.microsoft.com/office/drawing/2014/main" id="{7F91534A-A94C-462A-AD78-44B38416FC23}"/>
                    </a:ext>
                  </a:extLst>
                </p14:cNvPr>
                <p14:cNvContentPartPr/>
                <p14:nvPr/>
              </p14:nvContentPartPr>
              <p14:xfrm>
                <a:off x="10656862" y="6524219"/>
                <a:ext cx="529920" cy="146520"/>
              </p14:xfrm>
            </p:contentPart>
          </mc:Choice>
          <mc:Fallback xmlns="">
            <p:pic>
              <p:nvPicPr>
                <p:cNvPr id="79" name="Ink 78">
                  <a:extLst>
                    <a:ext uri="{FF2B5EF4-FFF2-40B4-BE49-F238E27FC236}">
                      <a16:creationId xmlns:a16="http://schemas.microsoft.com/office/drawing/2014/main" id="{7F91534A-A94C-462A-AD78-44B38416FC23}"/>
                    </a:ext>
                  </a:extLst>
                </p:cNvPr>
                <p:cNvPicPr/>
                <p:nvPr/>
              </p:nvPicPr>
              <p:blipFill>
                <a:blip r:embed="rId91"/>
                <a:stretch>
                  <a:fillRect/>
                </a:stretch>
              </p:blipFill>
              <p:spPr>
                <a:xfrm>
                  <a:off x="10638862" y="6506579"/>
                  <a:ext cx="565560" cy="18216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80" name="Ink 79">
                  <a:extLst>
                    <a:ext uri="{FF2B5EF4-FFF2-40B4-BE49-F238E27FC236}">
                      <a16:creationId xmlns:a16="http://schemas.microsoft.com/office/drawing/2014/main" id="{C0780ED6-79EA-4AF0-8606-355632A86890}"/>
                    </a:ext>
                  </a:extLst>
                </p14:cNvPr>
                <p14:cNvContentPartPr/>
                <p14:nvPr/>
              </p14:nvContentPartPr>
              <p14:xfrm>
                <a:off x="11208742" y="6560939"/>
                <a:ext cx="345960" cy="123840"/>
              </p14:xfrm>
            </p:contentPart>
          </mc:Choice>
          <mc:Fallback xmlns="">
            <p:pic>
              <p:nvPicPr>
                <p:cNvPr id="80" name="Ink 79">
                  <a:extLst>
                    <a:ext uri="{FF2B5EF4-FFF2-40B4-BE49-F238E27FC236}">
                      <a16:creationId xmlns:a16="http://schemas.microsoft.com/office/drawing/2014/main" id="{C0780ED6-79EA-4AF0-8606-355632A86890}"/>
                    </a:ext>
                  </a:extLst>
                </p:cNvPr>
                <p:cNvPicPr/>
                <p:nvPr/>
              </p:nvPicPr>
              <p:blipFill>
                <a:blip r:embed="rId93"/>
                <a:stretch>
                  <a:fillRect/>
                </a:stretch>
              </p:blipFill>
              <p:spPr>
                <a:xfrm>
                  <a:off x="11191102" y="6542939"/>
                  <a:ext cx="381600" cy="159480"/>
                </a:xfrm>
                <a:prstGeom prst="rect">
                  <a:avLst/>
                </a:prstGeom>
              </p:spPr>
            </p:pic>
          </mc:Fallback>
        </mc:AlternateContent>
      </p:grpSp>
      <p:grpSp>
        <p:nvGrpSpPr>
          <p:cNvPr id="84" name="Group 83">
            <a:extLst>
              <a:ext uri="{FF2B5EF4-FFF2-40B4-BE49-F238E27FC236}">
                <a16:creationId xmlns:a16="http://schemas.microsoft.com/office/drawing/2014/main" id="{D2D1DCEF-8AA7-47C9-B8A1-9D05B27273A2}"/>
              </a:ext>
            </a:extLst>
          </p:cNvPr>
          <p:cNvGrpSpPr/>
          <p:nvPr/>
        </p:nvGrpSpPr>
        <p:grpSpPr>
          <a:xfrm>
            <a:off x="11050342" y="5969459"/>
            <a:ext cx="683640" cy="241200"/>
            <a:chOff x="11050342" y="5969459"/>
            <a:chExt cx="683640" cy="241200"/>
          </a:xfrm>
        </p:grpSpPr>
        <mc:AlternateContent xmlns:mc="http://schemas.openxmlformats.org/markup-compatibility/2006" xmlns:p14="http://schemas.microsoft.com/office/powerpoint/2010/main">
          <mc:Choice Requires="p14">
            <p:contentPart p14:bwMode="auto" r:id="rId94">
              <p14:nvContentPartPr>
                <p14:cNvPr id="82" name="Ink 81">
                  <a:extLst>
                    <a:ext uri="{FF2B5EF4-FFF2-40B4-BE49-F238E27FC236}">
                      <a16:creationId xmlns:a16="http://schemas.microsoft.com/office/drawing/2014/main" id="{969E53DF-3DFD-4873-8276-3FBCBE9DA019}"/>
                    </a:ext>
                  </a:extLst>
                </p14:cNvPr>
                <p14:cNvContentPartPr/>
                <p14:nvPr/>
              </p14:nvContentPartPr>
              <p14:xfrm>
                <a:off x="11050342" y="6025979"/>
                <a:ext cx="446040" cy="184680"/>
              </p14:xfrm>
            </p:contentPart>
          </mc:Choice>
          <mc:Fallback xmlns="">
            <p:pic>
              <p:nvPicPr>
                <p:cNvPr id="82" name="Ink 81">
                  <a:extLst>
                    <a:ext uri="{FF2B5EF4-FFF2-40B4-BE49-F238E27FC236}">
                      <a16:creationId xmlns:a16="http://schemas.microsoft.com/office/drawing/2014/main" id="{969E53DF-3DFD-4873-8276-3FBCBE9DA019}"/>
                    </a:ext>
                  </a:extLst>
                </p:cNvPr>
                <p:cNvPicPr/>
                <p:nvPr/>
              </p:nvPicPr>
              <p:blipFill>
                <a:blip r:embed="rId95"/>
                <a:stretch>
                  <a:fillRect/>
                </a:stretch>
              </p:blipFill>
              <p:spPr>
                <a:xfrm>
                  <a:off x="11032702" y="6007979"/>
                  <a:ext cx="481680" cy="22032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83" name="Ink 82">
                  <a:extLst>
                    <a:ext uri="{FF2B5EF4-FFF2-40B4-BE49-F238E27FC236}">
                      <a16:creationId xmlns:a16="http://schemas.microsoft.com/office/drawing/2014/main" id="{FF6946E9-25E9-4863-A9EF-2C6FD6178BF2}"/>
                    </a:ext>
                  </a:extLst>
                </p14:cNvPr>
                <p14:cNvContentPartPr/>
                <p14:nvPr/>
              </p14:nvContentPartPr>
              <p14:xfrm>
                <a:off x="11609062" y="5969459"/>
                <a:ext cx="124920" cy="212760"/>
              </p14:xfrm>
            </p:contentPart>
          </mc:Choice>
          <mc:Fallback xmlns="">
            <p:pic>
              <p:nvPicPr>
                <p:cNvPr id="83" name="Ink 82">
                  <a:extLst>
                    <a:ext uri="{FF2B5EF4-FFF2-40B4-BE49-F238E27FC236}">
                      <a16:creationId xmlns:a16="http://schemas.microsoft.com/office/drawing/2014/main" id="{FF6946E9-25E9-4863-A9EF-2C6FD6178BF2}"/>
                    </a:ext>
                  </a:extLst>
                </p:cNvPr>
                <p:cNvPicPr/>
                <p:nvPr/>
              </p:nvPicPr>
              <p:blipFill>
                <a:blip r:embed="rId97"/>
                <a:stretch>
                  <a:fillRect/>
                </a:stretch>
              </p:blipFill>
              <p:spPr>
                <a:xfrm>
                  <a:off x="11591422" y="5951459"/>
                  <a:ext cx="160560" cy="248400"/>
                </a:xfrm>
                <a:prstGeom prst="rect">
                  <a:avLst/>
                </a:prstGeom>
              </p:spPr>
            </p:pic>
          </mc:Fallback>
        </mc:AlternateContent>
      </p:grpSp>
      <p:grpSp>
        <p:nvGrpSpPr>
          <p:cNvPr id="94" name="Group 93">
            <a:extLst>
              <a:ext uri="{FF2B5EF4-FFF2-40B4-BE49-F238E27FC236}">
                <a16:creationId xmlns:a16="http://schemas.microsoft.com/office/drawing/2014/main" id="{0E7EC789-8F72-4CBD-892C-34BC1234B78F}"/>
              </a:ext>
            </a:extLst>
          </p:cNvPr>
          <p:cNvGrpSpPr/>
          <p:nvPr/>
        </p:nvGrpSpPr>
        <p:grpSpPr>
          <a:xfrm>
            <a:off x="5790022" y="6402179"/>
            <a:ext cx="2471760" cy="341640"/>
            <a:chOff x="5790022" y="6402179"/>
            <a:chExt cx="2471760" cy="341640"/>
          </a:xfrm>
        </p:grpSpPr>
        <mc:AlternateContent xmlns:mc="http://schemas.openxmlformats.org/markup-compatibility/2006" xmlns:p14="http://schemas.microsoft.com/office/powerpoint/2010/main">
          <mc:Choice Requires="p14">
            <p:contentPart p14:bwMode="auto" r:id="rId98">
              <p14:nvContentPartPr>
                <p14:cNvPr id="85" name="Ink 84">
                  <a:extLst>
                    <a:ext uri="{FF2B5EF4-FFF2-40B4-BE49-F238E27FC236}">
                      <a16:creationId xmlns:a16="http://schemas.microsoft.com/office/drawing/2014/main" id="{018409A7-1925-47F2-AF3F-989877F1DFF8}"/>
                    </a:ext>
                  </a:extLst>
                </p14:cNvPr>
                <p14:cNvContentPartPr/>
                <p14:nvPr/>
              </p14:nvContentPartPr>
              <p14:xfrm>
                <a:off x="5790022" y="6484979"/>
                <a:ext cx="171000" cy="189720"/>
              </p14:xfrm>
            </p:contentPart>
          </mc:Choice>
          <mc:Fallback xmlns="">
            <p:pic>
              <p:nvPicPr>
                <p:cNvPr id="85" name="Ink 84">
                  <a:extLst>
                    <a:ext uri="{FF2B5EF4-FFF2-40B4-BE49-F238E27FC236}">
                      <a16:creationId xmlns:a16="http://schemas.microsoft.com/office/drawing/2014/main" id="{018409A7-1925-47F2-AF3F-989877F1DFF8}"/>
                    </a:ext>
                  </a:extLst>
                </p:cNvPr>
                <p:cNvPicPr/>
                <p:nvPr/>
              </p:nvPicPr>
              <p:blipFill>
                <a:blip r:embed="rId99"/>
                <a:stretch>
                  <a:fillRect/>
                </a:stretch>
              </p:blipFill>
              <p:spPr>
                <a:xfrm>
                  <a:off x="5772382" y="6466979"/>
                  <a:ext cx="206640" cy="22536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86" name="Ink 85">
                  <a:extLst>
                    <a:ext uri="{FF2B5EF4-FFF2-40B4-BE49-F238E27FC236}">
                      <a16:creationId xmlns:a16="http://schemas.microsoft.com/office/drawing/2014/main" id="{C049703C-1CBE-416A-B730-7F9470EBB21D}"/>
                    </a:ext>
                  </a:extLst>
                </p14:cNvPr>
                <p14:cNvContentPartPr/>
                <p14:nvPr/>
              </p14:nvContentPartPr>
              <p14:xfrm>
                <a:off x="5999542" y="6518099"/>
                <a:ext cx="209880" cy="222120"/>
              </p14:xfrm>
            </p:contentPart>
          </mc:Choice>
          <mc:Fallback xmlns="">
            <p:pic>
              <p:nvPicPr>
                <p:cNvPr id="86" name="Ink 85">
                  <a:extLst>
                    <a:ext uri="{FF2B5EF4-FFF2-40B4-BE49-F238E27FC236}">
                      <a16:creationId xmlns:a16="http://schemas.microsoft.com/office/drawing/2014/main" id="{C049703C-1CBE-416A-B730-7F9470EBB21D}"/>
                    </a:ext>
                  </a:extLst>
                </p:cNvPr>
                <p:cNvPicPr/>
                <p:nvPr/>
              </p:nvPicPr>
              <p:blipFill>
                <a:blip r:embed="rId101"/>
                <a:stretch>
                  <a:fillRect/>
                </a:stretch>
              </p:blipFill>
              <p:spPr>
                <a:xfrm>
                  <a:off x="5981542" y="6500099"/>
                  <a:ext cx="245520" cy="25776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87" name="Ink 86">
                  <a:extLst>
                    <a:ext uri="{FF2B5EF4-FFF2-40B4-BE49-F238E27FC236}">
                      <a16:creationId xmlns:a16="http://schemas.microsoft.com/office/drawing/2014/main" id="{4F1431AE-EEAD-49AD-A478-7242F8D86A8B}"/>
                    </a:ext>
                  </a:extLst>
                </p14:cNvPr>
                <p14:cNvContentPartPr/>
                <p14:nvPr/>
              </p14:nvContentPartPr>
              <p14:xfrm>
                <a:off x="6305182" y="6402179"/>
                <a:ext cx="782280" cy="340920"/>
              </p14:xfrm>
            </p:contentPart>
          </mc:Choice>
          <mc:Fallback xmlns="">
            <p:pic>
              <p:nvPicPr>
                <p:cNvPr id="87" name="Ink 86">
                  <a:extLst>
                    <a:ext uri="{FF2B5EF4-FFF2-40B4-BE49-F238E27FC236}">
                      <a16:creationId xmlns:a16="http://schemas.microsoft.com/office/drawing/2014/main" id="{4F1431AE-EEAD-49AD-A478-7242F8D86A8B}"/>
                    </a:ext>
                  </a:extLst>
                </p:cNvPr>
                <p:cNvPicPr/>
                <p:nvPr/>
              </p:nvPicPr>
              <p:blipFill>
                <a:blip r:embed="rId103"/>
                <a:stretch>
                  <a:fillRect/>
                </a:stretch>
              </p:blipFill>
              <p:spPr>
                <a:xfrm>
                  <a:off x="6287542" y="6384539"/>
                  <a:ext cx="817920" cy="37656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88" name="Ink 87">
                  <a:extLst>
                    <a:ext uri="{FF2B5EF4-FFF2-40B4-BE49-F238E27FC236}">
                      <a16:creationId xmlns:a16="http://schemas.microsoft.com/office/drawing/2014/main" id="{304B6FF2-D79F-48DA-8A3B-1E37F3FA6625}"/>
                    </a:ext>
                  </a:extLst>
                </p14:cNvPr>
                <p14:cNvContentPartPr/>
                <p14:nvPr/>
              </p14:nvContentPartPr>
              <p14:xfrm>
                <a:off x="7032382" y="6559499"/>
                <a:ext cx="306360" cy="137520"/>
              </p14:xfrm>
            </p:contentPart>
          </mc:Choice>
          <mc:Fallback xmlns="">
            <p:pic>
              <p:nvPicPr>
                <p:cNvPr id="88" name="Ink 87">
                  <a:extLst>
                    <a:ext uri="{FF2B5EF4-FFF2-40B4-BE49-F238E27FC236}">
                      <a16:creationId xmlns:a16="http://schemas.microsoft.com/office/drawing/2014/main" id="{304B6FF2-D79F-48DA-8A3B-1E37F3FA6625}"/>
                    </a:ext>
                  </a:extLst>
                </p:cNvPr>
                <p:cNvPicPr/>
                <p:nvPr/>
              </p:nvPicPr>
              <p:blipFill>
                <a:blip r:embed="rId105"/>
                <a:stretch>
                  <a:fillRect/>
                </a:stretch>
              </p:blipFill>
              <p:spPr>
                <a:xfrm>
                  <a:off x="7014742" y="6541859"/>
                  <a:ext cx="342000" cy="17316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89" name="Ink 88">
                  <a:extLst>
                    <a:ext uri="{FF2B5EF4-FFF2-40B4-BE49-F238E27FC236}">
                      <a16:creationId xmlns:a16="http://schemas.microsoft.com/office/drawing/2014/main" id="{1535115E-9818-482B-9C71-560078BE8F1C}"/>
                    </a:ext>
                  </a:extLst>
                </p14:cNvPr>
                <p14:cNvContentPartPr/>
                <p14:nvPr/>
              </p14:nvContentPartPr>
              <p14:xfrm>
                <a:off x="7365022" y="6456539"/>
                <a:ext cx="160560" cy="257760"/>
              </p14:xfrm>
            </p:contentPart>
          </mc:Choice>
          <mc:Fallback xmlns="">
            <p:pic>
              <p:nvPicPr>
                <p:cNvPr id="89" name="Ink 88">
                  <a:extLst>
                    <a:ext uri="{FF2B5EF4-FFF2-40B4-BE49-F238E27FC236}">
                      <a16:creationId xmlns:a16="http://schemas.microsoft.com/office/drawing/2014/main" id="{1535115E-9818-482B-9C71-560078BE8F1C}"/>
                    </a:ext>
                  </a:extLst>
                </p:cNvPr>
                <p:cNvPicPr/>
                <p:nvPr/>
              </p:nvPicPr>
              <p:blipFill>
                <a:blip r:embed="rId107"/>
                <a:stretch>
                  <a:fillRect/>
                </a:stretch>
              </p:blipFill>
              <p:spPr>
                <a:xfrm>
                  <a:off x="7347382" y="6438539"/>
                  <a:ext cx="196200" cy="293400"/>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90" name="Ink 89">
                  <a:extLst>
                    <a:ext uri="{FF2B5EF4-FFF2-40B4-BE49-F238E27FC236}">
                      <a16:creationId xmlns:a16="http://schemas.microsoft.com/office/drawing/2014/main" id="{B8556630-EB73-4D99-B90A-D29EE9BB4A49}"/>
                    </a:ext>
                  </a:extLst>
                </p14:cNvPr>
                <p14:cNvContentPartPr/>
                <p14:nvPr/>
              </p14:nvContentPartPr>
              <p14:xfrm>
                <a:off x="7635742" y="6566339"/>
                <a:ext cx="166680" cy="145440"/>
              </p14:xfrm>
            </p:contentPart>
          </mc:Choice>
          <mc:Fallback xmlns="">
            <p:pic>
              <p:nvPicPr>
                <p:cNvPr id="90" name="Ink 89">
                  <a:extLst>
                    <a:ext uri="{FF2B5EF4-FFF2-40B4-BE49-F238E27FC236}">
                      <a16:creationId xmlns:a16="http://schemas.microsoft.com/office/drawing/2014/main" id="{B8556630-EB73-4D99-B90A-D29EE9BB4A49}"/>
                    </a:ext>
                  </a:extLst>
                </p:cNvPr>
                <p:cNvPicPr/>
                <p:nvPr/>
              </p:nvPicPr>
              <p:blipFill>
                <a:blip r:embed="rId109"/>
                <a:stretch>
                  <a:fillRect/>
                </a:stretch>
              </p:blipFill>
              <p:spPr>
                <a:xfrm>
                  <a:off x="7617742" y="6548699"/>
                  <a:ext cx="202320" cy="18108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91" name="Ink 90">
                  <a:extLst>
                    <a:ext uri="{FF2B5EF4-FFF2-40B4-BE49-F238E27FC236}">
                      <a16:creationId xmlns:a16="http://schemas.microsoft.com/office/drawing/2014/main" id="{5F94F868-2DEF-474F-81D9-A6FBE37A70FD}"/>
                    </a:ext>
                  </a:extLst>
                </p14:cNvPr>
                <p14:cNvContentPartPr/>
                <p14:nvPr/>
              </p14:nvContentPartPr>
              <p14:xfrm>
                <a:off x="7847782" y="6478859"/>
                <a:ext cx="54720" cy="201240"/>
              </p14:xfrm>
            </p:contentPart>
          </mc:Choice>
          <mc:Fallback xmlns="">
            <p:pic>
              <p:nvPicPr>
                <p:cNvPr id="91" name="Ink 90">
                  <a:extLst>
                    <a:ext uri="{FF2B5EF4-FFF2-40B4-BE49-F238E27FC236}">
                      <a16:creationId xmlns:a16="http://schemas.microsoft.com/office/drawing/2014/main" id="{5F94F868-2DEF-474F-81D9-A6FBE37A70FD}"/>
                    </a:ext>
                  </a:extLst>
                </p:cNvPr>
                <p:cNvPicPr/>
                <p:nvPr/>
              </p:nvPicPr>
              <p:blipFill>
                <a:blip r:embed="rId111"/>
                <a:stretch>
                  <a:fillRect/>
                </a:stretch>
              </p:blipFill>
              <p:spPr>
                <a:xfrm>
                  <a:off x="7829782" y="6461219"/>
                  <a:ext cx="90360" cy="23688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92" name="Ink 91">
                  <a:extLst>
                    <a:ext uri="{FF2B5EF4-FFF2-40B4-BE49-F238E27FC236}">
                      <a16:creationId xmlns:a16="http://schemas.microsoft.com/office/drawing/2014/main" id="{88FA1C34-6A04-4316-B001-8B1E10BD4B03}"/>
                    </a:ext>
                  </a:extLst>
                </p14:cNvPr>
                <p14:cNvContentPartPr/>
                <p14:nvPr/>
              </p14:nvContentPartPr>
              <p14:xfrm>
                <a:off x="7992142" y="6471299"/>
                <a:ext cx="61560" cy="272520"/>
              </p14:xfrm>
            </p:contentPart>
          </mc:Choice>
          <mc:Fallback xmlns="">
            <p:pic>
              <p:nvPicPr>
                <p:cNvPr id="92" name="Ink 91">
                  <a:extLst>
                    <a:ext uri="{FF2B5EF4-FFF2-40B4-BE49-F238E27FC236}">
                      <a16:creationId xmlns:a16="http://schemas.microsoft.com/office/drawing/2014/main" id="{88FA1C34-6A04-4316-B001-8B1E10BD4B03}"/>
                    </a:ext>
                  </a:extLst>
                </p:cNvPr>
                <p:cNvPicPr/>
                <p:nvPr/>
              </p:nvPicPr>
              <p:blipFill>
                <a:blip r:embed="rId113"/>
                <a:stretch>
                  <a:fillRect/>
                </a:stretch>
              </p:blipFill>
              <p:spPr>
                <a:xfrm>
                  <a:off x="7974142" y="6453299"/>
                  <a:ext cx="97200" cy="30816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93" name="Ink 92">
                  <a:extLst>
                    <a:ext uri="{FF2B5EF4-FFF2-40B4-BE49-F238E27FC236}">
                      <a16:creationId xmlns:a16="http://schemas.microsoft.com/office/drawing/2014/main" id="{C9F7BC76-3D08-490B-B61D-FF64C82B8CD2}"/>
                    </a:ext>
                  </a:extLst>
                </p14:cNvPr>
                <p14:cNvContentPartPr/>
                <p14:nvPr/>
              </p14:nvContentPartPr>
              <p14:xfrm>
                <a:off x="7925182" y="6608099"/>
                <a:ext cx="336600" cy="121320"/>
              </p14:xfrm>
            </p:contentPart>
          </mc:Choice>
          <mc:Fallback xmlns="">
            <p:pic>
              <p:nvPicPr>
                <p:cNvPr id="93" name="Ink 92">
                  <a:extLst>
                    <a:ext uri="{FF2B5EF4-FFF2-40B4-BE49-F238E27FC236}">
                      <a16:creationId xmlns:a16="http://schemas.microsoft.com/office/drawing/2014/main" id="{C9F7BC76-3D08-490B-B61D-FF64C82B8CD2}"/>
                    </a:ext>
                  </a:extLst>
                </p:cNvPr>
                <p:cNvPicPr/>
                <p:nvPr/>
              </p:nvPicPr>
              <p:blipFill>
                <a:blip r:embed="rId115"/>
                <a:stretch>
                  <a:fillRect/>
                </a:stretch>
              </p:blipFill>
              <p:spPr>
                <a:xfrm>
                  <a:off x="7907182" y="6590459"/>
                  <a:ext cx="372240" cy="156960"/>
                </a:xfrm>
                <a:prstGeom prst="rect">
                  <a:avLst/>
                </a:prstGeom>
              </p:spPr>
            </p:pic>
          </mc:Fallback>
        </mc:AlternateContent>
      </p:grpSp>
      <p:grpSp>
        <p:nvGrpSpPr>
          <p:cNvPr id="144" name="Group 143">
            <a:extLst>
              <a:ext uri="{FF2B5EF4-FFF2-40B4-BE49-F238E27FC236}">
                <a16:creationId xmlns:a16="http://schemas.microsoft.com/office/drawing/2014/main" id="{F569846E-95B6-4C26-AC97-7EF96D52FA22}"/>
              </a:ext>
            </a:extLst>
          </p:cNvPr>
          <p:cNvGrpSpPr/>
          <p:nvPr/>
        </p:nvGrpSpPr>
        <p:grpSpPr>
          <a:xfrm>
            <a:off x="498022" y="5201219"/>
            <a:ext cx="4788720" cy="1531800"/>
            <a:chOff x="498022" y="5201219"/>
            <a:chExt cx="4788720" cy="1531800"/>
          </a:xfrm>
        </p:grpSpPr>
        <mc:AlternateContent xmlns:mc="http://schemas.openxmlformats.org/markup-compatibility/2006" xmlns:p14="http://schemas.microsoft.com/office/powerpoint/2010/main">
          <mc:Choice Requires="p14">
            <p:contentPart p14:bwMode="auto" r:id="rId116">
              <p14:nvContentPartPr>
                <p14:cNvPr id="95" name="Ink 94">
                  <a:extLst>
                    <a:ext uri="{FF2B5EF4-FFF2-40B4-BE49-F238E27FC236}">
                      <a16:creationId xmlns:a16="http://schemas.microsoft.com/office/drawing/2014/main" id="{F01FCE55-4A8E-48EE-B4A9-2268CEE5F73A}"/>
                    </a:ext>
                  </a:extLst>
                </p14:cNvPr>
                <p14:cNvContentPartPr/>
                <p14:nvPr/>
              </p14:nvContentPartPr>
              <p14:xfrm>
                <a:off x="498022" y="5657339"/>
                <a:ext cx="175320" cy="389880"/>
              </p14:xfrm>
            </p:contentPart>
          </mc:Choice>
          <mc:Fallback xmlns="">
            <p:pic>
              <p:nvPicPr>
                <p:cNvPr id="95" name="Ink 94">
                  <a:extLst>
                    <a:ext uri="{FF2B5EF4-FFF2-40B4-BE49-F238E27FC236}">
                      <a16:creationId xmlns:a16="http://schemas.microsoft.com/office/drawing/2014/main" id="{F01FCE55-4A8E-48EE-B4A9-2268CEE5F73A}"/>
                    </a:ext>
                  </a:extLst>
                </p:cNvPr>
                <p:cNvPicPr/>
                <p:nvPr/>
              </p:nvPicPr>
              <p:blipFill>
                <a:blip r:embed="rId117"/>
                <a:stretch>
                  <a:fillRect/>
                </a:stretch>
              </p:blipFill>
              <p:spPr>
                <a:xfrm>
                  <a:off x="480022" y="5639699"/>
                  <a:ext cx="210960" cy="425520"/>
                </a:xfrm>
                <a:prstGeom prst="rect">
                  <a:avLst/>
                </a:prstGeom>
              </p:spPr>
            </p:pic>
          </mc:Fallback>
        </mc:AlternateContent>
        <mc:AlternateContent xmlns:mc="http://schemas.openxmlformats.org/markup-compatibility/2006" xmlns:p14="http://schemas.microsoft.com/office/powerpoint/2010/main">
          <mc:Choice Requires="p14">
            <p:contentPart p14:bwMode="auto" r:id="rId118">
              <p14:nvContentPartPr>
                <p14:cNvPr id="96" name="Ink 95">
                  <a:extLst>
                    <a:ext uri="{FF2B5EF4-FFF2-40B4-BE49-F238E27FC236}">
                      <a16:creationId xmlns:a16="http://schemas.microsoft.com/office/drawing/2014/main" id="{498C6CBD-F300-4880-B670-6619DCF4C212}"/>
                    </a:ext>
                  </a:extLst>
                </p14:cNvPr>
                <p14:cNvContentPartPr/>
                <p14:nvPr/>
              </p14:nvContentPartPr>
              <p14:xfrm>
                <a:off x="617542" y="5794859"/>
                <a:ext cx="394920" cy="163800"/>
              </p14:xfrm>
            </p:contentPart>
          </mc:Choice>
          <mc:Fallback xmlns="">
            <p:pic>
              <p:nvPicPr>
                <p:cNvPr id="96" name="Ink 95">
                  <a:extLst>
                    <a:ext uri="{FF2B5EF4-FFF2-40B4-BE49-F238E27FC236}">
                      <a16:creationId xmlns:a16="http://schemas.microsoft.com/office/drawing/2014/main" id="{498C6CBD-F300-4880-B670-6619DCF4C212}"/>
                    </a:ext>
                  </a:extLst>
                </p:cNvPr>
                <p:cNvPicPr/>
                <p:nvPr/>
              </p:nvPicPr>
              <p:blipFill>
                <a:blip r:embed="rId119"/>
                <a:stretch>
                  <a:fillRect/>
                </a:stretch>
              </p:blipFill>
              <p:spPr>
                <a:xfrm>
                  <a:off x="599542" y="5777219"/>
                  <a:ext cx="430560" cy="199440"/>
                </a:xfrm>
                <a:prstGeom prst="rect">
                  <a:avLst/>
                </a:prstGeom>
              </p:spPr>
            </p:pic>
          </mc:Fallback>
        </mc:AlternateContent>
        <mc:AlternateContent xmlns:mc="http://schemas.openxmlformats.org/markup-compatibility/2006" xmlns:p14="http://schemas.microsoft.com/office/powerpoint/2010/main">
          <mc:Choice Requires="p14">
            <p:contentPart p14:bwMode="auto" r:id="rId120">
              <p14:nvContentPartPr>
                <p14:cNvPr id="97" name="Ink 96">
                  <a:extLst>
                    <a:ext uri="{FF2B5EF4-FFF2-40B4-BE49-F238E27FC236}">
                      <a16:creationId xmlns:a16="http://schemas.microsoft.com/office/drawing/2014/main" id="{2BEDA28E-6F36-47C5-8E01-B57D24352273}"/>
                    </a:ext>
                  </a:extLst>
                </p14:cNvPr>
                <p14:cNvContentPartPr/>
                <p14:nvPr/>
              </p14:nvContentPartPr>
              <p14:xfrm>
                <a:off x="1025422" y="5652659"/>
                <a:ext cx="213840" cy="247320"/>
              </p14:xfrm>
            </p:contentPart>
          </mc:Choice>
          <mc:Fallback xmlns="">
            <p:pic>
              <p:nvPicPr>
                <p:cNvPr id="97" name="Ink 96">
                  <a:extLst>
                    <a:ext uri="{FF2B5EF4-FFF2-40B4-BE49-F238E27FC236}">
                      <a16:creationId xmlns:a16="http://schemas.microsoft.com/office/drawing/2014/main" id="{2BEDA28E-6F36-47C5-8E01-B57D24352273}"/>
                    </a:ext>
                  </a:extLst>
                </p:cNvPr>
                <p:cNvPicPr/>
                <p:nvPr/>
              </p:nvPicPr>
              <p:blipFill>
                <a:blip r:embed="rId121"/>
                <a:stretch>
                  <a:fillRect/>
                </a:stretch>
              </p:blipFill>
              <p:spPr>
                <a:xfrm>
                  <a:off x="1007422" y="5635019"/>
                  <a:ext cx="249480" cy="282960"/>
                </a:xfrm>
                <a:prstGeom prst="rect">
                  <a:avLst/>
                </a:prstGeom>
              </p:spPr>
            </p:pic>
          </mc:Fallback>
        </mc:AlternateContent>
        <mc:AlternateContent xmlns:mc="http://schemas.openxmlformats.org/markup-compatibility/2006" xmlns:p14="http://schemas.microsoft.com/office/powerpoint/2010/main">
          <mc:Choice Requires="p14">
            <p:contentPart p14:bwMode="auto" r:id="rId122">
              <p14:nvContentPartPr>
                <p14:cNvPr id="98" name="Ink 97">
                  <a:extLst>
                    <a:ext uri="{FF2B5EF4-FFF2-40B4-BE49-F238E27FC236}">
                      <a16:creationId xmlns:a16="http://schemas.microsoft.com/office/drawing/2014/main" id="{BA569A0F-2C23-47D5-9D0E-BF8A625DA919}"/>
                    </a:ext>
                  </a:extLst>
                </p14:cNvPr>
                <p14:cNvContentPartPr/>
                <p14:nvPr/>
              </p14:nvContentPartPr>
              <p14:xfrm>
                <a:off x="1303342" y="5657339"/>
                <a:ext cx="393840" cy="193680"/>
              </p14:xfrm>
            </p:contentPart>
          </mc:Choice>
          <mc:Fallback xmlns="">
            <p:pic>
              <p:nvPicPr>
                <p:cNvPr id="98" name="Ink 97">
                  <a:extLst>
                    <a:ext uri="{FF2B5EF4-FFF2-40B4-BE49-F238E27FC236}">
                      <a16:creationId xmlns:a16="http://schemas.microsoft.com/office/drawing/2014/main" id="{BA569A0F-2C23-47D5-9D0E-BF8A625DA919}"/>
                    </a:ext>
                  </a:extLst>
                </p:cNvPr>
                <p:cNvPicPr/>
                <p:nvPr/>
              </p:nvPicPr>
              <p:blipFill>
                <a:blip r:embed="rId123"/>
                <a:stretch>
                  <a:fillRect/>
                </a:stretch>
              </p:blipFill>
              <p:spPr>
                <a:xfrm>
                  <a:off x="1285702" y="5639699"/>
                  <a:ext cx="429480" cy="229320"/>
                </a:xfrm>
                <a:prstGeom prst="rect">
                  <a:avLst/>
                </a:prstGeom>
              </p:spPr>
            </p:pic>
          </mc:Fallback>
        </mc:AlternateContent>
        <mc:AlternateContent xmlns:mc="http://schemas.openxmlformats.org/markup-compatibility/2006" xmlns:p14="http://schemas.microsoft.com/office/powerpoint/2010/main">
          <mc:Choice Requires="p14">
            <p:contentPart p14:bwMode="auto" r:id="rId124">
              <p14:nvContentPartPr>
                <p14:cNvPr id="99" name="Ink 98">
                  <a:extLst>
                    <a:ext uri="{FF2B5EF4-FFF2-40B4-BE49-F238E27FC236}">
                      <a16:creationId xmlns:a16="http://schemas.microsoft.com/office/drawing/2014/main" id="{B8CCA838-5EDA-4D67-B387-C380C0E461F3}"/>
                    </a:ext>
                  </a:extLst>
                </p14:cNvPr>
                <p14:cNvContentPartPr/>
                <p14:nvPr/>
              </p14:nvContentPartPr>
              <p14:xfrm>
                <a:off x="1644262" y="5561219"/>
                <a:ext cx="126000" cy="200160"/>
              </p14:xfrm>
            </p:contentPart>
          </mc:Choice>
          <mc:Fallback xmlns="">
            <p:pic>
              <p:nvPicPr>
                <p:cNvPr id="99" name="Ink 98">
                  <a:extLst>
                    <a:ext uri="{FF2B5EF4-FFF2-40B4-BE49-F238E27FC236}">
                      <a16:creationId xmlns:a16="http://schemas.microsoft.com/office/drawing/2014/main" id="{B8CCA838-5EDA-4D67-B387-C380C0E461F3}"/>
                    </a:ext>
                  </a:extLst>
                </p:cNvPr>
                <p:cNvPicPr/>
                <p:nvPr/>
              </p:nvPicPr>
              <p:blipFill>
                <a:blip r:embed="rId125"/>
                <a:stretch>
                  <a:fillRect/>
                </a:stretch>
              </p:blipFill>
              <p:spPr>
                <a:xfrm>
                  <a:off x="1626262" y="5543219"/>
                  <a:ext cx="161640" cy="235800"/>
                </a:xfrm>
                <a:prstGeom prst="rect">
                  <a:avLst/>
                </a:prstGeom>
              </p:spPr>
            </p:pic>
          </mc:Fallback>
        </mc:AlternateContent>
        <mc:AlternateContent xmlns:mc="http://schemas.openxmlformats.org/markup-compatibility/2006" xmlns:p14="http://schemas.microsoft.com/office/powerpoint/2010/main">
          <mc:Choice Requires="p14">
            <p:contentPart p14:bwMode="auto" r:id="rId126">
              <p14:nvContentPartPr>
                <p14:cNvPr id="100" name="Ink 99">
                  <a:extLst>
                    <a:ext uri="{FF2B5EF4-FFF2-40B4-BE49-F238E27FC236}">
                      <a16:creationId xmlns:a16="http://schemas.microsoft.com/office/drawing/2014/main" id="{65DD72E3-4958-49E3-B42C-8031B6A2038C}"/>
                    </a:ext>
                  </a:extLst>
                </p14:cNvPr>
                <p14:cNvContentPartPr/>
                <p14:nvPr/>
              </p14:nvContentPartPr>
              <p14:xfrm>
                <a:off x="1760542" y="5501099"/>
                <a:ext cx="176400" cy="213840"/>
              </p14:xfrm>
            </p:contentPart>
          </mc:Choice>
          <mc:Fallback xmlns="">
            <p:pic>
              <p:nvPicPr>
                <p:cNvPr id="100" name="Ink 99">
                  <a:extLst>
                    <a:ext uri="{FF2B5EF4-FFF2-40B4-BE49-F238E27FC236}">
                      <a16:creationId xmlns:a16="http://schemas.microsoft.com/office/drawing/2014/main" id="{65DD72E3-4958-49E3-B42C-8031B6A2038C}"/>
                    </a:ext>
                  </a:extLst>
                </p:cNvPr>
                <p:cNvPicPr/>
                <p:nvPr/>
              </p:nvPicPr>
              <p:blipFill>
                <a:blip r:embed="rId127"/>
                <a:stretch>
                  <a:fillRect/>
                </a:stretch>
              </p:blipFill>
              <p:spPr>
                <a:xfrm>
                  <a:off x="1742902" y="5483459"/>
                  <a:ext cx="212040" cy="249480"/>
                </a:xfrm>
                <a:prstGeom prst="rect">
                  <a:avLst/>
                </a:prstGeom>
              </p:spPr>
            </p:pic>
          </mc:Fallback>
        </mc:AlternateContent>
        <mc:AlternateContent xmlns:mc="http://schemas.openxmlformats.org/markup-compatibility/2006" xmlns:p14="http://schemas.microsoft.com/office/powerpoint/2010/main">
          <mc:Choice Requires="p14">
            <p:contentPart p14:bwMode="auto" r:id="rId128">
              <p14:nvContentPartPr>
                <p14:cNvPr id="101" name="Ink 100">
                  <a:extLst>
                    <a:ext uri="{FF2B5EF4-FFF2-40B4-BE49-F238E27FC236}">
                      <a16:creationId xmlns:a16="http://schemas.microsoft.com/office/drawing/2014/main" id="{F133BEA6-7353-49CE-8A35-AF2A6E1494D7}"/>
                    </a:ext>
                  </a:extLst>
                </p14:cNvPr>
                <p14:cNvContentPartPr/>
                <p14:nvPr/>
              </p14:nvContentPartPr>
              <p14:xfrm>
                <a:off x="1953142" y="5434859"/>
                <a:ext cx="109080" cy="254160"/>
              </p14:xfrm>
            </p:contentPart>
          </mc:Choice>
          <mc:Fallback xmlns="">
            <p:pic>
              <p:nvPicPr>
                <p:cNvPr id="101" name="Ink 100">
                  <a:extLst>
                    <a:ext uri="{FF2B5EF4-FFF2-40B4-BE49-F238E27FC236}">
                      <a16:creationId xmlns:a16="http://schemas.microsoft.com/office/drawing/2014/main" id="{F133BEA6-7353-49CE-8A35-AF2A6E1494D7}"/>
                    </a:ext>
                  </a:extLst>
                </p:cNvPr>
                <p:cNvPicPr/>
                <p:nvPr/>
              </p:nvPicPr>
              <p:blipFill>
                <a:blip r:embed="rId129"/>
                <a:stretch>
                  <a:fillRect/>
                </a:stretch>
              </p:blipFill>
              <p:spPr>
                <a:xfrm>
                  <a:off x="1935502" y="5416859"/>
                  <a:ext cx="144720" cy="289800"/>
                </a:xfrm>
                <a:prstGeom prst="rect">
                  <a:avLst/>
                </a:prstGeom>
              </p:spPr>
            </p:pic>
          </mc:Fallback>
        </mc:AlternateContent>
        <mc:AlternateContent xmlns:mc="http://schemas.openxmlformats.org/markup-compatibility/2006" xmlns:p14="http://schemas.microsoft.com/office/powerpoint/2010/main">
          <mc:Choice Requires="p14">
            <p:contentPart p14:bwMode="auto" r:id="rId130">
              <p14:nvContentPartPr>
                <p14:cNvPr id="102" name="Ink 101">
                  <a:extLst>
                    <a:ext uri="{FF2B5EF4-FFF2-40B4-BE49-F238E27FC236}">
                      <a16:creationId xmlns:a16="http://schemas.microsoft.com/office/drawing/2014/main" id="{79242E04-0BA3-4366-9233-E67D580D83E6}"/>
                    </a:ext>
                  </a:extLst>
                </p14:cNvPr>
                <p14:cNvContentPartPr/>
                <p14:nvPr/>
              </p14:nvContentPartPr>
              <p14:xfrm>
                <a:off x="2118022" y="5407139"/>
                <a:ext cx="139320" cy="261360"/>
              </p14:xfrm>
            </p:contentPart>
          </mc:Choice>
          <mc:Fallback xmlns="">
            <p:pic>
              <p:nvPicPr>
                <p:cNvPr id="102" name="Ink 101">
                  <a:extLst>
                    <a:ext uri="{FF2B5EF4-FFF2-40B4-BE49-F238E27FC236}">
                      <a16:creationId xmlns:a16="http://schemas.microsoft.com/office/drawing/2014/main" id="{79242E04-0BA3-4366-9233-E67D580D83E6}"/>
                    </a:ext>
                  </a:extLst>
                </p:cNvPr>
                <p:cNvPicPr/>
                <p:nvPr/>
              </p:nvPicPr>
              <p:blipFill>
                <a:blip r:embed="rId131"/>
                <a:stretch>
                  <a:fillRect/>
                </a:stretch>
              </p:blipFill>
              <p:spPr>
                <a:xfrm>
                  <a:off x="2100022" y="5389139"/>
                  <a:ext cx="174960" cy="297000"/>
                </a:xfrm>
                <a:prstGeom prst="rect">
                  <a:avLst/>
                </a:prstGeom>
              </p:spPr>
            </p:pic>
          </mc:Fallback>
        </mc:AlternateContent>
        <mc:AlternateContent xmlns:mc="http://schemas.openxmlformats.org/markup-compatibility/2006" xmlns:p14="http://schemas.microsoft.com/office/powerpoint/2010/main">
          <mc:Choice Requires="p14">
            <p:contentPart p14:bwMode="auto" r:id="rId132">
              <p14:nvContentPartPr>
                <p14:cNvPr id="103" name="Ink 102">
                  <a:extLst>
                    <a:ext uri="{FF2B5EF4-FFF2-40B4-BE49-F238E27FC236}">
                      <a16:creationId xmlns:a16="http://schemas.microsoft.com/office/drawing/2014/main" id="{0B55B624-D2B4-4CDD-9230-78721FB13F3F}"/>
                    </a:ext>
                  </a:extLst>
                </p14:cNvPr>
                <p14:cNvContentPartPr/>
                <p14:nvPr/>
              </p14:nvContentPartPr>
              <p14:xfrm>
                <a:off x="2135302" y="5492819"/>
                <a:ext cx="380160" cy="272880"/>
              </p14:xfrm>
            </p:contentPart>
          </mc:Choice>
          <mc:Fallback xmlns="">
            <p:pic>
              <p:nvPicPr>
                <p:cNvPr id="103" name="Ink 102">
                  <a:extLst>
                    <a:ext uri="{FF2B5EF4-FFF2-40B4-BE49-F238E27FC236}">
                      <a16:creationId xmlns:a16="http://schemas.microsoft.com/office/drawing/2014/main" id="{0B55B624-D2B4-4CDD-9230-78721FB13F3F}"/>
                    </a:ext>
                  </a:extLst>
                </p:cNvPr>
                <p:cNvPicPr/>
                <p:nvPr/>
              </p:nvPicPr>
              <p:blipFill>
                <a:blip r:embed="rId133"/>
                <a:stretch>
                  <a:fillRect/>
                </a:stretch>
              </p:blipFill>
              <p:spPr>
                <a:xfrm>
                  <a:off x="2117662" y="5475179"/>
                  <a:ext cx="415800" cy="308520"/>
                </a:xfrm>
                <a:prstGeom prst="rect">
                  <a:avLst/>
                </a:prstGeom>
              </p:spPr>
            </p:pic>
          </mc:Fallback>
        </mc:AlternateContent>
        <mc:AlternateContent xmlns:mc="http://schemas.openxmlformats.org/markup-compatibility/2006" xmlns:p14="http://schemas.microsoft.com/office/powerpoint/2010/main">
          <mc:Choice Requires="p14">
            <p:contentPart p14:bwMode="auto" r:id="rId134">
              <p14:nvContentPartPr>
                <p14:cNvPr id="104" name="Ink 103">
                  <a:extLst>
                    <a:ext uri="{FF2B5EF4-FFF2-40B4-BE49-F238E27FC236}">
                      <a16:creationId xmlns:a16="http://schemas.microsoft.com/office/drawing/2014/main" id="{BE9FDF33-B06A-4667-898E-8C54223F3484}"/>
                    </a:ext>
                  </a:extLst>
                </p14:cNvPr>
                <p14:cNvContentPartPr/>
                <p14:nvPr/>
              </p14:nvContentPartPr>
              <p14:xfrm>
                <a:off x="2634262" y="5213459"/>
                <a:ext cx="578160" cy="441000"/>
              </p14:xfrm>
            </p:contentPart>
          </mc:Choice>
          <mc:Fallback xmlns="">
            <p:pic>
              <p:nvPicPr>
                <p:cNvPr id="104" name="Ink 103">
                  <a:extLst>
                    <a:ext uri="{FF2B5EF4-FFF2-40B4-BE49-F238E27FC236}">
                      <a16:creationId xmlns:a16="http://schemas.microsoft.com/office/drawing/2014/main" id="{BE9FDF33-B06A-4667-898E-8C54223F3484}"/>
                    </a:ext>
                  </a:extLst>
                </p:cNvPr>
                <p:cNvPicPr/>
                <p:nvPr/>
              </p:nvPicPr>
              <p:blipFill>
                <a:blip r:embed="rId135"/>
                <a:stretch>
                  <a:fillRect/>
                </a:stretch>
              </p:blipFill>
              <p:spPr>
                <a:xfrm>
                  <a:off x="2616622" y="5195819"/>
                  <a:ext cx="613800" cy="476640"/>
                </a:xfrm>
                <a:prstGeom prst="rect">
                  <a:avLst/>
                </a:prstGeom>
              </p:spPr>
            </p:pic>
          </mc:Fallback>
        </mc:AlternateContent>
        <mc:AlternateContent xmlns:mc="http://schemas.openxmlformats.org/markup-compatibility/2006" xmlns:p14="http://schemas.microsoft.com/office/powerpoint/2010/main">
          <mc:Choice Requires="p14">
            <p:contentPart p14:bwMode="auto" r:id="rId136">
              <p14:nvContentPartPr>
                <p14:cNvPr id="105" name="Ink 104">
                  <a:extLst>
                    <a:ext uri="{FF2B5EF4-FFF2-40B4-BE49-F238E27FC236}">
                      <a16:creationId xmlns:a16="http://schemas.microsoft.com/office/drawing/2014/main" id="{6D6BE2EB-2607-4248-9C27-397D67DAE5F7}"/>
                    </a:ext>
                  </a:extLst>
                </p14:cNvPr>
                <p14:cNvContentPartPr/>
                <p14:nvPr/>
              </p14:nvContentPartPr>
              <p14:xfrm>
                <a:off x="3098662" y="5340539"/>
                <a:ext cx="268560" cy="129960"/>
              </p14:xfrm>
            </p:contentPart>
          </mc:Choice>
          <mc:Fallback xmlns="">
            <p:pic>
              <p:nvPicPr>
                <p:cNvPr id="105" name="Ink 104">
                  <a:extLst>
                    <a:ext uri="{FF2B5EF4-FFF2-40B4-BE49-F238E27FC236}">
                      <a16:creationId xmlns:a16="http://schemas.microsoft.com/office/drawing/2014/main" id="{6D6BE2EB-2607-4248-9C27-397D67DAE5F7}"/>
                    </a:ext>
                  </a:extLst>
                </p:cNvPr>
                <p:cNvPicPr/>
                <p:nvPr/>
              </p:nvPicPr>
              <p:blipFill>
                <a:blip r:embed="rId137"/>
                <a:stretch>
                  <a:fillRect/>
                </a:stretch>
              </p:blipFill>
              <p:spPr>
                <a:xfrm>
                  <a:off x="3081022" y="5322899"/>
                  <a:ext cx="304200" cy="165600"/>
                </a:xfrm>
                <a:prstGeom prst="rect">
                  <a:avLst/>
                </a:prstGeom>
              </p:spPr>
            </p:pic>
          </mc:Fallback>
        </mc:AlternateContent>
        <mc:AlternateContent xmlns:mc="http://schemas.openxmlformats.org/markup-compatibility/2006" xmlns:p14="http://schemas.microsoft.com/office/powerpoint/2010/main">
          <mc:Choice Requires="p14">
            <p:contentPart p14:bwMode="auto" r:id="rId138">
              <p14:nvContentPartPr>
                <p14:cNvPr id="106" name="Ink 105">
                  <a:extLst>
                    <a:ext uri="{FF2B5EF4-FFF2-40B4-BE49-F238E27FC236}">
                      <a16:creationId xmlns:a16="http://schemas.microsoft.com/office/drawing/2014/main" id="{7C14EDD5-0280-41AC-98D0-128F499FBF02}"/>
                    </a:ext>
                  </a:extLst>
                </p14:cNvPr>
                <p14:cNvContentPartPr/>
                <p14:nvPr/>
              </p14:nvContentPartPr>
              <p14:xfrm>
                <a:off x="3229702" y="5233259"/>
                <a:ext cx="288000" cy="179280"/>
              </p14:xfrm>
            </p:contentPart>
          </mc:Choice>
          <mc:Fallback xmlns="">
            <p:pic>
              <p:nvPicPr>
                <p:cNvPr id="106" name="Ink 105">
                  <a:extLst>
                    <a:ext uri="{FF2B5EF4-FFF2-40B4-BE49-F238E27FC236}">
                      <a16:creationId xmlns:a16="http://schemas.microsoft.com/office/drawing/2014/main" id="{7C14EDD5-0280-41AC-98D0-128F499FBF02}"/>
                    </a:ext>
                  </a:extLst>
                </p:cNvPr>
                <p:cNvPicPr/>
                <p:nvPr/>
              </p:nvPicPr>
              <p:blipFill>
                <a:blip r:embed="rId139"/>
                <a:stretch>
                  <a:fillRect/>
                </a:stretch>
              </p:blipFill>
              <p:spPr>
                <a:xfrm>
                  <a:off x="3212062" y="5215619"/>
                  <a:ext cx="323640" cy="214920"/>
                </a:xfrm>
                <a:prstGeom prst="rect">
                  <a:avLst/>
                </a:prstGeom>
              </p:spPr>
            </p:pic>
          </mc:Fallback>
        </mc:AlternateContent>
        <mc:AlternateContent xmlns:mc="http://schemas.openxmlformats.org/markup-compatibility/2006" xmlns:p14="http://schemas.microsoft.com/office/powerpoint/2010/main">
          <mc:Choice Requires="p14">
            <p:contentPart p14:bwMode="auto" r:id="rId140">
              <p14:nvContentPartPr>
                <p14:cNvPr id="108" name="Ink 107">
                  <a:extLst>
                    <a:ext uri="{FF2B5EF4-FFF2-40B4-BE49-F238E27FC236}">
                      <a16:creationId xmlns:a16="http://schemas.microsoft.com/office/drawing/2014/main" id="{482C1A7B-AC83-46AF-A78E-6B970CD2B4E7}"/>
                    </a:ext>
                  </a:extLst>
                </p14:cNvPr>
                <p14:cNvContentPartPr/>
                <p14:nvPr/>
              </p14:nvContentPartPr>
              <p14:xfrm>
                <a:off x="3555502" y="5201219"/>
                <a:ext cx="136080" cy="266040"/>
              </p14:xfrm>
            </p:contentPart>
          </mc:Choice>
          <mc:Fallback xmlns="">
            <p:pic>
              <p:nvPicPr>
                <p:cNvPr id="108" name="Ink 107">
                  <a:extLst>
                    <a:ext uri="{FF2B5EF4-FFF2-40B4-BE49-F238E27FC236}">
                      <a16:creationId xmlns:a16="http://schemas.microsoft.com/office/drawing/2014/main" id="{482C1A7B-AC83-46AF-A78E-6B970CD2B4E7}"/>
                    </a:ext>
                  </a:extLst>
                </p:cNvPr>
                <p:cNvPicPr/>
                <p:nvPr/>
              </p:nvPicPr>
              <p:blipFill>
                <a:blip r:embed="rId141"/>
                <a:stretch>
                  <a:fillRect/>
                </a:stretch>
              </p:blipFill>
              <p:spPr>
                <a:xfrm>
                  <a:off x="3537502" y="5183579"/>
                  <a:ext cx="171720" cy="301680"/>
                </a:xfrm>
                <a:prstGeom prst="rect">
                  <a:avLst/>
                </a:prstGeom>
              </p:spPr>
            </p:pic>
          </mc:Fallback>
        </mc:AlternateContent>
        <mc:AlternateContent xmlns:mc="http://schemas.openxmlformats.org/markup-compatibility/2006" xmlns:p14="http://schemas.microsoft.com/office/powerpoint/2010/main">
          <mc:Choice Requires="p14">
            <p:contentPart p14:bwMode="auto" r:id="rId142">
              <p14:nvContentPartPr>
                <p14:cNvPr id="109" name="Ink 108">
                  <a:extLst>
                    <a:ext uri="{FF2B5EF4-FFF2-40B4-BE49-F238E27FC236}">
                      <a16:creationId xmlns:a16="http://schemas.microsoft.com/office/drawing/2014/main" id="{DE68184F-549F-467C-A976-ABA79CAD1EB3}"/>
                    </a:ext>
                  </a:extLst>
                </p14:cNvPr>
                <p14:cNvContentPartPr/>
                <p14:nvPr/>
              </p14:nvContentPartPr>
              <p14:xfrm>
                <a:off x="1016062" y="6351779"/>
                <a:ext cx="536400" cy="218520"/>
              </p14:xfrm>
            </p:contentPart>
          </mc:Choice>
          <mc:Fallback xmlns="">
            <p:pic>
              <p:nvPicPr>
                <p:cNvPr id="109" name="Ink 108">
                  <a:extLst>
                    <a:ext uri="{FF2B5EF4-FFF2-40B4-BE49-F238E27FC236}">
                      <a16:creationId xmlns:a16="http://schemas.microsoft.com/office/drawing/2014/main" id="{DE68184F-549F-467C-A976-ABA79CAD1EB3}"/>
                    </a:ext>
                  </a:extLst>
                </p:cNvPr>
                <p:cNvPicPr/>
                <p:nvPr/>
              </p:nvPicPr>
              <p:blipFill>
                <a:blip r:embed="rId143"/>
                <a:stretch>
                  <a:fillRect/>
                </a:stretch>
              </p:blipFill>
              <p:spPr>
                <a:xfrm>
                  <a:off x="998062" y="6334139"/>
                  <a:ext cx="572040" cy="254160"/>
                </a:xfrm>
                <a:prstGeom prst="rect">
                  <a:avLst/>
                </a:prstGeom>
              </p:spPr>
            </p:pic>
          </mc:Fallback>
        </mc:AlternateContent>
        <mc:AlternateContent xmlns:mc="http://schemas.openxmlformats.org/markup-compatibility/2006" xmlns:p14="http://schemas.microsoft.com/office/powerpoint/2010/main">
          <mc:Choice Requires="p14">
            <p:contentPart p14:bwMode="auto" r:id="rId144">
              <p14:nvContentPartPr>
                <p14:cNvPr id="115" name="Ink 114">
                  <a:extLst>
                    <a:ext uri="{FF2B5EF4-FFF2-40B4-BE49-F238E27FC236}">
                      <a16:creationId xmlns:a16="http://schemas.microsoft.com/office/drawing/2014/main" id="{C41343D1-DAA5-483A-93A5-2389F50F7339}"/>
                    </a:ext>
                  </a:extLst>
                </p14:cNvPr>
                <p14:cNvContentPartPr/>
                <p14:nvPr/>
              </p14:nvContentPartPr>
              <p14:xfrm>
                <a:off x="1598542" y="6234419"/>
                <a:ext cx="471600" cy="230040"/>
              </p14:xfrm>
            </p:contentPart>
          </mc:Choice>
          <mc:Fallback xmlns="">
            <p:pic>
              <p:nvPicPr>
                <p:cNvPr id="115" name="Ink 114">
                  <a:extLst>
                    <a:ext uri="{FF2B5EF4-FFF2-40B4-BE49-F238E27FC236}">
                      <a16:creationId xmlns:a16="http://schemas.microsoft.com/office/drawing/2014/main" id="{C41343D1-DAA5-483A-93A5-2389F50F7339}"/>
                    </a:ext>
                  </a:extLst>
                </p:cNvPr>
                <p:cNvPicPr/>
                <p:nvPr/>
              </p:nvPicPr>
              <p:blipFill>
                <a:blip r:embed="rId145"/>
                <a:stretch>
                  <a:fillRect/>
                </a:stretch>
              </p:blipFill>
              <p:spPr>
                <a:xfrm>
                  <a:off x="1580542" y="6216779"/>
                  <a:ext cx="507240" cy="265680"/>
                </a:xfrm>
                <a:prstGeom prst="rect">
                  <a:avLst/>
                </a:prstGeom>
              </p:spPr>
            </p:pic>
          </mc:Fallback>
        </mc:AlternateContent>
        <mc:AlternateContent xmlns:mc="http://schemas.openxmlformats.org/markup-compatibility/2006" xmlns:p14="http://schemas.microsoft.com/office/powerpoint/2010/main">
          <mc:Choice Requires="p14">
            <p:contentPart p14:bwMode="auto" r:id="rId146">
              <p14:nvContentPartPr>
                <p14:cNvPr id="116" name="Ink 115">
                  <a:extLst>
                    <a:ext uri="{FF2B5EF4-FFF2-40B4-BE49-F238E27FC236}">
                      <a16:creationId xmlns:a16="http://schemas.microsoft.com/office/drawing/2014/main" id="{DF44EEAA-15BB-4DD7-A527-8080083C7D07}"/>
                    </a:ext>
                  </a:extLst>
                </p14:cNvPr>
                <p14:cNvContentPartPr/>
                <p14:nvPr/>
              </p14:nvContentPartPr>
              <p14:xfrm>
                <a:off x="1918942" y="6101579"/>
                <a:ext cx="415800" cy="211320"/>
              </p14:xfrm>
            </p:contentPart>
          </mc:Choice>
          <mc:Fallback xmlns="">
            <p:pic>
              <p:nvPicPr>
                <p:cNvPr id="116" name="Ink 115">
                  <a:extLst>
                    <a:ext uri="{FF2B5EF4-FFF2-40B4-BE49-F238E27FC236}">
                      <a16:creationId xmlns:a16="http://schemas.microsoft.com/office/drawing/2014/main" id="{DF44EEAA-15BB-4DD7-A527-8080083C7D07}"/>
                    </a:ext>
                  </a:extLst>
                </p:cNvPr>
                <p:cNvPicPr/>
                <p:nvPr/>
              </p:nvPicPr>
              <p:blipFill>
                <a:blip r:embed="rId147"/>
                <a:stretch>
                  <a:fillRect/>
                </a:stretch>
              </p:blipFill>
              <p:spPr>
                <a:xfrm>
                  <a:off x="1901302" y="6083939"/>
                  <a:ext cx="451440" cy="246960"/>
                </a:xfrm>
                <a:prstGeom prst="rect">
                  <a:avLst/>
                </a:prstGeom>
              </p:spPr>
            </p:pic>
          </mc:Fallback>
        </mc:AlternateContent>
        <mc:AlternateContent xmlns:mc="http://schemas.openxmlformats.org/markup-compatibility/2006" xmlns:p14="http://schemas.microsoft.com/office/powerpoint/2010/main">
          <mc:Choice Requires="p14">
            <p:contentPart p14:bwMode="auto" r:id="rId148">
              <p14:nvContentPartPr>
                <p14:cNvPr id="117" name="Ink 116">
                  <a:extLst>
                    <a:ext uri="{FF2B5EF4-FFF2-40B4-BE49-F238E27FC236}">
                      <a16:creationId xmlns:a16="http://schemas.microsoft.com/office/drawing/2014/main" id="{5E937079-3FFF-42CE-BA87-7348E7AB85E7}"/>
                    </a:ext>
                  </a:extLst>
                </p14:cNvPr>
                <p14:cNvContentPartPr/>
                <p14:nvPr/>
              </p14:nvContentPartPr>
              <p14:xfrm>
                <a:off x="2537422" y="6062339"/>
                <a:ext cx="78840" cy="157680"/>
              </p14:xfrm>
            </p:contentPart>
          </mc:Choice>
          <mc:Fallback xmlns="">
            <p:pic>
              <p:nvPicPr>
                <p:cNvPr id="117" name="Ink 116">
                  <a:extLst>
                    <a:ext uri="{FF2B5EF4-FFF2-40B4-BE49-F238E27FC236}">
                      <a16:creationId xmlns:a16="http://schemas.microsoft.com/office/drawing/2014/main" id="{5E937079-3FFF-42CE-BA87-7348E7AB85E7}"/>
                    </a:ext>
                  </a:extLst>
                </p:cNvPr>
                <p:cNvPicPr/>
                <p:nvPr/>
              </p:nvPicPr>
              <p:blipFill>
                <a:blip r:embed="rId149"/>
                <a:stretch>
                  <a:fillRect/>
                </a:stretch>
              </p:blipFill>
              <p:spPr>
                <a:xfrm>
                  <a:off x="2519422" y="6044699"/>
                  <a:ext cx="114480" cy="193320"/>
                </a:xfrm>
                <a:prstGeom prst="rect">
                  <a:avLst/>
                </a:prstGeom>
              </p:spPr>
            </p:pic>
          </mc:Fallback>
        </mc:AlternateContent>
        <mc:AlternateContent xmlns:mc="http://schemas.openxmlformats.org/markup-compatibility/2006" xmlns:p14="http://schemas.microsoft.com/office/powerpoint/2010/main">
          <mc:Choice Requires="p14">
            <p:contentPart p14:bwMode="auto" r:id="rId150">
              <p14:nvContentPartPr>
                <p14:cNvPr id="118" name="Ink 117">
                  <a:extLst>
                    <a:ext uri="{FF2B5EF4-FFF2-40B4-BE49-F238E27FC236}">
                      <a16:creationId xmlns:a16="http://schemas.microsoft.com/office/drawing/2014/main" id="{B647F28B-CBC1-450C-9DC5-B8DF74D9EC2D}"/>
                    </a:ext>
                  </a:extLst>
                </p14:cNvPr>
                <p14:cNvContentPartPr/>
                <p14:nvPr/>
              </p14:nvContentPartPr>
              <p14:xfrm>
                <a:off x="2487742" y="6010499"/>
                <a:ext cx="15840" cy="56160"/>
              </p14:xfrm>
            </p:contentPart>
          </mc:Choice>
          <mc:Fallback xmlns="">
            <p:pic>
              <p:nvPicPr>
                <p:cNvPr id="118" name="Ink 117">
                  <a:extLst>
                    <a:ext uri="{FF2B5EF4-FFF2-40B4-BE49-F238E27FC236}">
                      <a16:creationId xmlns:a16="http://schemas.microsoft.com/office/drawing/2014/main" id="{B647F28B-CBC1-450C-9DC5-B8DF74D9EC2D}"/>
                    </a:ext>
                  </a:extLst>
                </p:cNvPr>
                <p:cNvPicPr/>
                <p:nvPr/>
              </p:nvPicPr>
              <p:blipFill>
                <a:blip r:embed="rId151"/>
                <a:stretch>
                  <a:fillRect/>
                </a:stretch>
              </p:blipFill>
              <p:spPr>
                <a:xfrm>
                  <a:off x="2469742" y="5992859"/>
                  <a:ext cx="5148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152">
              <p14:nvContentPartPr>
                <p14:cNvPr id="119" name="Ink 118">
                  <a:extLst>
                    <a:ext uri="{FF2B5EF4-FFF2-40B4-BE49-F238E27FC236}">
                      <a16:creationId xmlns:a16="http://schemas.microsoft.com/office/drawing/2014/main" id="{E7AE5AAF-4E6B-4676-8F6C-906682CA65A9}"/>
                    </a:ext>
                  </a:extLst>
                </p14:cNvPr>
                <p14:cNvContentPartPr/>
                <p14:nvPr/>
              </p14:nvContentPartPr>
              <p14:xfrm>
                <a:off x="2580622" y="5990339"/>
                <a:ext cx="369360" cy="145800"/>
              </p14:xfrm>
            </p:contentPart>
          </mc:Choice>
          <mc:Fallback xmlns="">
            <p:pic>
              <p:nvPicPr>
                <p:cNvPr id="119" name="Ink 118">
                  <a:extLst>
                    <a:ext uri="{FF2B5EF4-FFF2-40B4-BE49-F238E27FC236}">
                      <a16:creationId xmlns:a16="http://schemas.microsoft.com/office/drawing/2014/main" id="{E7AE5AAF-4E6B-4676-8F6C-906682CA65A9}"/>
                    </a:ext>
                  </a:extLst>
                </p:cNvPr>
                <p:cNvPicPr/>
                <p:nvPr/>
              </p:nvPicPr>
              <p:blipFill>
                <a:blip r:embed="rId153"/>
                <a:stretch>
                  <a:fillRect/>
                </a:stretch>
              </p:blipFill>
              <p:spPr>
                <a:xfrm>
                  <a:off x="2562982" y="5972699"/>
                  <a:ext cx="405000" cy="181440"/>
                </a:xfrm>
                <a:prstGeom prst="rect">
                  <a:avLst/>
                </a:prstGeom>
              </p:spPr>
            </p:pic>
          </mc:Fallback>
        </mc:AlternateContent>
        <mc:AlternateContent xmlns:mc="http://schemas.openxmlformats.org/markup-compatibility/2006" xmlns:p14="http://schemas.microsoft.com/office/powerpoint/2010/main">
          <mc:Choice Requires="p14">
            <p:contentPart p14:bwMode="auto" r:id="rId154">
              <p14:nvContentPartPr>
                <p14:cNvPr id="120" name="Ink 119">
                  <a:extLst>
                    <a:ext uri="{FF2B5EF4-FFF2-40B4-BE49-F238E27FC236}">
                      <a16:creationId xmlns:a16="http://schemas.microsoft.com/office/drawing/2014/main" id="{889798C2-2876-4FF7-BB71-394127029A30}"/>
                    </a:ext>
                  </a:extLst>
                </p14:cNvPr>
                <p14:cNvContentPartPr/>
                <p14:nvPr/>
              </p14:nvContentPartPr>
              <p14:xfrm>
                <a:off x="2979142" y="5857859"/>
                <a:ext cx="209880" cy="293040"/>
              </p14:xfrm>
            </p:contentPart>
          </mc:Choice>
          <mc:Fallback xmlns="">
            <p:pic>
              <p:nvPicPr>
                <p:cNvPr id="120" name="Ink 119">
                  <a:extLst>
                    <a:ext uri="{FF2B5EF4-FFF2-40B4-BE49-F238E27FC236}">
                      <a16:creationId xmlns:a16="http://schemas.microsoft.com/office/drawing/2014/main" id="{889798C2-2876-4FF7-BB71-394127029A30}"/>
                    </a:ext>
                  </a:extLst>
                </p:cNvPr>
                <p:cNvPicPr/>
                <p:nvPr/>
              </p:nvPicPr>
              <p:blipFill>
                <a:blip r:embed="rId155"/>
                <a:stretch>
                  <a:fillRect/>
                </a:stretch>
              </p:blipFill>
              <p:spPr>
                <a:xfrm>
                  <a:off x="2961502" y="5839859"/>
                  <a:ext cx="245520" cy="328680"/>
                </a:xfrm>
                <a:prstGeom prst="rect">
                  <a:avLst/>
                </a:prstGeom>
              </p:spPr>
            </p:pic>
          </mc:Fallback>
        </mc:AlternateContent>
        <mc:AlternateContent xmlns:mc="http://schemas.openxmlformats.org/markup-compatibility/2006" xmlns:p14="http://schemas.microsoft.com/office/powerpoint/2010/main">
          <mc:Choice Requires="p14">
            <p:contentPart p14:bwMode="auto" r:id="rId156">
              <p14:nvContentPartPr>
                <p14:cNvPr id="123" name="Ink 122">
                  <a:extLst>
                    <a:ext uri="{FF2B5EF4-FFF2-40B4-BE49-F238E27FC236}">
                      <a16:creationId xmlns:a16="http://schemas.microsoft.com/office/drawing/2014/main" id="{947FBE78-F199-41CC-B669-AC3CF26C1594}"/>
                    </a:ext>
                  </a:extLst>
                </p14:cNvPr>
                <p14:cNvContentPartPr/>
                <p14:nvPr/>
              </p14:nvContentPartPr>
              <p14:xfrm>
                <a:off x="3902542" y="5665259"/>
                <a:ext cx="48240" cy="32040"/>
              </p14:xfrm>
            </p:contentPart>
          </mc:Choice>
          <mc:Fallback xmlns="">
            <p:pic>
              <p:nvPicPr>
                <p:cNvPr id="123" name="Ink 122">
                  <a:extLst>
                    <a:ext uri="{FF2B5EF4-FFF2-40B4-BE49-F238E27FC236}">
                      <a16:creationId xmlns:a16="http://schemas.microsoft.com/office/drawing/2014/main" id="{947FBE78-F199-41CC-B669-AC3CF26C1594}"/>
                    </a:ext>
                  </a:extLst>
                </p:cNvPr>
                <p:cNvPicPr/>
                <p:nvPr/>
              </p:nvPicPr>
              <p:blipFill>
                <a:blip r:embed="rId157"/>
                <a:stretch>
                  <a:fillRect/>
                </a:stretch>
              </p:blipFill>
              <p:spPr>
                <a:xfrm>
                  <a:off x="3884902" y="5647259"/>
                  <a:ext cx="83880" cy="67680"/>
                </a:xfrm>
                <a:prstGeom prst="rect">
                  <a:avLst/>
                </a:prstGeom>
              </p:spPr>
            </p:pic>
          </mc:Fallback>
        </mc:AlternateContent>
        <mc:AlternateContent xmlns:mc="http://schemas.openxmlformats.org/markup-compatibility/2006" xmlns:p14="http://schemas.microsoft.com/office/powerpoint/2010/main">
          <mc:Choice Requires="p14">
            <p:contentPart p14:bwMode="auto" r:id="rId158">
              <p14:nvContentPartPr>
                <p14:cNvPr id="125" name="Ink 124">
                  <a:extLst>
                    <a:ext uri="{FF2B5EF4-FFF2-40B4-BE49-F238E27FC236}">
                      <a16:creationId xmlns:a16="http://schemas.microsoft.com/office/drawing/2014/main" id="{8A922347-9849-44E1-90A9-8E1A0432451B}"/>
                    </a:ext>
                  </a:extLst>
                </p14:cNvPr>
                <p14:cNvContentPartPr/>
                <p14:nvPr/>
              </p14:nvContentPartPr>
              <p14:xfrm>
                <a:off x="3487822" y="5737979"/>
                <a:ext cx="162720" cy="226800"/>
              </p14:xfrm>
            </p:contentPart>
          </mc:Choice>
          <mc:Fallback xmlns="">
            <p:pic>
              <p:nvPicPr>
                <p:cNvPr id="125" name="Ink 124">
                  <a:extLst>
                    <a:ext uri="{FF2B5EF4-FFF2-40B4-BE49-F238E27FC236}">
                      <a16:creationId xmlns:a16="http://schemas.microsoft.com/office/drawing/2014/main" id="{8A922347-9849-44E1-90A9-8E1A0432451B}"/>
                    </a:ext>
                  </a:extLst>
                </p:cNvPr>
                <p:cNvPicPr/>
                <p:nvPr/>
              </p:nvPicPr>
              <p:blipFill>
                <a:blip r:embed="rId159"/>
                <a:stretch>
                  <a:fillRect/>
                </a:stretch>
              </p:blipFill>
              <p:spPr>
                <a:xfrm>
                  <a:off x="3470182" y="5719979"/>
                  <a:ext cx="198360" cy="262440"/>
                </a:xfrm>
                <a:prstGeom prst="rect">
                  <a:avLst/>
                </a:prstGeom>
              </p:spPr>
            </p:pic>
          </mc:Fallback>
        </mc:AlternateContent>
        <mc:AlternateContent xmlns:mc="http://schemas.openxmlformats.org/markup-compatibility/2006" xmlns:p14="http://schemas.microsoft.com/office/powerpoint/2010/main">
          <mc:Choice Requires="p14">
            <p:contentPart p14:bwMode="auto" r:id="rId160">
              <p14:nvContentPartPr>
                <p14:cNvPr id="126" name="Ink 125">
                  <a:extLst>
                    <a:ext uri="{FF2B5EF4-FFF2-40B4-BE49-F238E27FC236}">
                      <a16:creationId xmlns:a16="http://schemas.microsoft.com/office/drawing/2014/main" id="{DD246F0A-ADCE-4EC0-9FCD-B9D283C66952}"/>
                    </a:ext>
                  </a:extLst>
                </p14:cNvPr>
                <p14:cNvContentPartPr/>
                <p14:nvPr/>
              </p14:nvContentPartPr>
              <p14:xfrm>
                <a:off x="3485302" y="5741939"/>
                <a:ext cx="524520" cy="166320"/>
              </p14:xfrm>
            </p:contentPart>
          </mc:Choice>
          <mc:Fallback xmlns="">
            <p:pic>
              <p:nvPicPr>
                <p:cNvPr id="126" name="Ink 125">
                  <a:extLst>
                    <a:ext uri="{FF2B5EF4-FFF2-40B4-BE49-F238E27FC236}">
                      <a16:creationId xmlns:a16="http://schemas.microsoft.com/office/drawing/2014/main" id="{DD246F0A-ADCE-4EC0-9FCD-B9D283C66952}"/>
                    </a:ext>
                  </a:extLst>
                </p:cNvPr>
                <p:cNvPicPr/>
                <p:nvPr/>
              </p:nvPicPr>
              <p:blipFill>
                <a:blip r:embed="rId161"/>
                <a:stretch>
                  <a:fillRect/>
                </a:stretch>
              </p:blipFill>
              <p:spPr>
                <a:xfrm>
                  <a:off x="3467662" y="5723939"/>
                  <a:ext cx="560160" cy="201960"/>
                </a:xfrm>
                <a:prstGeom prst="rect">
                  <a:avLst/>
                </a:prstGeom>
              </p:spPr>
            </p:pic>
          </mc:Fallback>
        </mc:AlternateContent>
        <mc:AlternateContent xmlns:mc="http://schemas.openxmlformats.org/markup-compatibility/2006" xmlns:p14="http://schemas.microsoft.com/office/powerpoint/2010/main">
          <mc:Choice Requires="p14">
            <p:contentPart p14:bwMode="auto" r:id="rId162">
              <p14:nvContentPartPr>
                <p14:cNvPr id="127" name="Ink 126">
                  <a:extLst>
                    <a:ext uri="{FF2B5EF4-FFF2-40B4-BE49-F238E27FC236}">
                      <a16:creationId xmlns:a16="http://schemas.microsoft.com/office/drawing/2014/main" id="{3E5A7AB6-009F-4C77-8681-7C3C7F6EA1F9}"/>
                    </a:ext>
                  </a:extLst>
                </p14:cNvPr>
                <p14:cNvContentPartPr/>
                <p14:nvPr/>
              </p14:nvContentPartPr>
              <p14:xfrm>
                <a:off x="3951862" y="5665619"/>
                <a:ext cx="155160" cy="105840"/>
              </p14:xfrm>
            </p:contentPart>
          </mc:Choice>
          <mc:Fallback xmlns="">
            <p:pic>
              <p:nvPicPr>
                <p:cNvPr id="127" name="Ink 126">
                  <a:extLst>
                    <a:ext uri="{FF2B5EF4-FFF2-40B4-BE49-F238E27FC236}">
                      <a16:creationId xmlns:a16="http://schemas.microsoft.com/office/drawing/2014/main" id="{3E5A7AB6-009F-4C77-8681-7C3C7F6EA1F9}"/>
                    </a:ext>
                  </a:extLst>
                </p:cNvPr>
                <p:cNvPicPr/>
                <p:nvPr/>
              </p:nvPicPr>
              <p:blipFill>
                <a:blip r:embed="rId163"/>
                <a:stretch>
                  <a:fillRect/>
                </a:stretch>
              </p:blipFill>
              <p:spPr>
                <a:xfrm>
                  <a:off x="3934222" y="5647979"/>
                  <a:ext cx="190800" cy="141480"/>
                </a:xfrm>
                <a:prstGeom prst="rect">
                  <a:avLst/>
                </a:prstGeom>
              </p:spPr>
            </p:pic>
          </mc:Fallback>
        </mc:AlternateContent>
        <mc:AlternateContent xmlns:mc="http://schemas.openxmlformats.org/markup-compatibility/2006" xmlns:p14="http://schemas.microsoft.com/office/powerpoint/2010/main">
          <mc:Choice Requires="p14">
            <p:contentPart p14:bwMode="auto" r:id="rId164">
              <p14:nvContentPartPr>
                <p14:cNvPr id="128" name="Ink 127">
                  <a:extLst>
                    <a:ext uri="{FF2B5EF4-FFF2-40B4-BE49-F238E27FC236}">
                      <a16:creationId xmlns:a16="http://schemas.microsoft.com/office/drawing/2014/main" id="{6CBC0DE2-E782-4B85-A076-0D313B5D1CF9}"/>
                    </a:ext>
                  </a:extLst>
                </p14:cNvPr>
                <p14:cNvContentPartPr/>
                <p14:nvPr/>
              </p14:nvContentPartPr>
              <p14:xfrm>
                <a:off x="4161022" y="5631779"/>
                <a:ext cx="185040" cy="109440"/>
              </p14:xfrm>
            </p:contentPart>
          </mc:Choice>
          <mc:Fallback xmlns="">
            <p:pic>
              <p:nvPicPr>
                <p:cNvPr id="128" name="Ink 127">
                  <a:extLst>
                    <a:ext uri="{FF2B5EF4-FFF2-40B4-BE49-F238E27FC236}">
                      <a16:creationId xmlns:a16="http://schemas.microsoft.com/office/drawing/2014/main" id="{6CBC0DE2-E782-4B85-A076-0D313B5D1CF9}"/>
                    </a:ext>
                  </a:extLst>
                </p:cNvPr>
                <p:cNvPicPr/>
                <p:nvPr/>
              </p:nvPicPr>
              <p:blipFill>
                <a:blip r:embed="rId165"/>
                <a:stretch>
                  <a:fillRect/>
                </a:stretch>
              </p:blipFill>
              <p:spPr>
                <a:xfrm>
                  <a:off x="4143382" y="5614139"/>
                  <a:ext cx="220680" cy="145080"/>
                </a:xfrm>
                <a:prstGeom prst="rect">
                  <a:avLst/>
                </a:prstGeom>
              </p:spPr>
            </p:pic>
          </mc:Fallback>
        </mc:AlternateContent>
        <mc:AlternateContent xmlns:mc="http://schemas.openxmlformats.org/markup-compatibility/2006" xmlns:p14="http://schemas.microsoft.com/office/powerpoint/2010/main">
          <mc:Choice Requires="p14">
            <p:contentPart p14:bwMode="auto" r:id="rId166">
              <p14:nvContentPartPr>
                <p14:cNvPr id="129" name="Ink 128">
                  <a:extLst>
                    <a:ext uri="{FF2B5EF4-FFF2-40B4-BE49-F238E27FC236}">
                      <a16:creationId xmlns:a16="http://schemas.microsoft.com/office/drawing/2014/main" id="{ACBA84F1-949A-4228-9B18-BC60F26F03F6}"/>
                    </a:ext>
                  </a:extLst>
                </p14:cNvPr>
                <p14:cNvContentPartPr/>
                <p14:nvPr/>
              </p14:nvContentPartPr>
              <p14:xfrm>
                <a:off x="2743702" y="6440339"/>
                <a:ext cx="100080" cy="292680"/>
              </p14:xfrm>
            </p:contentPart>
          </mc:Choice>
          <mc:Fallback xmlns="">
            <p:pic>
              <p:nvPicPr>
                <p:cNvPr id="129" name="Ink 128">
                  <a:extLst>
                    <a:ext uri="{FF2B5EF4-FFF2-40B4-BE49-F238E27FC236}">
                      <a16:creationId xmlns:a16="http://schemas.microsoft.com/office/drawing/2014/main" id="{ACBA84F1-949A-4228-9B18-BC60F26F03F6}"/>
                    </a:ext>
                  </a:extLst>
                </p:cNvPr>
                <p:cNvPicPr/>
                <p:nvPr/>
              </p:nvPicPr>
              <p:blipFill>
                <a:blip r:embed="rId167"/>
                <a:stretch>
                  <a:fillRect/>
                </a:stretch>
              </p:blipFill>
              <p:spPr>
                <a:xfrm>
                  <a:off x="2726062" y="6422699"/>
                  <a:ext cx="135720" cy="328320"/>
                </a:xfrm>
                <a:prstGeom prst="rect">
                  <a:avLst/>
                </a:prstGeom>
              </p:spPr>
            </p:pic>
          </mc:Fallback>
        </mc:AlternateContent>
        <mc:AlternateContent xmlns:mc="http://schemas.openxmlformats.org/markup-compatibility/2006" xmlns:p14="http://schemas.microsoft.com/office/powerpoint/2010/main">
          <mc:Choice Requires="p14">
            <p:contentPart p14:bwMode="auto" r:id="rId168">
              <p14:nvContentPartPr>
                <p14:cNvPr id="130" name="Ink 129">
                  <a:extLst>
                    <a:ext uri="{FF2B5EF4-FFF2-40B4-BE49-F238E27FC236}">
                      <a16:creationId xmlns:a16="http://schemas.microsoft.com/office/drawing/2014/main" id="{C1B1117A-97B5-49B9-AD49-FBF0330D4BAE}"/>
                    </a:ext>
                  </a:extLst>
                </p14:cNvPr>
                <p14:cNvContentPartPr/>
                <p14:nvPr/>
              </p14:nvContentPartPr>
              <p14:xfrm>
                <a:off x="2789782" y="6376979"/>
                <a:ext cx="666360" cy="312840"/>
              </p14:xfrm>
            </p:contentPart>
          </mc:Choice>
          <mc:Fallback xmlns="">
            <p:pic>
              <p:nvPicPr>
                <p:cNvPr id="130" name="Ink 129">
                  <a:extLst>
                    <a:ext uri="{FF2B5EF4-FFF2-40B4-BE49-F238E27FC236}">
                      <a16:creationId xmlns:a16="http://schemas.microsoft.com/office/drawing/2014/main" id="{C1B1117A-97B5-49B9-AD49-FBF0330D4BAE}"/>
                    </a:ext>
                  </a:extLst>
                </p:cNvPr>
                <p:cNvPicPr/>
                <p:nvPr/>
              </p:nvPicPr>
              <p:blipFill>
                <a:blip r:embed="rId169"/>
                <a:stretch>
                  <a:fillRect/>
                </a:stretch>
              </p:blipFill>
              <p:spPr>
                <a:xfrm>
                  <a:off x="2772142" y="6358979"/>
                  <a:ext cx="702000" cy="348480"/>
                </a:xfrm>
                <a:prstGeom prst="rect">
                  <a:avLst/>
                </a:prstGeom>
              </p:spPr>
            </p:pic>
          </mc:Fallback>
        </mc:AlternateContent>
        <mc:AlternateContent xmlns:mc="http://schemas.openxmlformats.org/markup-compatibility/2006" xmlns:p14="http://schemas.microsoft.com/office/powerpoint/2010/main">
          <mc:Choice Requires="p14">
            <p:contentPart p14:bwMode="auto" r:id="rId170">
              <p14:nvContentPartPr>
                <p14:cNvPr id="131" name="Ink 130">
                  <a:extLst>
                    <a:ext uri="{FF2B5EF4-FFF2-40B4-BE49-F238E27FC236}">
                      <a16:creationId xmlns:a16="http://schemas.microsoft.com/office/drawing/2014/main" id="{7C90B6AD-4B12-4158-9041-896A6B16730C}"/>
                    </a:ext>
                  </a:extLst>
                </p14:cNvPr>
                <p14:cNvContentPartPr/>
                <p14:nvPr/>
              </p14:nvContentPartPr>
              <p14:xfrm>
                <a:off x="3347062" y="6350339"/>
                <a:ext cx="300960" cy="145800"/>
              </p14:xfrm>
            </p:contentPart>
          </mc:Choice>
          <mc:Fallback xmlns="">
            <p:pic>
              <p:nvPicPr>
                <p:cNvPr id="131" name="Ink 130">
                  <a:extLst>
                    <a:ext uri="{FF2B5EF4-FFF2-40B4-BE49-F238E27FC236}">
                      <a16:creationId xmlns:a16="http://schemas.microsoft.com/office/drawing/2014/main" id="{7C90B6AD-4B12-4158-9041-896A6B16730C}"/>
                    </a:ext>
                  </a:extLst>
                </p:cNvPr>
                <p:cNvPicPr/>
                <p:nvPr/>
              </p:nvPicPr>
              <p:blipFill>
                <a:blip r:embed="rId171"/>
                <a:stretch>
                  <a:fillRect/>
                </a:stretch>
              </p:blipFill>
              <p:spPr>
                <a:xfrm>
                  <a:off x="3329422" y="6332339"/>
                  <a:ext cx="336600" cy="181440"/>
                </a:xfrm>
                <a:prstGeom prst="rect">
                  <a:avLst/>
                </a:prstGeom>
              </p:spPr>
            </p:pic>
          </mc:Fallback>
        </mc:AlternateContent>
        <mc:AlternateContent xmlns:mc="http://schemas.openxmlformats.org/markup-compatibility/2006" xmlns:p14="http://schemas.microsoft.com/office/powerpoint/2010/main">
          <mc:Choice Requires="p14">
            <p:contentPart p14:bwMode="auto" r:id="rId172">
              <p14:nvContentPartPr>
                <p14:cNvPr id="132" name="Ink 131">
                  <a:extLst>
                    <a:ext uri="{FF2B5EF4-FFF2-40B4-BE49-F238E27FC236}">
                      <a16:creationId xmlns:a16="http://schemas.microsoft.com/office/drawing/2014/main" id="{65572CC1-BC9E-44FE-B3CC-6F4E4C2917F0}"/>
                    </a:ext>
                  </a:extLst>
                </p14:cNvPr>
                <p14:cNvContentPartPr/>
                <p14:nvPr/>
              </p14:nvContentPartPr>
              <p14:xfrm>
                <a:off x="3641182" y="6228299"/>
                <a:ext cx="167040" cy="200160"/>
              </p14:xfrm>
            </p:contentPart>
          </mc:Choice>
          <mc:Fallback xmlns="">
            <p:pic>
              <p:nvPicPr>
                <p:cNvPr id="132" name="Ink 131">
                  <a:extLst>
                    <a:ext uri="{FF2B5EF4-FFF2-40B4-BE49-F238E27FC236}">
                      <a16:creationId xmlns:a16="http://schemas.microsoft.com/office/drawing/2014/main" id="{65572CC1-BC9E-44FE-B3CC-6F4E4C2917F0}"/>
                    </a:ext>
                  </a:extLst>
                </p:cNvPr>
                <p:cNvPicPr/>
                <p:nvPr/>
              </p:nvPicPr>
              <p:blipFill>
                <a:blip r:embed="rId173"/>
                <a:stretch>
                  <a:fillRect/>
                </a:stretch>
              </p:blipFill>
              <p:spPr>
                <a:xfrm>
                  <a:off x="3623542" y="6210299"/>
                  <a:ext cx="202680" cy="235800"/>
                </a:xfrm>
                <a:prstGeom prst="rect">
                  <a:avLst/>
                </a:prstGeom>
              </p:spPr>
            </p:pic>
          </mc:Fallback>
        </mc:AlternateContent>
        <mc:AlternateContent xmlns:mc="http://schemas.openxmlformats.org/markup-compatibility/2006" xmlns:p14="http://schemas.microsoft.com/office/powerpoint/2010/main">
          <mc:Choice Requires="p14">
            <p:contentPart p14:bwMode="auto" r:id="rId174">
              <p14:nvContentPartPr>
                <p14:cNvPr id="133" name="Ink 132">
                  <a:extLst>
                    <a:ext uri="{FF2B5EF4-FFF2-40B4-BE49-F238E27FC236}">
                      <a16:creationId xmlns:a16="http://schemas.microsoft.com/office/drawing/2014/main" id="{D48A3712-0192-412C-A067-6708F23CC497}"/>
                    </a:ext>
                  </a:extLst>
                </p14:cNvPr>
                <p14:cNvContentPartPr/>
                <p14:nvPr/>
              </p14:nvContentPartPr>
              <p14:xfrm>
                <a:off x="3814702" y="5950019"/>
                <a:ext cx="657720" cy="406800"/>
              </p14:xfrm>
            </p:contentPart>
          </mc:Choice>
          <mc:Fallback xmlns="">
            <p:pic>
              <p:nvPicPr>
                <p:cNvPr id="133" name="Ink 132">
                  <a:extLst>
                    <a:ext uri="{FF2B5EF4-FFF2-40B4-BE49-F238E27FC236}">
                      <a16:creationId xmlns:a16="http://schemas.microsoft.com/office/drawing/2014/main" id="{D48A3712-0192-412C-A067-6708F23CC497}"/>
                    </a:ext>
                  </a:extLst>
                </p:cNvPr>
                <p:cNvPicPr/>
                <p:nvPr/>
              </p:nvPicPr>
              <p:blipFill>
                <a:blip r:embed="rId175"/>
                <a:stretch>
                  <a:fillRect/>
                </a:stretch>
              </p:blipFill>
              <p:spPr>
                <a:xfrm>
                  <a:off x="3797062" y="5932379"/>
                  <a:ext cx="693360" cy="442440"/>
                </a:xfrm>
                <a:prstGeom prst="rect">
                  <a:avLst/>
                </a:prstGeom>
              </p:spPr>
            </p:pic>
          </mc:Fallback>
        </mc:AlternateContent>
        <mc:AlternateContent xmlns:mc="http://schemas.openxmlformats.org/markup-compatibility/2006" xmlns:p14="http://schemas.microsoft.com/office/powerpoint/2010/main">
          <mc:Choice Requires="p14">
            <p:contentPart p14:bwMode="auto" r:id="rId176">
              <p14:nvContentPartPr>
                <p14:cNvPr id="135" name="Ink 134">
                  <a:extLst>
                    <a:ext uri="{FF2B5EF4-FFF2-40B4-BE49-F238E27FC236}">
                      <a16:creationId xmlns:a16="http://schemas.microsoft.com/office/drawing/2014/main" id="{5927CD23-2793-4F57-A775-44310C6CB994}"/>
                    </a:ext>
                  </a:extLst>
                </p14:cNvPr>
                <p14:cNvContentPartPr/>
                <p14:nvPr/>
              </p14:nvContentPartPr>
              <p14:xfrm>
                <a:off x="4249942" y="6137579"/>
                <a:ext cx="94320" cy="44640"/>
              </p14:xfrm>
            </p:contentPart>
          </mc:Choice>
          <mc:Fallback xmlns="">
            <p:pic>
              <p:nvPicPr>
                <p:cNvPr id="135" name="Ink 134">
                  <a:extLst>
                    <a:ext uri="{FF2B5EF4-FFF2-40B4-BE49-F238E27FC236}">
                      <a16:creationId xmlns:a16="http://schemas.microsoft.com/office/drawing/2014/main" id="{5927CD23-2793-4F57-A775-44310C6CB994}"/>
                    </a:ext>
                  </a:extLst>
                </p:cNvPr>
                <p:cNvPicPr/>
                <p:nvPr/>
              </p:nvPicPr>
              <p:blipFill>
                <a:blip r:embed="rId177"/>
                <a:stretch>
                  <a:fillRect/>
                </a:stretch>
              </p:blipFill>
              <p:spPr>
                <a:xfrm>
                  <a:off x="4231942" y="6119579"/>
                  <a:ext cx="129960" cy="80280"/>
                </a:xfrm>
                <a:prstGeom prst="rect">
                  <a:avLst/>
                </a:prstGeom>
              </p:spPr>
            </p:pic>
          </mc:Fallback>
        </mc:AlternateContent>
        <mc:AlternateContent xmlns:mc="http://schemas.openxmlformats.org/markup-compatibility/2006" xmlns:p14="http://schemas.microsoft.com/office/powerpoint/2010/main">
          <mc:Choice Requires="p14">
            <p:contentPart p14:bwMode="auto" r:id="rId178">
              <p14:nvContentPartPr>
                <p14:cNvPr id="136" name="Ink 135">
                  <a:extLst>
                    <a:ext uri="{FF2B5EF4-FFF2-40B4-BE49-F238E27FC236}">
                      <a16:creationId xmlns:a16="http://schemas.microsoft.com/office/drawing/2014/main" id="{AA8740E5-76DA-4D60-9875-190D7678E685}"/>
                    </a:ext>
                  </a:extLst>
                </p14:cNvPr>
                <p14:cNvContentPartPr/>
                <p14:nvPr/>
              </p14:nvContentPartPr>
              <p14:xfrm>
                <a:off x="4565302" y="5878739"/>
                <a:ext cx="138960" cy="322200"/>
              </p14:xfrm>
            </p:contentPart>
          </mc:Choice>
          <mc:Fallback xmlns="">
            <p:pic>
              <p:nvPicPr>
                <p:cNvPr id="136" name="Ink 135">
                  <a:extLst>
                    <a:ext uri="{FF2B5EF4-FFF2-40B4-BE49-F238E27FC236}">
                      <a16:creationId xmlns:a16="http://schemas.microsoft.com/office/drawing/2014/main" id="{AA8740E5-76DA-4D60-9875-190D7678E685}"/>
                    </a:ext>
                  </a:extLst>
                </p:cNvPr>
                <p:cNvPicPr/>
                <p:nvPr/>
              </p:nvPicPr>
              <p:blipFill>
                <a:blip r:embed="rId179"/>
                <a:stretch>
                  <a:fillRect/>
                </a:stretch>
              </p:blipFill>
              <p:spPr>
                <a:xfrm>
                  <a:off x="4547302" y="5861099"/>
                  <a:ext cx="174600" cy="357840"/>
                </a:xfrm>
                <a:prstGeom prst="rect">
                  <a:avLst/>
                </a:prstGeom>
              </p:spPr>
            </p:pic>
          </mc:Fallback>
        </mc:AlternateContent>
        <mc:AlternateContent xmlns:mc="http://schemas.openxmlformats.org/markup-compatibility/2006" xmlns:p14="http://schemas.microsoft.com/office/powerpoint/2010/main">
          <mc:Choice Requires="p14">
            <p:contentPart p14:bwMode="auto" r:id="rId180">
              <p14:nvContentPartPr>
                <p14:cNvPr id="137" name="Ink 136">
                  <a:extLst>
                    <a:ext uri="{FF2B5EF4-FFF2-40B4-BE49-F238E27FC236}">
                      <a16:creationId xmlns:a16="http://schemas.microsoft.com/office/drawing/2014/main" id="{AC9A7738-72AD-43C2-8482-9144C8DEA927}"/>
                    </a:ext>
                  </a:extLst>
                </p14:cNvPr>
                <p14:cNvContentPartPr/>
                <p14:nvPr/>
              </p14:nvContentPartPr>
              <p14:xfrm>
                <a:off x="4656742" y="5905379"/>
                <a:ext cx="346680" cy="144360"/>
              </p14:xfrm>
            </p:contentPart>
          </mc:Choice>
          <mc:Fallback xmlns="">
            <p:pic>
              <p:nvPicPr>
                <p:cNvPr id="137" name="Ink 136">
                  <a:extLst>
                    <a:ext uri="{FF2B5EF4-FFF2-40B4-BE49-F238E27FC236}">
                      <a16:creationId xmlns:a16="http://schemas.microsoft.com/office/drawing/2014/main" id="{AC9A7738-72AD-43C2-8482-9144C8DEA927}"/>
                    </a:ext>
                  </a:extLst>
                </p:cNvPr>
                <p:cNvPicPr/>
                <p:nvPr/>
              </p:nvPicPr>
              <p:blipFill>
                <a:blip r:embed="rId181"/>
                <a:stretch>
                  <a:fillRect/>
                </a:stretch>
              </p:blipFill>
              <p:spPr>
                <a:xfrm>
                  <a:off x="4638742" y="5887739"/>
                  <a:ext cx="382320" cy="180000"/>
                </a:xfrm>
                <a:prstGeom prst="rect">
                  <a:avLst/>
                </a:prstGeom>
              </p:spPr>
            </p:pic>
          </mc:Fallback>
        </mc:AlternateContent>
        <mc:AlternateContent xmlns:mc="http://schemas.openxmlformats.org/markup-compatibility/2006" xmlns:p14="http://schemas.microsoft.com/office/powerpoint/2010/main">
          <mc:Choice Requires="p14">
            <p:contentPart p14:bwMode="auto" r:id="rId182">
              <p14:nvContentPartPr>
                <p14:cNvPr id="138" name="Ink 137">
                  <a:extLst>
                    <a:ext uri="{FF2B5EF4-FFF2-40B4-BE49-F238E27FC236}">
                      <a16:creationId xmlns:a16="http://schemas.microsoft.com/office/drawing/2014/main" id="{9E8060DB-BF37-477F-89BF-DD083D2A2970}"/>
                    </a:ext>
                  </a:extLst>
                </p14:cNvPr>
                <p14:cNvContentPartPr/>
                <p14:nvPr/>
              </p14:nvContentPartPr>
              <p14:xfrm>
                <a:off x="4952662" y="5794499"/>
                <a:ext cx="248760" cy="168480"/>
              </p14:xfrm>
            </p:contentPart>
          </mc:Choice>
          <mc:Fallback xmlns="">
            <p:pic>
              <p:nvPicPr>
                <p:cNvPr id="138" name="Ink 137">
                  <a:extLst>
                    <a:ext uri="{FF2B5EF4-FFF2-40B4-BE49-F238E27FC236}">
                      <a16:creationId xmlns:a16="http://schemas.microsoft.com/office/drawing/2014/main" id="{9E8060DB-BF37-477F-89BF-DD083D2A2970}"/>
                    </a:ext>
                  </a:extLst>
                </p:cNvPr>
                <p:cNvPicPr/>
                <p:nvPr/>
              </p:nvPicPr>
              <p:blipFill>
                <a:blip r:embed="rId183"/>
                <a:stretch>
                  <a:fillRect/>
                </a:stretch>
              </p:blipFill>
              <p:spPr>
                <a:xfrm>
                  <a:off x="4934662" y="5776859"/>
                  <a:ext cx="284400" cy="204120"/>
                </a:xfrm>
                <a:prstGeom prst="rect">
                  <a:avLst/>
                </a:prstGeom>
              </p:spPr>
            </p:pic>
          </mc:Fallback>
        </mc:AlternateContent>
        <mc:AlternateContent xmlns:mc="http://schemas.openxmlformats.org/markup-compatibility/2006" xmlns:p14="http://schemas.microsoft.com/office/powerpoint/2010/main">
          <mc:Choice Requires="p14">
            <p:contentPart p14:bwMode="auto" r:id="rId184">
              <p14:nvContentPartPr>
                <p14:cNvPr id="139" name="Ink 138">
                  <a:extLst>
                    <a:ext uri="{FF2B5EF4-FFF2-40B4-BE49-F238E27FC236}">
                      <a16:creationId xmlns:a16="http://schemas.microsoft.com/office/drawing/2014/main" id="{A80340E8-15C7-43C1-BAAF-3851FF271BA3}"/>
                    </a:ext>
                  </a:extLst>
                </p14:cNvPr>
                <p14:cNvContentPartPr/>
                <p14:nvPr/>
              </p14:nvContentPartPr>
              <p14:xfrm>
                <a:off x="4965982" y="5799899"/>
                <a:ext cx="320760" cy="359280"/>
              </p14:xfrm>
            </p:contentPart>
          </mc:Choice>
          <mc:Fallback xmlns="">
            <p:pic>
              <p:nvPicPr>
                <p:cNvPr id="139" name="Ink 138">
                  <a:extLst>
                    <a:ext uri="{FF2B5EF4-FFF2-40B4-BE49-F238E27FC236}">
                      <a16:creationId xmlns:a16="http://schemas.microsoft.com/office/drawing/2014/main" id="{A80340E8-15C7-43C1-BAAF-3851FF271BA3}"/>
                    </a:ext>
                  </a:extLst>
                </p:cNvPr>
                <p:cNvPicPr/>
                <p:nvPr/>
              </p:nvPicPr>
              <p:blipFill>
                <a:blip r:embed="rId185"/>
                <a:stretch>
                  <a:fillRect/>
                </a:stretch>
              </p:blipFill>
              <p:spPr>
                <a:xfrm>
                  <a:off x="4948342" y="5781899"/>
                  <a:ext cx="356400" cy="394920"/>
                </a:xfrm>
                <a:prstGeom prst="rect">
                  <a:avLst/>
                </a:prstGeom>
              </p:spPr>
            </p:pic>
          </mc:Fallback>
        </mc:AlternateContent>
        <mc:AlternateContent xmlns:mc="http://schemas.openxmlformats.org/markup-compatibility/2006" xmlns:p14="http://schemas.microsoft.com/office/powerpoint/2010/main">
          <mc:Choice Requires="p14">
            <p:contentPart p14:bwMode="auto" r:id="rId186">
              <p14:nvContentPartPr>
                <p14:cNvPr id="140" name="Ink 139">
                  <a:extLst>
                    <a:ext uri="{FF2B5EF4-FFF2-40B4-BE49-F238E27FC236}">
                      <a16:creationId xmlns:a16="http://schemas.microsoft.com/office/drawing/2014/main" id="{C0B73C00-0FDB-459F-BDCF-8AF8F6520488}"/>
                    </a:ext>
                  </a:extLst>
                </p14:cNvPr>
                <p14:cNvContentPartPr/>
                <p14:nvPr/>
              </p14:nvContentPartPr>
              <p14:xfrm>
                <a:off x="4970302" y="6175739"/>
                <a:ext cx="230760" cy="76320"/>
              </p14:xfrm>
            </p:contentPart>
          </mc:Choice>
          <mc:Fallback xmlns="">
            <p:pic>
              <p:nvPicPr>
                <p:cNvPr id="140" name="Ink 139">
                  <a:extLst>
                    <a:ext uri="{FF2B5EF4-FFF2-40B4-BE49-F238E27FC236}">
                      <a16:creationId xmlns:a16="http://schemas.microsoft.com/office/drawing/2014/main" id="{C0B73C00-0FDB-459F-BDCF-8AF8F6520488}"/>
                    </a:ext>
                  </a:extLst>
                </p:cNvPr>
                <p:cNvPicPr/>
                <p:nvPr/>
              </p:nvPicPr>
              <p:blipFill>
                <a:blip r:embed="rId187"/>
                <a:stretch>
                  <a:fillRect/>
                </a:stretch>
              </p:blipFill>
              <p:spPr>
                <a:xfrm>
                  <a:off x="4952662" y="6158099"/>
                  <a:ext cx="266400" cy="111960"/>
                </a:xfrm>
                <a:prstGeom prst="rect">
                  <a:avLst/>
                </a:prstGeom>
              </p:spPr>
            </p:pic>
          </mc:Fallback>
        </mc:AlternateContent>
        <mc:AlternateContent xmlns:mc="http://schemas.openxmlformats.org/markup-compatibility/2006" xmlns:p14="http://schemas.microsoft.com/office/powerpoint/2010/main">
          <mc:Choice Requires="p14">
            <p:contentPart p14:bwMode="auto" r:id="rId188">
              <p14:nvContentPartPr>
                <p14:cNvPr id="142" name="Ink 141">
                  <a:extLst>
                    <a:ext uri="{FF2B5EF4-FFF2-40B4-BE49-F238E27FC236}">
                      <a16:creationId xmlns:a16="http://schemas.microsoft.com/office/drawing/2014/main" id="{55B48014-72AB-457E-974F-781492F495D5}"/>
                    </a:ext>
                  </a:extLst>
                </p14:cNvPr>
                <p14:cNvContentPartPr/>
                <p14:nvPr/>
              </p14:nvContentPartPr>
              <p14:xfrm>
                <a:off x="2610142" y="6474539"/>
                <a:ext cx="317160" cy="179640"/>
              </p14:xfrm>
            </p:contentPart>
          </mc:Choice>
          <mc:Fallback xmlns="">
            <p:pic>
              <p:nvPicPr>
                <p:cNvPr id="142" name="Ink 141">
                  <a:extLst>
                    <a:ext uri="{FF2B5EF4-FFF2-40B4-BE49-F238E27FC236}">
                      <a16:creationId xmlns:a16="http://schemas.microsoft.com/office/drawing/2014/main" id="{55B48014-72AB-457E-974F-781492F495D5}"/>
                    </a:ext>
                  </a:extLst>
                </p:cNvPr>
                <p:cNvPicPr/>
                <p:nvPr/>
              </p:nvPicPr>
              <p:blipFill>
                <a:blip r:embed="rId189"/>
                <a:stretch>
                  <a:fillRect/>
                </a:stretch>
              </p:blipFill>
              <p:spPr>
                <a:xfrm>
                  <a:off x="2592142" y="6456539"/>
                  <a:ext cx="352800" cy="215280"/>
                </a:xfrm>
                <a:prstGeom prst="rect">
                  <a:avLst/>
                </a:prstGeom>
              </p:spPr>
            </p:pic>
          </mc:Fallback>
        </mc:AlternateContent>
        <mc:AlternateContent xmlns:mc="http://schemas.openxmlformats.org/markup-compatibility/2006" xmlns:p14="http://schemas.microsoft.com/office/powerpoint/2010/main">
          <mc:Choice Requires="p14">
            <p:contentPart p14:bwMode="auto" r:id="rId190">
              <p14:nvContentPartPr>
                <p14:cNvPr id="143" name="Ink 142">
                  <a:extLst>
                    <a:ext uri="{FF2B5EF4-FFF2-40B4-BE49-F238E27FC236}">
                      <a16:creationId xmlns:a16="http://schemas.microsoft.com/office/drawing/2014/main" id="{B923E4E7-E16B-4E6E-B963-74101690B74A}"/>
                    </a:ext>
                  </a:extLst>
                </p14:cNvPr>
                <p14:cNvContentPartPr/>
                <p14:nvPr/>
              </p14:nvContentPartPr>
              <p14:xfrm>
                <a:off x="2681782" y="6532139"/>
                <a:ext cx="201960" cy="195120"/>
              </p14:xfrm>
            </p:contentPart>
          </mc:Choice>
          <mc:Fallback xmlns="">
            <p:pic>
              <p:nvPicPr>
                <p:cNvPr id="143" name="Ink 142">
                  <a:extLst>
                    <a:ext uri="{FF2B5EF4-FFF2-40B4-BE49-F238E27FC236}">
                      <a16:creationId xmlns:a16="http://schemas.microsoft.com/office/drawing/2014/main" id="{B923E4E7-E16B-4E6E-B963-74101690B74A}"/>
                    </a:ext>
                  </a:extLst>
                </p:cNvPr>
                <p:cNvPicPr/>
                <p:nvPr/>
              </p:nvPicPr>
              <p:blipFill>
                <a:blip r:embed="rId191"/>
                <a:stretch>
                  <a:fillRect/>
                </a:stretch>
              </p:blipFill>
              <p:spPr>
                <a:xfrm>
                  <a:off x="2664142" y="6514499"/>
                  <a:ext cx="237600" cy="23076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92">
            <p14:nvContentPartPr>
              <p14:cNvPr id="145" name="Ink 144">
                <a:extLst>
                  <a:ext uri="{FF2B5EF4-FFF2-40B4-BE49-F238E27FC236}">
                    <a16:creationId xmlns:a16="http://schemas.microsoft.com/office/drawing/2014/main" id="{597DE346-ED5D-4171-8F99-94E07652E0A1}"/>
                  </a:ext>
                </a:extLst>
              </p14:cNvPr>
              <p14:cNvContentPartPr/>
              <p14:nvPr/>
            </p14:nvContentPartPr>
            <p14:xfrm>
              <a:off x="4813702" y="4937699"/>
              <a:ext cx="975240" cy="249840"/>
            </p14:xfrm>
          </p:contentPart>
        </mc:Choice>
        <mc:Fallback xmlns="">
          <p:pic>
            <p:nvPicPr>
              <p:cNvPr id="145" name="Ink 144">
                <a:extLst>
                  <a:ext uri="{FF2B5EF4-FFF2-40B4-BE49-F238E27FC236}">
                    <a16:creationId xmlns:a16="http://schemas.microsoft.com/office/drawing/2014/main" id="{597DE346-ED5D-4171-8F99-94E07652E0A1}"/>
                  </a:ext>
                </a:extLst>
              </p:cNvPr>
              <p:cNvPicPr/>
              <p:nvPr/>
            </p:nvPicPr>
            <p:blipFill>
              <a:blip r:embed="rId193"/>
              <a:stretch>
                <a:fillRect/>
              </a:stretch>
            </p:blipFill>
            <p:spPr>
              <a:xfrm>
                <a:off x="4795702" y="4920059"/>
                <a:ext cx="1010880" cy="285480"/>
              </a:xfrm>
              <a:prstGeom prst="rect">
                <a:avLst/>
              </a:prstGeom>
            </p:spPr>
          </p:pic>
        </mc:Fallback>
      </mc:AlternateContent>
      <mc:AlternateContent xmlns:mc="http://schemas.openxmlformats.org/markup-compatibility/2006" xmlns:p14="http://schemas.microsoft.com/office/powerpoint/2010/main">
        <mc:Choice Requires="p14">
          <p:contentPart p14:bwMode="auto" r:id="rId194">
            <p14:nvContentPartPr>
              <p14:cNvPr id="2" name="Ink 1">
                <a:extLst>
                  <a:ext uri="{FF2B5EF4-FFF2-40B4-BE49-F238E27FC236}">
                    <a16:creationId xmlns:a16="http://schemas.microsoft.com/office/drawing/2014/main" id="{9001987A-2CF7-4550-8045-C9438CB837FF}"/>
                  </a:ext>
                </a:extLst>
              </p14:cNvPr>
              <p14:cNvContentPartPr/>
              <p14:nvPr/>
            </p14:nvContentPartPr>
            <p14:xfrm>
              <a:off x="1447560" y="1277280"/>
              <a:ext cx="5912640" cy="413640"/>
            </p14:xfrm>
          </p:contentPart>
        </mc:Choice>
        <mc:Fallback xmlns="">
          <p:pic>
            <p:nvPicPr>
              <p:cNvPr id="2" name="Ink 1">
                <a:extLst>
                  <a:ext uri="{FF2B5EF4-FFF2-40B4-BE49-F238E27FC236}">
                    <a16:creationId xmlns:a16="http://schemas.microsoft.com/office/drawing/2014/main" id="{9001987A-2CF7-4550-8045-C9438CB837FF}"/>
                  </a:ext>
                </a:extLst>
              </p:cNvPr>
              <p:cNvPicPr/>
              <p:nvPr/>
            </p:nvPicPr>
            <p:blipFill>
              <a:blip r:embed="rId195"/>
              <a:stretch>
                <a:fillRect/>
              </a:stretch>
            </p:blipFill>
            <p:spPr>
              <a:xfrm>
                <a:off x="1438200" y="1131840"/>
                <a:ext cx="10248120" cy="364788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96">
            <p14:nvContentPartPr>
              <p14:cNvPr id="110" name="Ink 109">
                <a:extLst>
                  <a:ext uri="{FF2B5EF4-FFF2-40B4-BE49-F238E27FC236}">
                    <a16:creationId xmlns:a16="http://schemas.microsoft.com/office/drawing/2014/main" id="{9EFB8B09-BAF4-C050-26BC-1283E590E030}"/>
                  </a:ext>
                </a:extLst>
              </p14:cNvPr>
              <p14:cNvContentPartPr/>
              <p14:nvPr/>
            </p14:nvContentPartPr>
            <p14:xfrm>
              <a:off x="5839067" y="3531640"/>
              <a:ext cx="68040" cy="11520"/>
            </p14:xfrm>
          </p:contentPart>
        </mc:Choice>
        <mc:Fallback xmlns="">
          <p:pic>
            <p:nvPicPr>
              <p:cNvPr id="110" name="Ink 109">
                <a:extLst>
                  <a:ext uri="{FF2B5EF4-FFF2-40B4-BE49-F238E27FC236}">
                    <a16:creationId xmlns:a16="http://schemas.microsoft.com/office/drawing/2014/main" id="{9EFB8B09-BAF4-C050-26BC-1283E590E030}"/>
                  </a:ext>
                </a:extLst>
              </p:cNvPr>
              <p:cNvPicPr/>
              <p:nvPr/>
            </p:nvPicPr>
            <p:blipFill>
              <a:blip r:embed="rId197"/>
              <a:stretch>
                <a:fillRect/>
              </a:stretch>
            </p:blipFill>
            <p:spPr>
              <a:xfrm>
                <a:off x="5808107" y="3500680"/>
                <a:ext cx="129240" cy="72720"/>
              </a:xfrm>
              <a:prstGeom prst="rect">
                <a:avLst/>
              </a:prstGeom>
            </p:spPr>
          </p:pic>
        </mc:Fallback>
      </mc:AlternateContent>
      <mc:AlternateContent xmlns:mc="http://schemas.openxmlformats.org/markup-compatibility/2006" xmlns:p14="http://schemas.microsoft.com/office/powerpoint/2010/main">
        <mc:Choice Requires="p14">
          <p:contentPart p14:bwMode="auto" r:id="rId198">
            <p14:nvContentPartPr>
              <p14:cNvPr id="188" name="Ink 187">
                <a:extLst>
                  <a:ext uri="{FF2B5EF4-FFF2-40B4-BE49-F238E27FC236}">
                    <a16:creationId xmlns:a16="http://schemas.microsoft.com/office/drawing/2014/main" id="{5E76B3EB-A2ED-8C3C-47EA-7FC6A9C9B6C4}"/>
                  </a:ext>
                </a:extLst>
              </p14:cNvPr>
              <p14:cNvContentPartPr/>
              <p14:nvPr/>
            </p14:nvContentPartPr>
            <p14:xfrm>
              <a:off x="9191680" y="5647720"/>
              <a:ext cx="1365840" cy="194040"/>
            </p14:xfrm>
          </p:contentPart>
        </mc:Choice>
        <mc:Fallback xmlns="">
          <p:pic>
            <p:nvPicPr>
              <p:cNvPr id="188" name="Ink 187">
                <a:extLst>
                  <a:ext uri="{FF2B5EF4-FFF2-40B4-BE49-F238E27FC236}">
                    <a16:creationId xmlns:a16="http://schemas.microsoft.com/office/drawing/2014/main" id="{5E76B3EB-A2ED-8C3C-47EA-7FC6A9C9B6C4}"/>
                  </a:ext>
                </a:extLst>
              </p:cNvPr>
              <p:cNvPicPr/>
              <p:nvPr/>
            </p:nvPicPr>
            <p:blipFill>
              <a:blip r:embed="rId265"/>
              <a:stretch>
                <a:fillRect/>
              </a:stretch>
            </p:blipFill>
            <p:spPr>
              <a:xfrm>
                <a:off x="9176560" y="5632600"/>
                <a:ext cx="1396440" cy="224640"/>
              </a:xfrm>
              <a:prstGeom prst="rect">
                <a:avLst/>
              </a:prstGeom>
            </p:spPr>
          </p:pic>
        </mc:Fallback>
      </mc:AlternateContent>
      <mc:AlternateContent xmlns:mc="http://schemas.openxmlformats.org/markup-compatibility/2006" xmlns:p14="http://schemas.microsoft.com/office/powerpoint/2010/main">
        <mc:Choice Requires="p14">
          <p:contentPart p14:bwMode="auto" r:id="rId266">
            <p14:nvContentPartPr>
              <p14:cNvPr id="155" name="Ink 154">
                <a:extLst>
                  <a:ext uri="{FF2B5EF4-FFF2-40B4-BE49-F238E27FC236}">
                    <a16:creationId xmlns:a16="http://schemas.microsoft.com/office/drawing/2014/main" id="{321D5CA3-9C39-07A1-C64E-CE5BF1134E62}"/>
                  </a:ext>
                </a:extLst>
              </p14:cNvPr>
              <p14:cNvContentPartPr/>
              <p14:nvPr/>
            </p14:nvContentPartPr>
            <p14:xfrm>
              <a:off x="3676480" y="2381800"/>
              <a:ext cx="8280" cy="19800"/>
            </p14:xfrm>
          </p:contentPart>
        </mc:Choice>
        <mc:Fallback xmlns="">
          <p:pic>
            <p:nvPicPr>
              <p:cNvPr id="155" name="Ink 154">
                <a:extLst>
                  <a:ext uri="{FF2B5EF4-FFF2-40B4-BE49-F238E27FC236}">
                    <a16:creationId xmlns:a16="http://schemas.microsoft.com/office/drawing/2014/main" id="{321D5CA3-9C39-07A1-C64E-CE5BF1134E62}"/>
                  </a:ext>
                </a:extLst>
              </p:cNvPr>
              <p:cNvPicPr/>
              <p:nvPr/>
            </p:nvPicPr>
            <p:blipFill>
              <a:blip r:embed="rId273"/>
              <a:stretch>
                <a:fillRect/>
              </a:stretch>
            </p:blipFill>
            <p:spPr>
              <a:xfrm>
                <a:off x="3661360" y="2366320"/>
                <a:ext cx="38520" cy="50400"/>
              </a:xfrm>
              <a:prstGeom prst="rect">
                <a:avLst/>
              </a:prstGeom>
            </p:spPr>
          </p:pic>
        </mc:Fallback>
      </mc:AlternateContent>
      <mc:AlternateContent xmlns:mc="http://schemas.openxmlformats.org/markup-compatibility/2006" xmlns:p14="http://schemas.microsoft.com/office/powerpoint/2010/main">
        <mc:Choice Requires="p14">
          <p:contentPart p14:bwMode="auto" r:id="rId274">
            <p14:nvContentPartPr>
              <p14:cNvPr id="156" name="Ink 155">
                <a:extLst>
                  <a:ext uri="{FF2B5EF4-FFF2-40B4-BE49-F238E27FC236}">
                    <a16:creationId xmlns:a16="http://schemas.microsoft.com/office/drawing/2014/main" id="{EBC32C2D-E446-151F-0453-4F2ADA5A7576}"/>
                  </a:ext>
                </a:extLst>
              </p14:cNvPr>
              <p14:cNvContentPartPr/>
              <p14:nvPr/>
            </p14:nvContentPartPr>
            <p14:xfrm>
              <a:off x="3717880" y="2838280"/>
              <a:ext cx="12600" cy="13320"/>
            </p14:xfrm>
          </p:contentPart>
        </mc:Choice>
        <mc:Fallback xmlns="">
          <p:pic>
            <p:nvPicPr>
              <p:cNvPr id="156" name="Ink 155">
                <a:extLst>
                  <a:ext uri="{FF2B5EF4-FFF2-40B4-BE49-F238E27FC236}">
                    <a16:creationId xmlns:a16="http://schemas.microsoft.com/office/drawing/2014/main" id="{EBC32C2D-E446-151F-0453-4F2ADA5A7576}"/>
                  </a:ext>
                </a:extLst>
              </p:cNvPr>
              <p:cNvPicPr/>
              <p:nvPr/>
            </p:nvPicPr>
            <p:blipFill>
              <a:blip r:embed="rId275"/>
              <a:stretch>
                <a:fillRect/>
              </a:stretch>
            </p:blipFill>
            <p:spPr>
              <a:xfrm>
                <a:off x="3702760" y="2822800"/>
                <a:ext cx="43200" cy="43560"/>
              </a:xfrm>
              <a:prstGeom prst="rect">
                <a:avLst/>
              </a:prstGeom>
            </p:spPr>
          </p:pic>
        </mc:Fallback>
      </mc:AlternateContent>
      <mc:AlternateContent xmlns:mc="http://schemas.openxmlformats.org/markup-compatibility/2006" xmlns:p14="http://schemas.microsoft.com/office/powerpoint/2010/main">
        <mc:Choice Requires="p14">
          <p:contentPart p14:bwMode="auto" r:id="rId276">
            <p14:nvContentPartPr>
              <p14:cNvPr id="124" name="Ink 123">
                <a:extLst>
                  <a:ext uri="{FF2B5EF4-FFF2-40B4-BE49-F238E27FC236}">
                    <a16:creationId xmlns:a16="http://schemas.microsoft.com/office/drawing/2014/main" id="{37C26012-6F70-0347-3011-80F14FEC00FE}"/>
                  </a:ext>
                </a:extLst>
              </p14:cNvPr>
              <p14:cNvContentPartPr/>
              <p14:nvPr/>
            </p14:nvContentPartPr>
            <p14:xfrm>
              <a:off x="8974240" y="2481880"/>
              <a:ext cx="149400" cy="26280"/>
            </p14:xfrm>
          </p:contentPart>
        </mc:Choice>
        <mc:Fallback xmlns="">
          <p:pic>
            <p:nvPicPr>
              <p:cNvPr id="124" name="Ink 123">
                <a:extLst>
                  <a:ext uri="{FF2B5EF4-FFF2-40B4-BE49-F238E27FC236}">
                    <a16:creationId xmlns:a16="http://schemas.microsoft.com/office/drawing/2014/main" id="{37C26012-6F70-0347-3011-80F14FEC00FE}"/>
                  </a:ext>
                </a:extLst>
              </p:cNvPr>
              <p:cNvPicPr/>
              <p:nvPr/>
            </p:nvPicPr>
            <p:blipFill>
              <a:blip r:embed="rId283"/>
              <a:stretch>
                <a:fillRect/>
              </a:stretch>
            </p:blipFill>
            <p:spPr>
              <a:xfrm>
                <a:off x="8959120" y="2466760"/>
                <a:ext cx="180000" cy="56880"/>
              </a:xfrm>
              <a:prstGeom prst="rect">
                <a:avLst/>
              </a:prstGeom>
            </p:spPr>
          </p:pic>
        </mc:Fallback>
      </mc:AlternateContent>
      <mc:AlternateContent xmlns:mc="http://schemas.openxmlformats.org/markup-compatibility/2006" xmlns:p14="http://schemas.microsoft.com/office/powerpoint/2010/main">
        <mc:Choice Requires="p14">
          <p:contentPart p14:bwMode="auto" r:id="rId284">
            <p14:nvContentPartPr>
              <p14:cNvPr id="3" name="Ink 2">
                <a:extLst>
                  <a:ext uri="{FF2B5EF4-FFF2-40B4-BE49-F238E27FC236}">
                    <a16:creationId xmlns:a16="http://schemas.microsoft.com/office/drawing/2014/main" id="{5CC291EF-6F73-911E-EB15-0305AE1A3D51}"/>
                  </a:ext>
                </a:extLst>
              </p14:cNvPr>
              <p14:cNvContentPartPr/>
              <p14:nvPr/>
            </p14:nvContentPartPr>
            <p14:xfrm>
              <a:off x="3273000" y="2169760"/>
              <a:ext cx="987840" cy="433440"/>
            </p14:xfrm>
          </p:contentPart>
        </mc:Choice>
        <mc:Fallback xmlns="">
          <p:pic>
            <p:nvPicPr>
              <p:cNvPr id="3" name="Ink 2">
                <a:extLst>
                  <a:ext uri="{FF2B5EF4-FFF2-40B4-BE49-F238E27FC236}">
                    <a16:creationId xmlns:a16="http://schemas.microsoft.com/office/drawing/2014/main" id="{5CC291EF-6F73-911E-EB15-0305AE1A3D51}"/>
                  </a:ext>
                </a:extLst>
              </p:cNvPr>
              <p:cNvPicPr/>
              <p:nvPr/>
            </p:nvPicPr>
            <p:blipFill>
              <a:blip r:embed="rId285"/>
              <a:stretch>
                <a:fillRect/>
              </a:stretch>
            </p:blipFill>
            <p:spPr>
              <a:xfrm>
                <a:off x="3264000" y="2160760"/>
                <a:ext cx="1005480" cy="451080"/>
              </a:xfrm>
              <a:prstGeom prst="rect">
                <a:avLst/>
              </a:prstGeom>
            </p:spPr>
          </p:pic>
        </mc:Fallback>
      </mc:AlternateContent>
      <mc:AlternateContent xmlns:mc="http://schemas.openxmlformats.org/markup-compatibility/2006" xmlns:p14="http://schemas.microsoft.com/office/powerpoint/2010/main">
        <mc:Choice Requires="p14">
          <p:contentPart p14:bwMode="auto" r:id="rId286">
            <p14:nvContentPartPr>
              <p14:cNvPr id="5" name="Ink 4">
                <a:extLst>
                  <a:ext uri="{FF2B5EF4-FFF2-40B4-BE49-F238E27FC236}">
                    <a16:creationId xmlns:a16="http://schemas.microsoft.com/office/drawing/2014/main" id="{3E80310C-9CA8-CBD5-F35E-614D8862F764}"/>
                  </a:ext>
                </a:extLst>
              </p14:cNvPr>
              <p14:cNvContentPartPr/>
              <p14:nvPr/>
            </p14:nvContentPartPr>
            <p14:xfrm>
              <a:off x="4975440" y="3448480"/>
              <a:ext cx="1251720" cy="520920"/>
            </p14:xfrm>
          </p:contentPart>
        </mc:Choice>
        <mc:Fallback xmlns="">
          <p:pic>
            <p:nvPicPr>
              <p:cNvPr id="5" name="Ink 4">
                <a:extLst>
                  <a:ext uri="{FF2B5EF4-FFF2-40B4-BE49-F238E27FC236}">
                    <a16:creationId xmlns:a16="http://schemas.microsoft.com/office/drawing/2014/main" id="{3E80310C-9CA8-CBD5-F35E-614D8862F764}"/>
                  </a:ext>
                </a:extLst>
              </p:cNvPr>
              <p:cNvPicPr/>
              <p:nvPr/>
            </p:nvPicPr>
            <p:blipFill>
              <a:blip r:embed="rId287"/>
              <a:stretch>
                <a:fillRect/>
              </a:stretch>
            </p:blipFill>
            <p:spPr>
              <a:xfrm>
                <a:off x="4966800" y="3439480"/>
                <a:ext cx="1269360" cy="538560"/>
              </a:xfrm>
              <a:prstGeom prst="rect">
                <a:avLst/>
              </a:prstGeom>
            </p:spPr>
          </p:pic>
        </mc:Fallback>
      </mc:AlternateContent>
      <mc:AlternateContent xmlns:mc="http://schemas.openxmlformats.org/markup-compatibility/2006" xmlns:p14="http://schemas.microsoft.com/office/powerpoint/2010/main">
        <mc:Choice Requires="p14">
          <p:contentPart p14:bwMode="auto" r:id="rId288">
            <p14:nvContentPartPr>
              <p14:cNvPr id="7" name="Ink 6">
                <a:extLst>
                  <a:ext uri="{FF2B5EF4-FFF2-40B4-BE49-F238E27FC236}">
                    <a16:creationId xmlns:a16="http://schemas.microsoft.com/office/drawing/2014/main" id="{CB3E3410-9893-789C-17A8-60485587C5E0}"/>
                  </a:ext>
                </a:extLst>
              </p14:cNvPr>
              <p14:cNvContentPartPr/>
              <p14:nvPr/>
            </p14:nvContentPartPr>
            <p14:xfrm>
              <a:off x="6677160" y="1987600"/>
              <a:ext cx="1092960" cy="537480"/>
            </p14:xfrm>
          </p:contentPart>
        </mc:Choice>
        <mc:Fallback xmlns="">
          <p:pic>
            <p:nvPicPr>
              <p:cNvPr id="7" name="Ink 6">
                <a:extLst>
                  <a:ext uri="{FF2B5EF4-FFF2-40B4-BE49-F238E27FC236}">
                    <a16:creationId xmlns:a16="http://schemas.microsoft.com/office/drawing/2014/main" id="{CB3E3410-9893-789C-17A8-60485587C5E0}"/>
                  </a:ext>
                </a:extLst>
              </p:cNvPr>
              <p:cNvPicPr/>
              <p:nvPr/>
            </p:nvPicPr>
            <p:blipFill>
              <a:blip r:embed="rId289"/>
              <a:stretch>
                <a:fillRect/>
              </a:stretch>
            </p:blipFill>
            <p:spPr>
              <a:xfrm>
                <a:off x="6668160" y="1978600"/>
                <a:ext cx="1110600" cy="555120"/>
              </a:xfrm>
              <a:prstGeom prst="rect">
                <a:avLst/>
              </a:prstGeom>
            </p:spPr>
          </p:pic>
        </mc:Fallback>
      </mc:AlternateContent>
      <mc:AlternateContent xmlns:mc="http://schemas.openxmlformats.org/markup-compatibility/2006" xmlns:p14="http://schemas.microsoft.com/office/powerpoint/2010/main">
        <mc:Choice Requires="p14">
          <p:contentPart p14:bwMode="auto" r:id="rId290">
            <p14:nvContentPartPr>
              <p14:cNvPr id="8" name="Ink 7">
                <a:extLst>
                  <a:ext uri="{FF2B5EF4-FFF2-40B4-BE49-F238E27FC236}">
                    <a16:creationId xmlns:a16="http://schemas.microsoft.com/office/drawing/2014/main" id="{E00F5581-3322-1CDC-5F63-CA3FF7F0CD0F}"/>
                  </a:ext>
                </a:extLst>
              </p14:cNvPr>
              <p14:cNvContentPartPr/>
              <p14:nvPr/>
            </p14:nvContentPartPr>
            <p14:xfrm>
              <a:off x="6579240" y="2560720"/>
              <a:ext cx="1683360" cy="668520"/>
            </p14:xfrm>
          </p:contentPart>
        </mc:Choice>
        <mc:Fallback xmlns="">
          <p:pic>
            <p:nvPicPr>
              <p:cNvPr id="8" name="Ink 7">
                <a:extLst>
                  <a:ext uri="{FF2B5EF4-FFF2-40B4-BE49-F238E27FC236}">
                    <a16:creationId xmlns:a16="http://schemas.microsoft.com/office/drawing/2014/main" id="{E00F5581-3322-1CDC-5F63-CA3FF7F0CD0F}"/>
                  </a:ext>
                </a:extLst>
              </p:cNvPr>
              <p:cNvPicPr/>
              <p:nvPr/>
            </p:nvPicPr>
            <p:blipFill>
              <a:blip r:embed="rId291"/>
              <a:stretch>
                <a:fillRect/>
              </a:stretch>
            </p:blipFill>
            <p:spPr>
              <a:xfrm>
                <a:off x="6570600" y="2552080"/>
                <a:ext cx="1701000" cy="686160"/>
              </a:xfrm>
              <a:prstGeom prst="rect">
                <a:avLst/>
              </a:prstGeom>
            </p:spPr>
          </p:pic>
        </mc:Fallback>
      </mc:AlternateContent>
      <mc:AlternateContent xmlns:mc="http://schemas.openxmlformats.org/markup-compatibility/2006" xmlns:p14="http://schemas.microsoft.com/office/powerpoint/2010/main">
        <mc:Choice Requires="p14">
          <p:contentPart p14:bwMode="auto" r:id="rId292">
            <p14:nvContentPartPr>
              <p14:cNvPr id="9" name="Ink 8">
                <a:extLst>
                  <a:ext uri="{FF2B5EF4-FFF2-40B4-BE49-F238E27FC236}">
                    <a16:creationId xmlns:a16="http://schemas.microsoft.com/office/drawing/2014/main" id="{3E80DF59-F9E2-C252-15B4-F9AC17AF857A}"/>
                  </a:ext>
                </a:extLst>
              </p14:cNvPr>
              <p14:cNvContentPartPr/>
              <p14:nvPr/>
            </p14:nvContentPartPr>
            <p14:xfrm>
              <a:off x="6493200" y="3180280"/>
              <a:ext cx="1560240" cy="619560"/>
            </p14:xfrm>
          </p:contentPart>
        </mc:Choice>
        <mc:Fallback xmlns="">
          <p:pic>
            <p:nvPicPr>
              <p:cNvPr id="9" name="Ink 8">
                <a:extLst>
                  <a:ext uri="{FF2B5EF4-FFF2-40B4-BE49-F238E27FC236}">
                    <a16:creationId xmlns:a16="http://schemas.microsoft.com/office/drawing/2014/main" id="{3E80DF59-F9E2-C252-15B4-F9AC17AF857A}"/>
                  </a:ext>
                </a:extLst>
              </p:cNvPr>
              <p:cNvPicPr/>
              <p:nvPr/>
            </p:nvPicPr>
            <p:blipFill>
              <a:blip r:embed="rId293"/>
              <a:stretch>
                <a:fillRect/>
              </a:stretch>
            </p:blipFill>
            <p:spPr>
              <a:xfrm>
                <a:off x="6484200" y="3171280"/>
                <a:ext cx="1577880" cy="637200"/>
              </a:xfrm>
              <a:prstGeom prst="rect">
                <a:avLst/>
              </a:prstGeom>
            </p:spPr>
          </p:pic>
        </mc:Fallback>
      </mc:AlternateContent>
      <p:grpSp>
        <p:nvGrpSpPr>
          <p:cNvPr id="28" name="Group 27">
            <a:extLst>
              <a:ext uri="{FF2B5EF4-FFF2-40B4-BE49-F238E27FC236}">
                <a16:creationId xmlns:a16="http://schemas.microsoft.com/office/drawing/2014/main" id="{AD2D61E2-5806-1545-C5EF-AFAA8C52D1DF}"/>
              </a:ext>
            </a:extLst>
          </p:cNvPr>
          <p:cNvGrpSpPr/>
          <p:nvPr/>
        </p:nvGrpSpPr>
        <p:grpSpPr>
          <a:xfrm>
            <a:off x="8334960" y="2240680"/>
            <a:ext cx="3370680" cy="1663920"/>
            <a:chOff x="8334960" y="2240680"/>
            <a:chExt cx="3370680" cy="1663920"/>
          </a:xfrm>
        </p:grpSpPr>
        <mc:AlternateContent xmlns:mc="http://schemas.openxmlformats.org/markup-compatibility/2006" xmlns:p14="http://schemas.microsoft.com/office/powerpoint/2010/main">
          <mc:Choice Requires="p14">
            <p:contentPart p14:bwMode="auto" r:id="rId294">
              <p14:nvContentPartPr>
                <p14:cNvPr id="11" name="Ink 10">
                  <a:extLst>
                    <a:ext uri="{FF2B5EF4-FFF2-40B4-BE49-F238E27FC236}">
                      <a16:creationId xmlns:a16="http://schemas.microsoft.com/office/drawing/2014/main" id="{096C6CFE-F299-BD61-CF57-9C3C66D631C3}"/>
                    </a:ext>
                  </a:extLst>
                </p14:cNvPr>
                <p14:cNvContentPartPr/>
                <p14:nvPr/>
              </p14:nvContentPartPr>
              <p14:xfrm>
                <a:off x="9561120" y="2240680"/>
                <a:ext cx="102240" cy="545760"/>
              </p14:xfrm>
            </p:contentPart>
          </mc:Choice>
          <mc:Fallback xmlns="">
            <p:pic>
              <p:nvPicPr>
                <p:cNvPr id="11" name="Ink 10">
                  <a:extLst>
                    <a:ext uri="{FF2B5EF4-FFF2-40B4-BE49-F238E27FC236}">
                      <a16:creationId xmlns:a16="http://schemas.microsoft.com/office/drawing/2014/main" id="{096C6CFE-F299-BD61-CF57-9C3C66D631C3}"/>
                    </a:ext>
                  </a:extLst>
                </p:cNvPr>
                <p:cNvPicPr/>
                <p:nvPr/>
              </p:nvPicPr>
              <p:blipFill>
                <a:blip r:embed="rId295"/>
                <a:stretch>
                  <a:fillRect/>
                </a:stretch>
              </p:blipFill>
              <p:spPr>
                <a:xfrm>
                  <a:off x="9552480" y="2231680"/>
                  <a:ext cx="119880" cy="563400"/>
                </a:xfrm>
                <a:prstGeom prst="rect">
                  <a:avLst/>
                </a:prstGeom>
              </p:spPr>
            </p:pic>
          </mc:Fallback>
        </mc:AlternateContent>
        <mc:AlternateContent xmlns:mc="http://schemas.openxmlformats.org/markup-compatibility/2006" xmlns:p14="http://schemas.microsoft.com/office/powerpoint/2010/main">
          <mc:Choice Requires="p14">
            <p:contentPart p14:bwMode="auto" r:id="rId296">
              <p14:nvContentPartPr>
                <p14:cNvPr id="12" name="Ink 11">
                  <a:extLst>
                    <a:ext uri="{FF2B5EF4-FFF2-40B4-BE49-F238E27FC236}">
                      <a16:creationId xmlns:a16="http://schemas.microsoft.com/office/drawing/2014/main" id="{3A69CE31-6C56-3D45-34EF-3F628F956D7B}"/>
                    </a:ext>
                  </a:extLst>
                </p14:cNvPr>
                <p14:cNvContentPartPr/>
                <p14:nvPr/>
              </p14:nvContentPartPr>
              <p14:xfrm>
                <a:off x="8334960" y="2296120"/>
                <a:ext cx="57600" cy="628200"/>
              </p14:xfrm>
            </p:contentPart>
          </mc:Choice>
          <mc:Fallback xmlns="">
            <p:pic>
              <p:nvPicPr>
                <p:cNvPr id="12" name="Ink 11">
                  <a:extLst>
                    <a:ext uri="{FF2B5EF4-FFF2-40B4-BE49-F238E27FC236}">
                      <a16:creationId xmlns:a16="http://schemas.microsoft.com/office/drawing/2014/main" id="{3A69CE31-6C56-3D45-34EF-3F628F956D7B}"/>
                    </a:ext>
                  </a:extLst>
                </p:cNvPr>
                <p:cNvPicPr/>
                <p:nvPr/>
              </p:nvPicPr>
              <p:blipFill>
                <a:blip r:embed="rId297"/>
                <a:stretch>
                  <a:fillRect/>
                </a:stretch>
              </p:blipFill>
              <p:spPr>
                <a:xfrm>
                  <a:off x="8325960" y="2287120"/>
                  <a:ext cx="75240" cy="645840"/>
                </a:xfrm>
                <a:prstGeom prst="rect">
                  <a:avLst/>
                </a:prstGeom>
              </p:spPr>
            </p:pic>
          </mc:Fallback>
        </mc:AlternateContent>
        <mc:AlternateContent xmlns:mc="http://schemas.openxmlformats.org/markup-compatibility/2006" xmlns:p14="http://schemas.microsoft.com/office/powerpoint/2010/main">
          <mc:Choice Requires="p14">
            <p:contentPart p14:bwMode="auto" r:id="rId298">
              <p14:nvContentPartPr>
                <p14:cNvPr id="13" name="Ink 12">
                  <a:extLst>
                    <a:ext uri="{FF2B5EF4-FFF2-40B4-BE49-F238E27FC236}">
                      <a16:creationId xmlns:a16="http://schemas.microsoft.com/office/drawing/2014/main" id="{9E4B78ED-2E6F-DE82-7A10-0E8F66ED8A66}"/>
                    </a:ext>
                  </a:extLst>
                </p14:cNvPr>
                <p14:cNvContentPartPr/>
                <p14:nvPr/>
              </p14:nvContentPartPr>
              <p14:xfrm>
                <a:off x="10372560" y="2391160"/>
                <a:ext cx="504360" cy="19080"/>
              </p14:xfrm>
            </p:contentPart>
          </mc:Choice>
          <mc:Fallback xmlns="">
            <p:pic>
              <p:nvPicPr>
                <p:cNvPr id="13" name="Ink 12">
                  <a:extLst>
                    <a:ext uri="{FF2B5EF4-FFF2-40B4-BE49-F238E27FC236}">
                      <a16:creationId xmlns:a16="http://schemas.microsoft.com/office/drawing/2014/main" id="{9E4B78ED-2E6F-DE82-7A10-0E8F66ED8A66}"/>
                    </a:ext>
                  </a:extLst>
                </p:cNvPr>
                <p:cNvPicPr/>
                <p:nvPr/>
              </p:nvPicPr>
              <p:blipFill>
                <a:blip r:embed="rId299"/>
                <a:stretch>
                  <a:fillRect/>
                </a:stretch>
              </p:blipFill>
              <p:spPr>
                <a:xfrm>
                  <a:off x="10363560" y="2382160"/>
                  <a:ext cx="522000" cy="36720"/>
                </a:xfrm>
                <a:prstGeom prst="rect">
                  <a:avLst/>
                </a:prstGeom>
              </p:spPr>
            </p:pic>
          </mc:Fallback>
        </mc:AlternateContent>
        <mc:AlternateContent xmlns:mc="http://schemas.openxmlformats.org/markup-compatibility/2006" xmlns:p14="http://schemas.microsoft.com/office/powerpoint/2010/main">
          <mc:Choice Requires="p14">
            <p:contentPart p14:bwMode="auto" r:id="rId300">
              <p14:nvContentPartPr>
                <p14:cNvPr id="17" name="Ink 16">
                  <a:extLst>
                    <a:ext uri="{FF2B5EF4-FFF2-40B4-BE49-F238E27FC236}">
                      <a16:creationId xmlns:a16="http://schemas.microsoft.com/office/drawing/2014/main" id="{FD1EC0B6-88F3-2411-B0E1-C0BBFF40AFF1}"/>
                    </a:ext>
                  </a:extLst>
                </p14:cNvPr>
                <p14:cNvContentPartPr/>
                <p14:nvPr/>
              </p14:nvContentPartPr>
              <p14:xfrm>
                <a:off x="10492080" y="2953480"/>
                <a:ext cx="1213560" cy="35640"/>
              </p14:xfrm>
            </p:contentPart>
          </mc:Choice>
          <mc:Fallback xmlns="">
            <p:pic>
              <p:nvPicPr>
                <p:cNvPr id="17" name="Ink 16">
                  <a:extLst>
                    <a:ext uri="{FF2B5EF4-FFF2-40B4-BE49-F238E27FC236}">
                      <a16:creationId xmlns:a16="http://schemas.microsoft.com/office/drawing/2014/main" id="{FD1EC0B6-88F3-2411-B0E1-C0BBFF40AFF1}"/>
                    </a:ext>
                  </a:extLst>
                </p:cNvPr>
                <p:cNvPicPr/>
                <p:nvPr/>
              </p:nvPicPr>
              <p:blipFill>
                <a:blip r:embed="rId301"/>
                <a:stretch>
                  <a:fillRect/>
                </a:stretch>
              </p:blipFill>
              <p:spPr>
                <a:xfrm>
                  <a:off x="10483080" y="2944840"/>
                  <a:ext cx="1231200" cy="53280"/>
                </a:xfrm>
                <a:prstGeom prst="rect">
                  <a:avLst/>
                </a:prstGeom>
              </p:spPr>
            </p:pic>
          </mc:Fallback>
        </mc:AlternateContent>
        <mc:AlternateContent xmlns:mc="http://schemas.openxmlformats.org/markup-compatibility/2006" xmlns:p14="http://schemas.microsoft.com/office/powerpoint/2010/main">
          <mc:Choice Requires="p14">
            <p:contentPart p14:bwMode="auto" r:id="rId302">
              <p14:nvContentPartPr>
                <p14:cNvPr id="25" name="Ink 24">
                  <a:extLst>
                    <a:ext uri="{FF2B5EF4-FFF2-40B4-BE49-F238E27FC236}">
                      <a16:creationId xmlns:a16="http://schemas.microsoft.com/office/drawing/2014/main" id="{C7031314-46E2-CBC9-F465-941F75F2E680}"/>
                    </a:ext>
                  </a:extLst>
                </p14:cNvPr>
                <p14:cNvContentPartPr/>
                <p14:nvPr/>
              </p14:nvContentPartPr>
              <p14:xfrm>
                <a:off x="10164480" y="3086680"/>
                <a:ext cx="1464480" cy="538200"/>
              </p14:xfrm>
            </p:contentPart>
          </mc:Choice>
          <mc:Fallback xmlns="">
            <p:pic>
              <p:nvPicPr>
                <p:cNvPr id="25" name="Ink 24">
                  <a:extLst>
                    <a:ext uri="{FF2B5EF4-FFF2-40B4-BE49-F238E27FC236}">
                      <a16:creationId xmlns:a16="http://schemas.microsoft.com/office/drawing/2014/main" id="{C7031314-46E2-CBC9-F465-941F75F2E680}"/>
                    </a:ext>
                  </a:extLst>
                </p:cNvPr>
                <p:cNvPicPr/>
                <p:nvPr/>
              </p:nvPicPr>
              <p:blipFill>
                <a:blip r:embed="rId303"/>
                <a:stretch>
                  <a:fillRect/>
                </a:stretch>
              </p:blipFill>
              <p:spPr>
                <a:xfrm>
                  <a:off x="10155840" y="3078040"/>
                  <a:ext cx="1482120" cy="555840"/>
                </a:xfrm>
                <a:prstGeom prst="rect">
                  <a:avLst/>
                </a:prstGeom>
              </p:spPr>
            </p:pic>
          </mc:Fallback>
        </mc:AlternateContent>
        <mc:AlternateContent xmlns:mc="http://schemas.openxmlformats.org/markup-compatibility/2006" xmlns:p14="http://schemas.microsoft.com/office/powerpoint/2010/main">
          <mc:Choice Requires="p14">
            <p:contentPart p14:bwMode="auto" r:id="rId304">
              <p14:nvContentPartPr>
                <p14:cNvPr id="26" name="Ink 25">
                  <a:extLst>
                    <a:ext uri="{FF2B5EF4-FFF2-40B4-BE49-F238E27FC236}">
                      <a16:creationId xmlns:a16="http://schemas.microsoft.com/office/drawing/2014/main" id="{F6D2850C-7C3F-8F45-1B2F-7D32E4FA6E39}"/>
                    </a:ext>
                  </a:extLst>
                </p14:cNvPr>
                <p14:cNvContentPartPr/>
                <p14:nvPr/>
              </p14:nvContentPartPr>
              <p14:xfrm>
                <a:off x="8734920" y="3279280"/>
                <a:ext cx="39600" cy="625320"/>
              </p14:xfrm>
            </p:contentPart>
          </mc:Choice>
          <mc:Fallback xmlns="">
            <p:pic>
              <p:nvPicPr>
                <p:cNvPr id="26" name="Ink 25">
                  <a:extLst>
                    <a:ext uri="{FF2B5EF4-FFF2-40B4-BE49-F238E27FC236}">
                      <a16:creationId xmlns:a16="http://schemas.microsoft.com/office/drawing/2014/main" id="{F6D2850C-7C3F-8F45-1B2F-7D32E4FA6E39}"/>
                    </a:ext>
                  </a:extLst>
                </p:cNvPr>
                <p:cNvPicPr/>
                <p:nvPr/>
              </p:nvPicPr>
              <p:blipFill>
                <a:blip r:embed="rId305"/>
                <a:stretch>
                  <a:fillRect/>
                </a:stretch>
              </p:blipFill>
              <p:spPr>
                <a:xfrm>
                  <a:off x="8726280" y="3270280"/>
                  <a:ext cx="57240" cy="642960"/>
                </a:xfrm>
                <a:prstGeom prst="rect">
                  <a:avLst/>
                </a:prstGeom>
              </p:spPr>
            </p:pic>
          </mc:Fallback>
        </mc:AlternateContent>
        <mc:AlternateContent xmlns:mc="http://schemas.openxmlformats.org/markup-compatibility/2006" xmlns:p14="http://schemas.microsoft.com/office/powerpoint/2010/main">
          <mc:Choice Requires="p14">
            <p:contentPart p14:bwMode="auto" r:id="rId306">
              <p14:nvContentPartPr>
                <p14:cNvPr id="27" name="Ink 26">
                  <a:extLst>
                    <a:ext uri="{FF2B5EF4-FFF2-40B4-BE49-F238E27FC236}">
                      <a16:creationId xmlns:a16="http://schemas.microsoft.com/office/drawing/2014/main" id="{E2B5AA7F-D5F2-C2F6-6873-1DCFC8DB738E}"/>
                    </a:ext>
                  </a:extLst>
                </p14:cNvPr>
                <p14:cNvContentPartPr/>
                <p14:nvPr/>
              </p14:nvContentPartPr>
              <p14:xfrm>
                <a:off x="8753640" y="3157600"/>
                <a:ext cx="984600" cy="567000"/>
              </p14:xfrm>
            </p:contentPart>
          </mc:Choice>
          <mc:Fallback xmlns="">
            <p:pic>
              <p:nvPicPr>
                <p:cNvPr id="27" name="Ink 26">
                  <a:extLst>
                    <a:ext uri="{FF2B5EF4-FFF2-40B4-BE49-F238E27FC236}">
                      <a16:creationId xmlns:a16="http://schemas.microsoft.com/office/drawing/2014/main" id="{E2B5AA7F-D5F2-C2F6-6873-1DCFC8DB738E}"/>
                    </a:ext>
                  </a:extLst>
                </p:cNvPr>
                <p:cNvPicPr/>
                <p:nvPr/>
              </p:nvPicPr>
              <p:blipFill>
                <a:blip r:embed="rId307"/>
                <a:stretch>
                  <a:fillRect/>
                </a:stretch>
              </p:blipFill>
              <p:spPr>
                <a:xfrm>
                  <a:off x="8744640" y="3148600"/>
                  <a:ext cx="1002240" cy="584640"/>
                </a:xfrm>
                <a:prstGeom prst="rect">
                  <a:avLst/>
                </a:prstGeom>
              </p:spPr>
            </p:pic>
          </mc:Fallback>
        </mc:AlternateContent>
      </p:grpSp>
    </p:spTree>
    <p:extLst>
      <p:ext uri="{BB962C8B-B14F-4D97-AF65-F5344CB8AC3E}">
        <p14:creationId xmlns:p14="http://schemas.microsoft.com/office/powerpoint/2010/main" val="27175474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F15E3A-8312-4AC3-8658-B9C05D402579}"/>
              </a:ext>
            </a:extLst>
          </p:cNvPr>
          <p:cNvGraphicFramePr>
            <a:graphicFrameLocks noChangeAspect="1"/>
          </p:cNvGraphicFramePr>
          <p:nvPr>
            <p:custDataLst>
              <p:tags r:id="rId1"/>
            </p:custDataLst>
            <p:extLst>
              <p:ext uri="{D42A27DB-BD31-4B8C-83A1-F6EECF244321}">
                <p14:modId xmlns:p14="http://schemas.microsoft.com/office/powerpoint/2010/main" val="4016151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44F15E3A-8312-4AC3-8658-B9C05D4025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40882883-0C60-435B-B98E-3344681A347A}"/>
              </a:ext>
            </a:extLst>
          </p:cNvPr>
          <p:cNvSpPr>
            <a:spLocks noGrp="1"/>
          </p:cNvSpPr>
          <p:nvPr>
            <p:ph type="title"/>
          </p:nvPr>
        </p:nvSpPr>
        <p:spPr>
          <a:xfrm>
            <a:off x="147637" y="92147"/>
            <a:ext cx="11896725" cy="615950"/>
          </a:xfrm>
        </p:spPr>
        <p:txBody>
          <a:bodyPr vert="horz">
            <a:normAutofit fontScale="90000"/>
          </a:bodyPr>
          <a:lstStyle/>
          <a:p>
            <a:r>
              <a:rPr lang="en-US" b="1" dirty="0" err="1">
                <a:solidFill>
                  <a:schemeClr val="accent1"/>
                </a:solidFill>
              </a:rPr>
              <a:t>GloVe</a:t>
            </a:r>
            <a:r>
              <a:rPr lang="en-US" b="1" dirty="0">
                <a:solidFill>
                  <a:schemeClr val="accent1"/>
                </a:solidFill>
              </a:rPr>
              <a:t> – </a:t>
            </a:r>
            <a:r>
              <a:rPr lang="en-US" dirty="0">
                <a:solidFill>
                  <a:schemeClr val="accent1"/>
                </a:solidFill>
              </a:rPr>
              <a:t>Towards Cost Function</a:t>
            </a:r>
          </a:p>
        </p:txBody>
      </p:sp>
      <p:pic>
        <p:nvPicPr>
          <p:cNvPr id="13" name="Picture 12">
            <a:extLst>
              <a:ext uri="{FF2B5EF4-FFF2-40B4-BE49-F238E27FC236}">
                <a16:creationId xmlns:a16="http://schemas.microsoft.com/office/drawing/2014/main" id="{E0ADF6E9-13DD-4A63-BB79-3EA370579303}"/>
              </a:ext>
            </a:extLst>
          </p:cNvPr>
          <p:cNvPicPr>
            <a:picLocks noChangeAspect="1"/>
          </p:cNvPicPr>
          <p:nvPr/>
        </p:nvPicPr>
        <p:blipFill>
          <a:blip r:embed="rId5"/>
          <a:stretch>
            <a:fillRect/>
          </a:stretch>
        </p:blipFill>
        <p:spPr>
          <a:xfrm>
            <a:off x="147637" y="708097"/>
            <a:ext cx="11896725" cy="6057756"/>
          </a:xfrm>
          <a:prstGeom prst="rect">
            <a:avLst/>
          </a:prstGeom>
        </p:spPr>
      </p:pic>
      <p:grpSp>
        <p:nvGrpSpPr>
          <p:cNvPr id="4" name="Group 3">
            <a:extLst>
              <a:ext uri="{FF2B5EF4-FFF2-40B4-BE49-F238E27FC236}">
                <a16:creationId xmlns:a16="http://schemas.microsoft.com/office/drawing/2014/main" id="{19620C70-615A-9C9A-92F3-1EC34CE91C82}"/>
              </a:ext>
            </a:extLst>
          </p:cNvPr>
          <p:cNvGrpSpPr/>
          <p:nvPr/>
        </p:nvGrpSpPr>
        <p:grpSpPr>
          <a:xfrm>
            <a:off x="2486027" y="2849440"/>
            <a:ext cx="2323080" cy="1270440"/>
            <a:chOff x="2486027" y="2849440"/>
            <a:chExt cx="2323080" cy="1270440"/>
          </a:xfrm>
        </p:grpSpPr>
        <mc:AlternateContent xmlns:mc="http://schemas.openxmlformats.org/markup-compatibility/2006" xmlns:p14="http://schemas.microsoft.com/office/powerpoint/2010/main" xmlns:aink="http://schemas.microsoft.com/office/drawing/2016/ink">
          <mc:Choice Requires="p14 aink">
            <p:contentPart p14:bwMode="auto" r:id="rId6">
              <p14:nvContentPartPr>
                <p14:cNvPr id="2" name="Ink 1">
                  <a:extLst>
                    <a:ext uri="{FF2B5EF4-FFF2-40B4-BE49-F238E27FC236}">
                      <a16:creationId xmlns:a16="http://schemas.microsoft.com/office/drawing/2014/main" id="{BB88631A-3C33-7EB9-5BA6-07D1AB97D0EC}"/>
                    </a:ext>
                  </a:extLst>
                </p14:cNvPr>
                <p14:cNvContentPartPr/>
                <p14:nvPr/>
              </p14:nvContentPartPr>
              <p14:xfrm>
                <a:off x="3816587" y="2867080"/>
                <a:ext cx="322200" cy="9000"/>
              </p14:xfrm>
            </p:contentPart>
          </mc:Choice>
          <mc:Fallback xmlns="">
            <p:pic>
              <p:nvPicPr>
                <p:cNvPr id="2" name="Ink 1">
                  <a:extLst>
                    <a:ext uri="{FF2B5EF4-FFF2-40B4-BE49-F238E27FC236}">
                      <a16:creationId xmlns:a16="http://schemas.microsoft.com/office/drawing/2014/main" id="{BB88631A-3C33-7EB9-5BA6-07D1AB97D0EC}"/>
                    </a:ext>
                  </a:extLst>
                </p:cNvPr>
                <p:cNvPicPr/>
                <p:nvPr/>
              </p:nvPicPr>
              <p:blipFill>
                <a:blip r:embed="rId7"/>
                <a:stretch>
                  <a:fillRect/>
                </a:stretch>
              </p:blipFill>
              <p:spPr>
                <a:xfrm>
                  <a:off x="3798587" y="2849440"/>
                  <a:ext cx="357840" cy="4464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8">
              <p14:nvContentPartPr>
                <p14:cNvPr id="3" name="Ink 2">
                  <a:extLst>
                    <a:ext uri="{FF2B5EF4-FFF2-40B4-BE49-F238E27FC236}">
                      <a16:creationId xmlns:a16="http://schemas.microsoft.com/office/drawing/2014/main" id="{841ABD1C-DB3E-012E-8B8F-474A0E6FD4C9}"/>
                    </a:ext>
                  </a:extLst>
                </p14:cNvPr>
                <p14:cNvContentPartPr/>
                <p14:nvPr/>
              </p14:nvContentPartPr>
              <p14:xfrm>
                <a:off x="2486027" y="2849440"/>
                <a:ext cx="2323080" cy="1270440"/>
              </p14:xfrm>
            </p:contentPart>
          </mc:Choice>
          <mc:Fallback xmlns="">
            <p:pic>
              <p:nvPicPr>
                <p:cNvPr id="3" name="Ink 2">
                  <a:extLst>
                    <a:ext uri="{FF2B5EF4-FFF2-40B4-BE49-F238E27FC236}">
                      <a16:creationId xmlns:a16="http://schemas.microsoft.com/office/drawing/2014/main" id="{841ABD1C-DB3E-012E-8B8F-474A0E6FD4C9}"/>
                    </a:ext>
                  </a:extLst>
                </p:cNvPr>
                <p:cNvPicPr/>
                <p:nvPr/>
              </p:nvPicPr>
              <p:blipFill>
                <a:blip r:embed="rId9"/>
                <a:stretch>
                  <a:fillRect/>
                </a:stretch>
              </p:blipFill>
              <p:spPr>
                <a:xfrm>
                  <a:off x="2468387" y="2831440"/>
                  <a:ext cx="2358720" cy="1306080"/>
                </a:xfrm>
                <a:prstGeom prst="rect">
                  <a:avLst/>
                </a:prstGeom>
              </p:spPr>
            </p:pic>
          </mc:Fallback>
        </mc:AlternateContent>
      </p:grpSp>
      <p:grpSp>
        <p:nvGrpSpPr>
          <p:cNvPr id="10" name="Group 9">
            <a:extLst>
              <a:ext uri="{FF2B5EF4-FFF2-40B4-BE49-F238E27FC236}">
                <a16:creationId xmlns:a16="http://schemas.microsoft.com/office/drawing/2014/main" id="{F2E9311A-2BBD-4E54-76B9-B2D70041E659}"/>
              </a:ext>
            </a:extLst>
          </p:cNvPr>
          <p:cNvGrpSpPr/>
          <p:nvPr/>
        </p:nvGrpSpPr>
        <p:grpSpPr>
          <a:xfrm>
            <a:off x="6033400" y="3384040"/>
            <a:ext cx="244440" cy="316800"/>
            <a:chOff x="6033400" y="3384040"/>
            <a:chExt cx="244440" cy="316800"/>
          </a:xfrm>
        </p:grpSpPr>
        <mc:AlternateContent xmlns:mc="http://schemas.openxmlformats.org/markup-compatibility/2006" xmlns:p14="http://schemas.microsoft.com/office/powerpoint/2010/main">
          <mc:Choice Requires="p14">
            <p:contentPart p14:bwMode="auto" r:id="rId10">
              <p14:nvContentPartPr>
                <p14:cNvPr id="5" name="Ink 4">
                  <a:extLst>
                    <a:ext uri="{FF2B5EF4-FFF2-40B4-BE49-F238E27FC236}">
                      <a16:creationId xmlns:a16="http://schemas.microsoft.com/office/drawing/2014/main" id="{F6C350AA-B2AD-04E3-F8CC-71EBE79B14D0}"/>
                    </a:ext>
                  </a:extLst>
                </p14:cNvPr>
                <p14:cNvContentPartPr/>
                <p14:nvPr/>
              </p14:nvContentPartPr>
              <p14:xfrm>
                <a:off x="6033400" y="3479800"/>
                <a:ext cx="244440" cy="22680"/>
              </p14:xfrm>
            </p:contentPart>
          </mc:Choice>
          <mc:Fallback xmlns="">
            <p:pic>
              <p:nvPicPr>
                <p:cNvPr id="5" name="Ink 4">
                  <a:extLst>
                    <a:ext uri="{FF2B5EF4-FFF2-40B4-BE49-F238E27FC236}">
                      <a16:creationId xmlns:a16="http://schemas.microsoft.com/office/drawing/2014/main" id="{F6C350AA-B2AD-04E3-F8CC-71EBE79B14D0}"/>
                    </a:ext>
                  </a:extLst>
                </p:cNvPr>
                <p:cNvPicPr/>
                <p:nvPr/>
              </p:nvPicPr>
              <p:blipFill>
                <a:blip r:embed="rId11"/>
                <a:stretch>
                  <a:fillRect/>
                </a:stretch>
              </p:blipFill>
              <p:spPr>
                <a:xfrm>
                  <a:off x="6018280" y="3464320"/>
                  <a:ext cx="275040" cy="5328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7" name="Ink 6">
                  <a:extLst>
                    <a:ext uri="{FF2B5EF4-FFF2-40B4-BE49-F238E27FC236}">
                      <a16:creationId xmlns:a16="http://schemas.microsoft.com/office/drawing/2014/main" id="{6E44188C-5282-96D4-689E-C74FECC60B32}"/>
                    </a:ext>
                  </a:extLst>
                </p14:cNvPr>
                <p14:cNvContentPartPr/>
                <p14:nvPr/>
              </p14:nvContentPartPr>
              <p14:xfrm>
                <a:off x="6128080" y="3442720"/>
                <a:ext cx="91800" cy="258120"/>
              </p14:xfrm>
            </p:contentPart>
          </mc:Choice>
          <mc:Fallback xmlns="">
            <p:pic>
              <p:nvPicPr>
                <p:cNvPr id="7" name="Ink 6">
                  <a:extLst>
                    <a:ext uri="{FF2B5EF4-FFF2-40B4-BE49-F238E27FC236}">
                      <a16:creationId xmlns:a16="http://schemas.microsoft.com/office/drawing/2014/main" id="{6E44188C-5282-96D4-689E-C74FECC60B32}"/>
                    </a:ext>
                  </a:extLst>
                </p:cNvPr>
                <p:cNvPicPr/>
                <p:nvPr/>
              </p:nvPicPr>
              <p:blipFill>
                <a:blip r:embed="rId13"/>
                <a:stretch>
                  <a:fillRect/>
                </a:stretch>
              </p:blipFill>
              <p:spPr>
                <a:xfrm>
                  <a:off x="6112960" y="3427240"/>
                  <a:ext cx="122400" cy="28872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8" name="Ink 7">
                  <a:extLst>
                    <a:ext uri="{FF2B5EF4-FFF2-40B4-BE49-F238E27FC236}">
                      <a16:creationId xmlns:a16="http://schemas.microsoft.com/office/drawing/2014/main" id="{9163DBE4-CA32-EF74-8CC7-3A6AB2C17BF8}"/>
                    </a:ext>
                  </a:extLst>
                </p14:cNvPr>
                <p14:cNvContentPartPr/>
                <p14:nvPr/>
              </p14:nvContentPartPr>
              <p14:xfrm>
                <a:off x="6190720" y="3384040"/>
                <a:ext cx="27360" cy="190800"/>
              </p14:xfrm>
            </p:contentPart>
          </mc:Choice>
          <mc:Fallback xmlns="">
            <p:pic>
              <p:nvPicPr>
                <p:cNvPr id="8" name="Ink 7">
                  <a:extLst>
                    <a:ext uri="{FF2B5EF4-FFF2-40B4-BE49-F238E27FC236}">
                      <a16:creationId xmlns:a16="http://schemas.microsoft.com/office/drawing/2014/main" id="{9163DBE4-CA32-EF74-8CC7-3A6AB2C17BF8}"/>
                    </a:ext>
                  </a:extLst>
                </p:cNvPr>
                <p:cNvPicPr/>
                <p:nvPr/>
              </p:nvPicPr>
              <p:blipFill>
                <a:blip r:embed="rId15"/>
                <a:stretch>
                  <a:fillRect/>
                </a:stretch>
              </p:blipFill>
              <p:spPr>
                <a:xfrm>
                  <a:off x="6175600" y="3368920"/>
                  <a:ext cx="57960" cy="221040"/>
                </a:xfrm>
                <a:prstGeom prst="rect">
                  <a:avLst/>
                </a:prstGeom>
              </p:spPr>
            </p:pic>
          </mc:Fallback>
        </mc:AlternateContent>
      </p:grpSp>
      <p:grpSp>
        <p:nvGrpSpPr>
          <p:cNvPr id="14" name="Group 13">
            <a:extLst>
              <a:ext uri="{FF2B5EF4-FFF2-40B4-BE49-F238E27FC236}">
                <a16:creationId xmlns:a16="http://schemas.microsoft.com/office/drawing/2014/main" id="{D711BEF9-8182-EEDC-22CC-CBF43B73F152}"/>
              </a:ext>
            </a:extLst>
          </p:cNvPr>
          <p:cNvGrpSpPr/>
          <p:nvPr/>
        </p:nvGrpSpPr>
        <p:grpSpPr>
          <a:xfrm>
            <a:off x="6751240" y="3981280"/>
            <a:ext cx="195480" cy="160200"/>
            <a:chOff x="6751240" y="3981280"/>
            <a:chExt cx="195480" cy="160200"/>
          </a:xfrm>
        </p:grpSpPr>
        <mc:AlternateContent xmlns:mc="http://schemas.openxmlformats.org/markup-compatibility/2006" xmlns:p14="http://schemas.microsoft.com/office/powerpoint/2010/main">
          <mc:Choice Requires="p14">
            <p:contentPart p14:bwMode="auto" r:id="rId16">
              <p14:nvContentPartPr>
                <p14:cNvPr id="11" name="Ink 10">
                  <a:extLst>
                    <a:ext uri="{FF2B5EF4-FFF2-40B4-BE49-F238E27FC236}">
                      <a16:creationId xmlns:a16="http://schemas.microsoft.com/office/drawing/2014/main" id="{6D233DFD-D25E-B2D2-D8A8-18E060C3417D}"/>
                    </a:ext>
                  </a:extLst>
                </p14:cNvPr>
                <p14:cNvContentPartPr/>
                <p14:nvPr/>
              </p14:nvContentPartPr>
              <p14:xfrm>
                <a:off x="6751240" y="4000000"/>
                <a:ext cx="195480" cy="35640"/>
              </p14:xfrm>
            </p:contentPart>
          </mc:Choice>
          <mc:Fallback xmlns="">
            <p:pic>
              <p:nvPicPr>
                <p:cNvPr id="11" name="Ink 10">
                  <a:extLst>
                    <a:ext uri="{FF2B5EF4-FFF2-40B4-BE49-F238E27FC236}">
                      <a16:creationId xmlns:a16="http://schemas.microsoft.com/office/drawing/2014/main" id="{6D233DFD-D25E-B2D2-D8A8-18E060C3417D}"/>
                    </a:ext>
                  </a:extLst>
                </p:cNvPr>
                <p:cNvPicPr/>
                <p:nvPr/>
              </p:nvPicPr>
              <p:blipFill>
                <a:blip r:embed="rId17"/>
                <a:stretch>
                  <a:fillRect/>
                </a:stretch>
              </p:blipFill>
              <p:spPr>
                <a:xfrm>
                  <a:off x="6736120" y="3984880"/>
                  <a:ext cx="226080" cy="6588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2" name="Ink 11">
                  <a:extLst>
                    <a:ext uri="{FF2B5EF4-FFF2-40B4-BE49-F238E27FC236}">
                      <a16:creationId xmlns:a16="http://schemas.microsoft.com/office/drawing/2014/main" id="{11EFA303-7EA1-58FB-2293-A440E13D6747}"/>
                    </a:ext>
                  </a:extLst>
                </p14:cNvPr>
                <p14:cNvContentPartPr/>
                <p14:nvPr/>
              </p14:nvContentPartPr>
              <p14:xfrm>
                <a:off x="6798760" y="3981280"/>
                <a:ext cx="134280" cy="160200"/>
              </p14:xfrm>
            </p:contentPart>
          </mc:Choice>
          <mc:Fallback xmlns="">
            <p:pic>
              <p:nvPicPr>
                <p:cNvPr id="12" name="Ink 11">
                  <a:extLst>
                    <a:ext uri="{FF2B5EF4-FFF2-40B4-BE49-F238E27FC236}">
                      <a16:creationId xmlns:a16="http://schemas.microsoft.com/office/drawing/2014/main" id="{11EFA303-7EA1-58FB-2293-A440E13D6747}"/>
                    </a:ext>
                  </a:extLst>
                </p:cNvPr>
                <p:cNvPicPr/>
                <p:nvPr/>
              </p:nvPicPr>
              <p:blipFill>
                <a:blip r:embed="rId19"/>
                <a:stretch>
                  <a:fillRect/>
                </a:stretch>
              </p:blipFill>
              <p:spPr>
                <a:xfrm>
                  <a:off x="6783640" y="3965800"/>
                  <a:ext cx="164880" cy="190440"/>
                </a:xfrm>
                <a:prstGeom prst="rect">
                  <a:avLst/>
                </a:prstGeom>
              </p:spPr>
            </p:pic>
          </mc:Fallback>
        </mc:AlternateContent>
      </p:grpSp>
    </p:spTree>
    <p:extLst>
      <p:ext uri="{BB962C8B-B14F-4D97-AF65-F5344CB8AC3E}">
        <p14:creationId xmlns:p14="http://schemas.microsoft.com/office/powerpoint/2010/main" val="26618795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F6D3A7-C7DE-4401-864C-A3338048D47E}"/>
              </a:ext>
            </a:extLst>
          </p:cNvPr>
          <p:cNvGraphicFramePr>
            <a:graphicFrameLocks noChangeAspect="1"/>
          </p:cNvGraphicFramePr>
          <p:nvPr>
            <p:custDataLst>
              <p:tags r:id="rId1"/>
            </p:custDataLst>
            <p:extLst>
              <p:ext uri="{D42A27DB-BD31-4B8C-83A1-F6EECF244321}">
                <p14:modId xmlns:p14="http://schemas.microsoft.com/office/powerpoint/2010/main" val="95530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01F6D3A7-C7DE-4401-864C-A3338048D4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57153FE8-31BE-4A96-B911-A9D8B3F88B1F}"/>
              </a:ext>
            </a:extLst>
          </p:cNvPr>
          <p:cNvSpPr>
            <a:spLocks noGrp="1"/>
          </p:cNvSpPr>
          <p:nvPr>
            <p:ph type="title"/>
          </p:nvPr>
        </p:nvSpPr>
        <p:spPr>
          <a:xfrm>
            <a:off x="147637" y="92147"/>
            <a:ext cx="11896725" cy="615950"/>
          </a:xfrm>
        </p:spPr>
        <p:txBody>
          <a:bodyPr vert="horz">
            <a:normAutofit fontScale="90000"/>
          </a:bodyPr>
          <a:lstStyle/>
          <a:p>
            <a:r>
              <a:rPr lang="en-US" b="1" dirty="0" err="1">
                <a:solidFill>
                  <a:schemeClr val="accent1"/>
                </a:solidFill>
              </a:rPr>
              <a:t>GloVe</a:t>
            </a:r>
            <a:r>
              <a:rPr lang="en-US" b="1" dirty="0">
                <a:solidFill>
                  <a:schemeClr val="accent1"/>
                </a:solidFill>
              </a:rPr>
              <a:t> – </a:t>
            </a:r>
            <a:r>
              <a:rPr lang="en-US" dirty="0">
                <a:solidFill>
                  <a:schemeClr val="accent1"/>
                </a:solidFill>
              </a:rPr>
              <a:t>Towards Cost Function</a:t>
            </a:r>
          </a:p>
        </p:txBody>
      </p:sp>
      <p:grpSp>
        <p:nvGrpSpPr>
          <p:cNvPr id="9" name="Group 8">
            <a:extLst>
              <a:ext uri="{FF2B5EF4-FFF2-40B4-BE49-F238E27FC236}">
                <a16:creationId xmlns:a16="http://schemas.microsoft.com/office/drawing/2014/main" id="{774972C1-617B-49C0-8EF2-07400743B6A3}"/>
              </a:ext>
            </a:extLst>
          </p:cNvPr>
          <p:cNvGrpSpPr/>
          <p:nvPr/>
        </p:nvGrpSpPr>
        <p:grpSpPr>
          <a:xfrm>
            <a:off x="0" y="708096"/>
            <a:ext cx="12191999" cy="6149903"/>
            <a:chOff x="71919" y="587554"/>
            <a:chExt cx="11972443" cy="6270446"/>
          </a:xfrm>
        </p:grpSpPr>
        <p:pic>
          <p:nvPicPr>
            <p:cNvPr id="7" name="Picture 6">
              <a:extLst>
                <a:ext uri="{FF2B5EF4-FFF2-40B4-BE49-F238E27FC236}">
                  <a16:creationId xmlns:a16="http://schemas.microsoft.com/office/drawing/2014/main" id="{B5F3F80B-F92A-443C-9376-9390E33B699A}"/>
                </a:ext>
              </a:extLst>
            </p:cNvPr>
            <p:cNvPicPr>
              <a:picLocks noChangeAspect="1"/>
            </p:cNvPicPr>
            <p:nvPr/>
          </p:nvPicPr>
          <p:blipFill>
            <a:blip r:embed="rId5"/>
            <a:stretch>
              <a:fillRect/>
            </a:stretch>
          </p:blipFill>
          <p:spPr>
            <a:xfrm>
              <a:off x="71919" y="587554"/>
              <a:ext cx="11972443" cy="6270446"/>
            </a:xfrm>
            <a:prstGeom prst="rect">
              <a:avLst/>
            </a:prstGeom>
          </p:spPr>
        </p:pic>
        <p:sp>
          <p:nvSpPr>
            <p:cNvPr id="8" name="Rectangle 7">
              <a:extLst>
                <a:ext uri="{FF2B5EF4-FFF2-40B4-BE49-F238E27FC236}">
                  <a16:creationId xmlns:a16="http://schemas.microsoft.com/office/drawing/2014/main" id="{F1D8A449-920C-4D66-B2B9-6238E54E8D97}"/>
                </a:ext>
              </a:extLst>
            </p:cNvPr>
            <p:cNvSpPr/>
            <p:nvPr/>
          </p:nvSpPr>
          <p:spPr>
            <a:xfrm>
              <a:off x="11364743" y="6221099"/>
              <a:ext cx="640047" cy="6159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315092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E937F8-6151-4BBC-9414-0A650B5AFD8E}"/>
              </a:ext>
            </a:extLst>
          </p:cNvPr>
          <p:cNvGraphicFramePr>
            <a:graphicFrameLocks noChangeAspect="1"/>
          </p:cNvGraphicFramePr>
          <p:nvPr>
            <p:custDataLst>
              <p:tags r:id="rId1"/>
            </p:custDataLst>
            <p:extLst>
              <p:ext uri="{D42A27DB-BD31-4B8C-83A1-F6EECF244321}">
                <p14:modId xmlns:p14="http://schemas.microsoft.com/office/powerpoint/2010/main" val="2104365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B0E937F8-6151-4BBC-9414-0A650B5AFD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62CBC8C9-C680-4C1B-9F4E-888CDD3E9EB9}"/>
              </a:ext>
            </a:extLst>
          </p:cNvPr>
          <p:cNvSpPr>
            <a:spLocks noGrp="1"/>
          </p:cNvSpPr>
          <p:nvPr>
            <p:ph type="title"/>
          </p:nvPr>
        </p:nvSpPr>
        <p:spPr>
          <a:xfrm>
            <a:off x="147637" y="92147"/>
            <a:ext cx="11896725" cy="615950"/>
          </a:xfrm>
        </p:spPr>
        <p:txBody>
          <a:bodyPr vert="horz">
            <a:normAutofit fontScale="90000"/>
          </a:bodyPr>
          <a:lstStyle/>
          <a:p>
            <a:r>
              <a:rPr lang="en-US" b="1" dirty="0" err="1">
                <a:solidFill>
                  <a:schemeClr val="accent1"/>
                </a:solidFill>
              </a:rPr>
              <a:t>GloVe</a:t>
            </a:r>
            <a:r>
              <a:rPr lang="en-US" b="1" dirty="0">
                <a:solidFill>
                  <a:schemeClr val="accent1"/>
                </a:solidFill>
              </a:rPr>
              <a:t> – </a:t>
            </a:r>
            <a:r>
              <a:rPr lang="en-US" dirty="0">
                <a:solidFill>
                  <a:schemeClr val="accent1"/>
                </a:solidFill>
              </a:rPr>
              <a:t>Towards Cost Function</a:t>
            </a:r>
          </a:p>
        </p:txBody>
      </p:sp>
      <p:pic>
        <p:nvPicPr>
          <p:cNvPr id="12" name="Picture 11">
            <a:extLst>
              <a:ext uri="{FF2B5EF4-FFF2-40B4-BE49-F238E27FC236}">
                <a16:creationId xmlns:a16="http://schemas.microsoft.com/office/drawing/2014/main" id="{F963778D-6A90-45E6-A02B-B1D6BAD238A6}"/>
              </a:ext>
            </a:extLst>
          </p:cNvPr>
          <p:cNvPicPr>
            <a:picLocks noChangeAspect="1"/>
          </p:cNvPicPr>
          <p:nvPr/>
        </p:nvPicPr>
        <p:blipFill>
          <a:blip r:embed="rId5"/>
          <a:stretch>
            <a:fillRect/>
          </a:stretch>
        </p:blipFill>
        <p:spPr>
          <a:xfrm>
            <a:off x="147638" y="785418"/>
            <a:ext cx="11896724" cy="5980435"/>
          </a:xfrm>
          <a:prstGeom prst="rect">
            <a:avLst/>
          </a:prstGeom>
        </p:spPr>
      </p:pic>
    </p:spTree>
    <p:extLst>
      <p:ext uri="{BB962C8B-B14F-4D97-AF65-F5344CB8AC3E}">
        <p14:creationId xmlns:p14="http://schemas.microsoft.com/office/powerpoint/2010/main" val="26630157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164811-2196-4BCF-9C02-93890D66D2AE}"/>
              </a:ext>
            </a:extLst>
          </p:cNvPr>
          <p:cNvGraphicFramePr>
            <a:graphicFrameLocks noChangeAspect="1"/>
          </p:cNvGraphicFramePr>
          <p:nvPr>
            <p:custDataLst>
              <p:tags r:id="rId1"/>
            </p:custDataLst>
            <p:extLst>
              <p:ext uri="{D42A27DB-BD31-4B8C-83A1-F6EECF244321}">
                <p14:modId xmlns:p14="http://schemas.microsoft.com/office/powerpoint/2010/main" val="4156965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00164811-2196-4BCF-9C02-93890D66D2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66ADE1A1-52EF-4570-8520-096CC07D0B49}"/>
              </a:ext>
            </a:extLst>
          </p:cNvPr>
          <p:cNvSpPr>
            <a:spLocks noGrp="1"/>
          </p:cNvSpPr>
          <p:nvPr>
            <p:ph type="title"/>
          </p:nvPr>
        </p:nvSpPr>
        <p:spPr>
          <a:xfrm>
            <a:off x="147637" y="92147"/>
            <a:ext cx="11896725" cy="615950"/>
          </a:xfrm>
        </p:spPr>
        <p:txBody>
          <a:bodyPr vert="horz">
            <a:normAutofit fontScale="90000"/>
          </a:bodyPr>
          <a:lstStyle/>
          <a:p>
            <a:r>
              <a:rPr lang="en-US" b="1" dirty="0" err="1">
                <a:solidFill>
                  <a:schemeClr val="accent1"/>
                </a:solidFill>
              </a:rPr>
              <a:t>GloVe</a:t>
            </a:r>
            <a:r>
              <a:rPr lang="en-US" b="1" dirty="0">
                <a:solidFill>
                  <a:schemeClr val="accent1"/>
                </a:solidFill>
              </a:rPr>
              <a:t> – </a:t>
            </a:r>
            <a:r>
              <a:rPr lang="en-US" dirty="0">
                <a:solidFill>
                  <a:schemeClr val="accent1"/>
                </a:solidFill>
              </a:rPr>
              <a:t>Towards Cost Function Contd…</a:t>
            </a:r>
          </a:p>
        </p:txBody>
      </p:sp>
      <p:grpSp>
        <p:nvGrpSpPr>
          <p:cNvPr id="12" name="Group 11">
            <a:extLst>
              <a:ext uri="{FF2B5EF4-FFF2-40B4-BE49-F238E27FC236}">
                <a16:creationId xmlns:a16="http://schemas.microsoft.com/office/drawing/2014/main" id="{6D8EBD5F-74F0-4ACB-B262-09479676BADF}"/>
              </a:ext>
            </a:extLst>
          </p:cNvPr>
          <p:cNvGrpSpPr/>
          <p:nvPr/>
        </p:nvGrpSpPr>
        <p:grpSpPr>
          <a:xfrm>
            <a:off x="154111" y="914401"/>
            <a:ext cx="12017341" cy="5943600"/>
            <a:chOff x="154111" y="914401"/>
            <a:chExt cx="12017341" cy="5943600"/>
          </a:xfrm>
        </p:grpSpPr>
        <p:pic>
          <p:nvPicPr>
            <p:cNvPr id="8" name="Picture 7">
              <a:extLst>
                <a:ext uri="{FF2B5EF4-FFF2-40B4-BE49-F238E27FC236}">
                  <a16:creationId xmlns:a16="http://schemas.microsoft.com/office/drawing/2014/main" id="{6F6F375C-DC1D-4D4F-8DB2-6EC15C9EF983}"/>
                </a:ext>
              </a:extLst>
            </p:cNvPr>
            <p:cNvPicPr>
              <a:picLocks noChangeAspect="1"/>
            </p:cNvPicPr>
            <p:nvPr/>
          </p:nvPicPr>
          <p:blipFill>
            <a:blip r:embed="rId5"/>
            <a:stretch>
              <a:fillRect/>
            </a:stretch>
          </p:blipFill>
          <p:spPr>
            <a:xfrm>
              <a:off x="154111" y="914401"/>
              <a:ext cx="11897475" cy="5943600"/>
            </a:xfrm>
            <a:prstGeom prst="rect">
              <a:avLst/>
            </a:prstGeom>
          </p:spPr>
        </p:pic>
        <p:sp>
          <p:nvSpPr>
            <p:cNvPr id="11" name="Rectangle 10">
              <a:extLst>
                <a:ext uri="{FF2B5EF4-FFF2-40B4-BE49-F238E27FC236}">
                  <a16:creationId xmlns:a16="http://schemas.microsoft.com/office/drawing/2014/main" id="{EDE2CF65-C9F2-471F-B5C3-3E4EFA529AA4}"/>
                </a:ext>
              </a:extLst>
            </p:cNvPr>
            <p:cNvSpPr/>
            <p:nvPr/>
          </p:nvSpPr>
          <p:spPr>
            <a:xfrm>
              <a:off x="11455686" y="6185042"/>
              <a:ext cx="715766" cy="6116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567074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A61480-B387-42CE-99A6-D2320B7E49F9}"/>
              </a:ext>
            </a:extLst>
          </p:cNvPr>
          <p:cNvGraphicFramePr>
            <a:graphicFrameLocks noChangeAspect="1"/>
          </p:cNvGraphicFramePr>
          <p:nvPr>
            <p:custDataLst>
              <p:tags r:id="rId1"/>
            </p:custDataLst>
            <p:extLst>
              <p:ext uri="{D42A27DB-BD31-4B8C-83A1-F6EECF244321}">
                <p14:modId xmlns:p14="http://schemas.microsoft.com/office/powerpoint/2010/main" val="1141540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8FA61480-B387-42CE-99A6-D2320B7E49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4BFDAFAC-8FB3-41BF-BB5E-543143EE088B}"/>
              </a:ext>
            </a:extLst>
          </p:cNvPr>
          <p:cNvSpPr>
            <a:spLocks noGrp="1"/>
          </p:cNvSpPr>
          <p:nvPr>
            <p:ph type="title"/>
          </p:nvPr>
        </p:nvSpPr>
        <p:spPr>
          <a:xfrm>
            <a:off x="147637" y="92147"/>
            <a:ext cx="11896725" cy="615950"/>
          </a:xfrm>
        </p:spPr>
        <p:txBody>
          <a:bodyPr vert="horz">
            <a:normAutofit fontScale="90000"/>
          </a:bodyPr>
          <a:lstStyle/>
          <a:p>
            <a:r>
              <a:rPr lang="en-US" b="1" dirty="0" err="1">
                <a:solidFill>
                  <a:schemeClr val="accent1"/>
                </a:solidFill>
              </a:rPr>
              <a:t>GloVe</a:t>
            </a:r>
            <a:r>
              <a:rPr lang="en-US" b="1" dirty="0">
                <a:solidFill>
                  <a:schemeClr val="accent1"/>
                </a:solidFill>
              </a:rPr>
              <a:t> – </a:t>
            </a:r>
            <a:r>
              <a:rPr lang="en-US" dirty="0">
                <a:solidFill>
                  <a:schemeClr val="accent1"/>
                </a:solidFill>
              </a:rPr>
              <a:t>Towards Cost Function Contd…</a:t>
            </a:r>
          </a:p>
        </p:txBody>
      </p:sp>
      <p:grpSp>
        <p:nvGrpSpPr>
          <p:cNvPr id="11" name="Group 10">
            <a:extLst>
              <a:ext uri="{FF2B5EF4-FFF2-40B4-BE49-F238E27FC236}">
                <a16:creationId xmlns:a16="http://schemas.microsoft.com/office/drawing/2014/main" id="{843E2F6E-6850-49E0-A1F5-061EFCE3C8BA}"/>
              </a:ext>
            </a:extLst>
          </p:cNvPr>
          <p:cNvGrpSpPr/>
          <p:nvPr/>
        </p:nvGrpSpPr>
        <p:grpSpPr>
          <a:xfrm>
            <a:off x="200614" y="1005530"/>
            <a:ext cx="11984161" cy="5725636"/>
            <a:chOff x="200614" y="1005530"/>
            <a:chExt cx="11984161" cy="5725636"/>
          </a:xfrm>
        </p:grpSpPr>
        <p:pic>
          <p:nvPicPr>
            <p:cNvPr id="8" name="Picture 7">
              <a:extLst>
                <a:ext uri="{FF2B5EF4-FFF2-40B4-BE49-F238E27FC236}">
                  <a16:creationId xmlns:a16="http://schemas.microsoft.com/office/drawing/2014/main" id="{7879A7C6-92B2-4E67-B46B-D5D09203E8AD}"/>
                </a:ext>
              </a:extLst>
            </p:cNvPr>
            <p:cNvPicPr>
              <a:picLocks noChangeAspect="1"/>
            </p:cNvPicPr>
            <p:nvPr/>
          </p:nvPicPr>
          <p:blipFill>
            <a:blip r:embed="rId5"/>
            <a:stretch>
              <a:fillRect/>
            </a:stretch>
          </p:blipFill>
          <p:spPr>
            <a:xfrm>
              <a:off x="200614" y="1005530"/>
              <a:ext cx="11799602" cy="5725636"/>
            </a:xfrm>
            <a:prstGeom prst="rect">
              <a:avLst/>
            </a:prstGeom>
          </p:spPr>
        </p:pic>
        <p:sp>
          <p:nvSpPr>
            <p:cNvPr id="10" name="Rectangle 9">
              <a:extLst>
                <a:ext uri="{FF2B5EF4-FFF2-40B4-BE49-F238E27FC236}">
                  <a16:creationId xmlns:a16="http://schemas.microsoft.com/office/drawing/2014/main" id="{C9C71BE1-C7BB-4A9A-822D-FD60534B6F53}"/>
                </a:ext>
              </a:extLst>
            </p:cNvPr>
            <p:cNvSpPr/>
            <p:nvPr/>
          </p:nvSpPr>
          <p:spPr>
            <a:xfrm>
              <a:off x="11469009" y="6119533"/>
              <a:ext cx="715766" cy="6116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114635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F5E603-548B-4576-BBB6-A50532C3D243}"/>
              </a:ext>
            </a:extLst>
          </p:cNvPr>
          <p:cNvGraphicFramePr>
            <a:graphicFrameLocks noChangeAspect="1"/>
          </p:cNvGraphicFramePr>
          <p:nvPr>
            <p:custDataLst>
              <p:tags r:id="rId1"/>
            </p:custDataLst>
            <p:extLst>
              <p:ext uri="{D42A27DB-BD31-4B8C-83A1-F6EECF244321}">
                <p14:modId xmlns:p14="http://schemas.microsoft.com/office/powerpoint/2010/main" val="3567758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D9F5E603-548B-4576-BBB6-A50532C3D2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47637" y="92147"/>
            <a:ext cx="11896725" cy="615950"/>
          </a:xfrm>
        </p:spPr>
        <p:txBody>
          <a:bodyPr vert="horz">
            <a:normAutofit fontScale="90000"/>
          </a:bodyPr>
          <a:lstStyle/>
          <a:p>
            <a:r>
              <a:rPr lang="en-US" b="1" dirty="0">
                <a:solidFill>
                  <a:schemeClr val="accent1"/>
                </a:solidFill>
              </a:rPr>
              <a:t>Word Embeddings – </a:t>
            </a:r>
            <a:r>
              <a:rPr lang="en-US" dirty="0">
                <a:solidFill>
                  <a:schemeClr val="accent1"/>
                </a:solidFill>
              </a:rPr>
              <a:t>Feature representation of words</a:t>
            </a:r>
          </a:p>
        </p:txBody>
      </p:sp>
      <p:sp>
        <p:nvSpPr>
          <p:cNvPr id="18" name="TextBox 17">
            <a:extLst>
              <a:ext uri="{FF2B5EF4-FFF2-40B4-BE49-F238E27FC236}">
                <a16:creationId xmlns:a16="http://schemas.microsoft.com/office/drawing/2014/main" id="{4425FF8B-756D-49D7-87E3-5408603CACE1}"/>
              </a:ext>
            </a:extLst>
          </p:cNvPr>
          <p:cNvSpPr txBox="1"/>
          <p:nvPr/>
        </p:nvSpPr>
        <p:spPr>
          <a:xfrm>
            <a:off x="323850" y="5416977"/>
            <a:ext cx="11720512" cy="1323439"/>
          </a:xfrm>
          <a:prstGeom prst="rect">
            <a:avLst/>
          </a:prstGeom>
          <a:noFill/>
        </p:spPr>
        <p:txBody>
          <a:bodyPr wrap="square">
            <a:spAutoFit/>
          </a:bodyPr>
          <a:lstStyle/>
          <a:p>
            <a:pPr marL="457200" indent="-457200" algn="l">
              <a:buClr>
                <a:srgbClr val="3A6008"/>
              </a:buClr>
              <a:buFont typeface="+mj-lt"/>
              <a:buAutoNum type="arabicPeriod"/>
            </a:pPr>
            <a:r>
              <a:rPr lang="en-US" altLang="en-US" sz="2000" dirty="0"/>
              <a:t>Man is a 300-dimensional vector in the input feature space</a:t>
            </a:r>
          </a:p>
          <a:p>
            <a:pPr marL="457200" indent="-457200" algn="l">
              <a:buClr>
                <a:srgbClr val="3A6008"/>
              </a:buClr>
              <a:buFont typeface="+mj-lt"/>
              <a:buAutoNum type="arabicPeriod"/>
            </a:pPr>
            <a:r>
              <a:rPr lang="en-US" altLang="en-US" sz="2000" dirty="0"/>
              <a:t>Now, Apple and orange looks similar, Cosine Similarity or Euclidean distance is also close. This helps algorithms to generalize better</a:t>
            </a:r>
          </a:p>
          <a:p>
            <a:pPr marL="457200" indent="-457200" algn="l">
              <a:buClr>
                <a:srgbClr val="3A6008"/>
              </a:buClr>
              <a:buFont typeface="+mj-lt"/>
              <a:buAutoNum type="arabicPeriod"/>
            </a:pPr>
            <a:r>
              <a:rPr lang="en-US" altLang="en-US" sz="2000" dirty="0"/>
              <a:t>But interpretation of each of the features or vectors here is not easy but in relative sense they are</a:t>
            </a:r>
          </a:p>
        </p:txBody>
      </p:sp>
      <p:pic>
        <p:nvPicPr>
          <p:cNvPr id="13" name="Picture 12">
            <a:extLst>
              <a:ext uri="{FF2B5EF4-FFF2-40B4-BE49-F238E27FC236}">
                <a16:creationId xmlns:a16="http://schemas.microsoft.com/office/drawing/2014/main" id="{06DE953C-A3BC-4BEA-94CA-51F55236EC13}"/>
              </a:ext>
            </a:extLst>
          </p:cNvPr>
          <p:cNvPicPr>
            <a:picLocks noChangeAspect="1"/>
          </p:cNvPicPr>
          <p:nvPr/>
        </p:nvPicPr>
        <p:blipFill>
          <a:blip r:embed="rId6"/>
          <a:stretch>
            <a:fillRect/>
          </a:stretch>
        </p:blipFill>
        <p:spPr>
          <a:xfrm>
            <a:off x="1925948" y="708098"/>
            <a:ext cx="8340104" cy="4708879"/>
          </a:xfrm>
          <a:prstGeom prst="rect">
            <a:avLst/>
          </a:prstGeom>
        </p:spPr>
      </p:pic>
      <mc:AlternateContent xmlns:mc="http://schemas.openxmlformats.org/markup-compatibility/2006" xmlns:p14="http://schemas.microsoft.com/office/powerpoint/2010/main">
        <mc:Choice Requires="p14">
          <p:contentPart p14:bwMode="auto" r:id="rId7">
            <p14:nvContentPartPr>
              <p14:cNvPr id="3" name="Ink 2">
                <a:extLst>
                  <a:ext uri="{FF2B5EF4-FFF2-40B4-BE49-F238E27FC236}">
                    <a16:creationId xmlns:a16="http://schemas.microsoft.com/office/drawing/2014/main" id="{57EC5420-67E8-4384-A702-2E9E6CC6B85B}"/>
                  </a:ext>
                </a:extLst>
              </p14:cNvPr>
              <p14:cNvContentPartPr/>
              <p14:nvPr/>
            </p14:nvContentPartPr>
            <p14:xfrm>
              <a:off x="0" y="777240"/>
              <a:ext cx="8812440" cy="5896440"/>
            </p14:xfrm>
          </p:contentPart>
        </mc:Choice>
        <mc:Fallback xmlns="">
          <p:pic>
            <p:nvPicPr>
              <p:cNvPr id="3" name="Ink 2">
                <a:extLst>
                  <a:ext uri="{FF2B5EF4-FFF2-40B4-BE49-F238E27FC236}">
                    <a16:creationId xmlns:a16="http://schemas.microsoft.com/office/drawing/2014/main" id="{57EC5420-67E8-4384-A702-2E9E6CC6B85B}"/>
                  </a:ext>
                </a:extLst>
              </p:cNvPr>
              <p:cNvPicPr/>
              <p:nvPr/>
            </p:nvPicPr>
            <p:blipFill>
              <a:blip r:embed="rId8"/>
              <a:stretch>
                <a:fillRect/>
              </a:stretch>
            </p:blipFill>
            <p:spPr>
              <a:xfrm>
                <a:off x="-9360" y="767880"/>
                <a:ext cx="8831160" cy="591516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31" name="Ink 130">
                <a:extLst>
                  <a:ext uri="{FF2B5EF4-FFF2-40B4-BE49-F238E27FC236}">
                    <a16:creationId xmlns:a16="http://schemas.microsoft.com/office/drawing/2014/main" id="{0A4A5BB5-A668-67DE-F179-491D6F4670BE}"/>
                  </a:ext>
                </a:extLst>
              </p14:cNvPr>
              <p14:cNvContentPartPr/>
              <p14:nvPr/>
            </p14:nvContentPartPr>
            <p14:xfrm>
              <a:off x="4474520" y="6652840"/>
              <a:ext cx="1746360" cy="128520"/>
            </p14:xfrm>
          </p:contentPart>
        </mc:Choice>
        <mc:Fallback xmlns="">
          <p:pic>
            <p:nvPicPr>
              <p:cNvPr id="131" name="Ink 130">
                <a:extLst>
                  <a:ext uri="{FF2B5EF4-FFF2-40B4-BE49-F238E27FC236}">
                    <a16:creationId xmlns:a16="http://schemas.microsoft.com/office/drawing/2014/main" id="{0A4A5BB5-A668-67DE-F179-491D6F4670BE}"/>
                  </a:ext>
                </a:extLst>
              </p:cNvPr>
              <p:cNvPicPr/>
              <p:nvPr/>
            </p:nvPicPr>
            <p:blipFill>
              <a:blip r:embed="rId162"/>
              <a:stretch>
                <a:fillRect/>
              </a:stretch>
            </p:blipFill>
            <p:spPr>
              <a:xfrm>
                <a:off x="4459400" y="6637720"/>
                <a:ext cx="1776960" cy="158760"/>
              </a:xfrm>
              <a:prstGeom prst="rect">
                <a:avLst/>
              </a:prstGeom>
            </p:spPr>
          </p:pic>
        </mc:Fallback>
      </mc:AlternateContent>
      <mc:AlternateContent xmlns:mc="http://schemas.openxmlformats.org/markup-compatibility/2006" xmlns:p14="http://schemas.microsoft.com/office/powerpoint/2010/main">
        <mc:Choice Requires="p14">
          <p:contentPart p14:bwMode="auto" r:id="rId163">
            <p14:nvContentPartPr>
              <p14:cNvPr id="132" name="Ink 131">
                <a:extLst>
                  <a:ext uri="{FF2B5EF4-FFF2-40B4-BE49-F238E27FC236}">
                    <a16:creationId xmlns:a16="http://schemas.microsoft.com/office/drawing/2014/main" id="{2FD6F388-2761-2B16-79FB-9E60886C88C4}"/>
                  </a:ext>
                </a:extLst>
              </p14:cNvPr>
              <p14:cNvContentPartPr/>
              <p14:nvPr/>
            </p14:nvContentPartPr>
            <p14:xfrm>
              <a:off x="8002520" y="6772720"/>
              <a:ext cx="242280" cy="8280"/>
            </p14:xfrm>
          </p:contentPart>
        </mc:Choice>
        <mc:Fallback xmlns="">
          <p:pic>
            <p:nvPicPr>
              <p:cNvPr id="132" name="Ink 131">
                <a:extLst>
                  <a:ext uri="{FF2B5EF4-FFF2-40B4-BE49-F238E27FC236}">
                    <a16:creationId xmlns:a16="http://schemas.microsoft.com/office/drawing/2014/main" id="{2FD6F388-2761-2B16-79FB-9E60886C88C4}"/>
                  </a:ext>
                </a:extLst>
              </p:cNvPr>
              <p:cNvPicPr/>
              <p:nvPr/>
            </p:nvPicPr>
            <p:blipFill>
              <a:blip r:embed="rId164"/>
              <a:stretch>
                <a:fillRect/>
              </a:stretch>
            </p:blipFill>
            <p:spPr>
              <a:xfrm>
                <a:off x="7987400" y="6757600"/>
                <a:ext cx="272880" cy="38880"/>
              </a:xfrm>
              <a:prstGeom prst="rect">
                <a:avLst/>
              </a:prstGeom>
            </p:spPr>
          </p:pic>
        </mc:Fallback>
      </mc:AlternateContent>
      <p:grpSp>
        <p:nvGrpSpPr>
          <p:cNvPr id="117" name="Group 116">
            <a:extLst>
              <a:ext uri="{FF2B5EF4-FFF2-40B4-BE49-F238E27FC236}">
                <a16:creationId xmlns:a16="http://schemas.microsoft.com/office/drawing/2014/main" id="{C245BC95-9676-6DB1-0670-4DFE0DE7DEFA}"/>
              </a:ext>
            </a:extLst>
          </p:cNvPr>
          <p:cNvGrpSpPr/>
          <p:nvPr/>
        </p:nvGrpSpPr>
        <p:grpSpPr>
          <a:xfrm>
            <a:off x="223080" y="1222773"/>
            <a:ext cx="1312560" cy="235080"/>
            <a:chOff x="223080" y="1222773"/>
            <a:chExt cx="1312560" cy="235080"/>
          </a:xfrm>
        </p:grpSpPr>
        <mc:AlternateContent xmlns:mc="http://schemas.openxmlformats.org/markup-compatibility/2006" xmlns:p14="http://schemas.microsoft.com/office/powerpoint/2010/main">
          <mc:Choice Requires="p14">
            <p:contentPart p14:bwMode="auto" r:id="rId165">
              <p14:nvContentPartPr>
                <p14:cNvPr id="20" name="Ink 19">
                  <a:extLst>
                    <a:ext uri="{FF2B5EF4-FFF2-40B4-BE49-F238E27FC236}">
                      <a16:creationId xmlns:a16="http://schemas.microsoft.com/office/drawing/2014/main" id="{17FA8814-BBDB-6721-42FE-C021216CCB70}"/>
                    </a:ext>
                  </a:extLst>
                </p14:cNvPr>
                <p14:cNvContentPartPr/>
                <p14:nvPr/>
              </p14:nvContentPartPr>
              <p14:xfrm>
                <a:off x="223080" y="1222773"/>
                <a:ext cx="149400" cy="235080"/>
              </p14:xfrm>
            </p:contentPart>
          </mc:Choice>
          <mc:Fallback xmlns="">
            <p:pic>
              <p:nvPicPr>
                <p:cNvPr id="20" name="Ink 19">
                  <a:extLst>
                    <a:ext uri="{FF2B5EF4-FFF2-40B4-BE49-F238E27FC236}">
                      <a16:creationId xmlns:a16="http://schemas.microsoft.com/office/drawing/2014/main" id="{17FA8814-BBDB-6721-42FE-C021216CCB70}"/>
                    </a:ext>
                  </a:extLst>
                </p:cNvPr>
                <p:cNvPicPr/>
                <p:nvPr/>
              </p:nvPicPr>
              <p:blipFill>
                <a:blip r:embed="rId166"/>
                <a:stretch>
                  <a:fillRect/>
                </a:stretch>
              </p:blipFill>
              <p:spPr>
                <a:xfrm>
                  <a:off x="207960" y="1207653"/>
                  <a:ext cx="179640" cy="265680"/>
                </a:xfrm>
                <a:prstGeom prst="rect">
                  <a:avLst/>
                </a:prstGeom>
              </p:spPr>
            </p:pic>
          </mc:Fallback>
        </mc:AlternateContent>
        <mc:AlternateContent xmlns:mc="http://schemas.openxmlformats.org/markup-compatibility/2006" xmlns:p14="http://schemas.microsoft.com/office/powerpoint/2010/main">
          <mc:Choice Requires="p14">
            <p:contentPart p14:bwMode="auto" r:id="rId167">
              <p14:nvContentPartPr>
                <p14:cNvPr id="71" name="Ink 70">
                  <a:extLst>
                    <a:ext uri="{FF2B5EF4-FFF2-40B4-BE49-F238E27FC236}">
                      <a16:creationId xmlns:a16="http://schemas.microsoft.com/office/drawing/2014/main" id="{98E58702-0CC8-9684-0F5F-954CBC9EEA2B}"/>
                    </a:ext>
                  </a:extLst>
                </p14:cNvPr>
                <p14:cNvContentPartPr/>
                <p14:nvPr/>
              </p14:nvContentPartPr>
              <p14:xfrm>
                <a:off x="433680" y="1259853"/>
                <a:ext cx="86400" cy="124560"/>
              </p14:xfrm>
            </p:contentPart>
          </mc:Choice>
          <mc:Fallback xmlns="">
            <p:pic>
              <p:nvPicPr>
                <p:cNvPr id="71" name="Ink 70">
                  <a:extLst>
                    <a:ext uri="{FF2B5EF4-FFF2-40B4-BE49-F238E27FC236}">
                      <a16:creationId xmlns:a16="http://schemas.microsoft.com/office/drawing/2014/main" id="{98E58702-0CC8-9684-0F5F-954CBC9EEA2B}"/>
                    </a:ext>
                  </a:extLst>
                </p:cNvPr>
                <p:cNvPicPr/>
                <p:nvPr/>
              </p:nvPicPr>
              <p:blipFill>
                <a:blip r:embed="rId168"/>
                <a:stretch>
                  <a:fillRect/>
                </a:stretch>
              </p:blipFill>
              <p:spPr>
                <a:xfrm>
                  <a:off x="418200" y="1244733"/>
                  <a:ext cx="117000" cy="154800"/>
                </a:xfrm>
                <a:prstGeom prst="rect">
                  <a:avLst/>
                </a:prstGeom>
              </p:spPr>
            </p:pic>
          </mc:Fallback>
        </mc:AlternateContent>
        <mc:AlternateContent xmlns:mc="http://schemas.openxmlformats.org/markup-compatibility/2006" xmlns:p14="http://schemas.microsoft.com/office/powerpoint/2010/main">
          <mc:Choice Requires="p14">
            <p:contentPart p14:bwMode="auto" r:id="rId169">
              <p14:nvContentPartPr>
                <p14:cNvPr id="76" name="Ink 75">
                  <a:extLst>
                    <a:ext uri="{FF2B5EF4-FFF2-40B4-BE49-F238E27FC236}">
                      <a16:creationId xmlns:a16="http://schemas.microsoft.com/office/drawing/2014/main" id="{6D9FEE70-40A0-11BB-5B46-EEBA7D82E692}"/>
                    </a:ext>
                  </a:extLst>
                </p14:cNvPr>
                <p14:cNvContentPartPr/>
                <p14:nvPr/>
              </p14:nvContentPartPr>
              <p14:xfrm>
                <a:off x="567600" y="1265973"/>
                <a:ext cx="118080" cy="167760"/>
              </p14:xfrm>
            </p:contentPart>
          </mc:Choice>
          <mc:Fallback xmlns="">
            <p:pic>
              <p:nvPicPr>
                <p:cNvPr id="76" name="Ink 75">
                  <a:extLst>
                    <a:ext uri="{FF2B5EF4-FFF2-40B4-BE49-F238E27FC236}">
                      <a16:creationId xmlns:a16="http://schemas.microsoft.com/office/drawing/2014/main" id="{6D9FEE70-40A0-11BB-5B46-EEBA7D82E692}"/>
                    </a:ext>
                  </a:extLst>
                </p:cNvPr>
                <p:cNvPicPr/>
                <p:nvPr/>
              </p:nvPicPr>
              <p:blipFill>
                <a:blip r:embed="rId170"/>
                <a:stretch>
                  <a:fillRect/>
                </a:stretch>
              </p:blipFill>
              <p:spPr>
                <a:xfrm>
                  <a:off x="552480" y="1250853"/>
                  <a:ext cx="148680" cy="198000"/>
                </a:xfrm>
                <a:prstGeom prst="rect">
                  <a:avLst/>
                </a:prstGeom>
              </p:spPr>
            </p:pic>
          </mc:Fallback>
        </mc:AlternateContent>
        <mc:AlternateContent xmlns:mc="http://schemas.openxmlformats.org/markup-compatibility/2006" xmlns:p14="http://schemas.microsoft.com/office/powerpoint/2010/main">
          <mc:Choice Requires="p14">
            <p:contentPart p14:bwMode="auto" r:id="rId171">
              <p14:nvContentPartPr>
                <p14:cNvPr id="81" name="Ink 80">
                  <a:extLst>
                    <a:ext uri="{FF2B5EF4-FFF2-40B4-BE49-F238E27FC236}">
                      <a16:creationId xmlns:a16="http://schemas.microsoft.com/office/drawing/2014/main" id="{62C56910-9FC8-1577-D880-7CB8ECF1E155}"/>
                    </a:ext>
                  </a:extLst>
                </p14:cNvPr>
                <p14:cNvContentPartPr/>
                <p14:nvPr/>
              </p14:nvContentPartPr>
              <p14:xfrm>
                <a:off x="739320" y="1278933"/>
                <a:ext cx="112320" cy="54000"/>
              </p14:xfrm>
            </p:contentPart>
          </mc:Choice>
          <mc:Fallback xmlns="">
            <p:pic>
              <p:nvPicPr>
                <p:cNvPr id="81" name="Ink 80">
                  <a:extLst>
                    <a:ext uri="{FF2B5EF4-FFF2-40B4-BE49-F238E27FC236}">
                      <a16:creationId xmlns:a16="http://schemas.microsoft.com/office/drawing/2014/main" id="{62C56910-9FC8-1577-D880-7CB8ECF1E155}"/>
                    </a:ext>
                  </a:extLst>
                </p:cNvPr>
                <p:cNvPicPr/>
                <p:nvPr/>
              </p:nvPicPr>
              <p:blipFill>
                <a:blip r:embed="rId172"/>
                <a:stretch>
                  <a:fillRect/>
                </a:stretch>
              </p:blipFill>
              <p:spPr>
                <a:xfrm>
                  <a:off x="724200" y="1263453"/>
                  <a:ext cx="142920" cy="84240"/>
                </a:xfrm>
                <a:prstGeom prst="rect">
                  <a:avLst/>
                </a:prstGeom>
              </p:spPr>
            </p:pic>
          </mc:Fallback>
        </mc:AlternateContent>
        <mc:AlternateContent xmlns:mc="http://schemas.openxmlformats.org/markup-compatibility/2006" xmlns:p14="http://schemas.microsoft.com/office/powerpoint/2010/main">
          <mc:Choice Requires="p14">
            <p:contentPart p14:bwMode="auto" r:id="rId173">
              <p14:nvContentPartPr>
                <p14:cNvPr id="83" name="Ink 82">
                  <a:extLst>
                    <a:ext uri="{FF2B5EF4-FFF2-40B4-BE49-F238E27FC236}">
                      <a16:creationId xmlns:a16="http://schemas.microsoft.com/office/drawing/2014/main" id="{67EBF58E-8999-6E9A-2411-C3C9D66EF1C8}"/>
                    </a:ext>
                  </a:extLst>
                </p14:cNvPr>
                <p14:cNvContentPartPr/>
                <p14:nvPr/>
              </p14:nvContentPartPr>
              <p14:xfrm>
                <a:off x="805200" y="1337253"/>
                <a:ext cx="66960" cy="10080"/>
              </p14:xfrm>
            </p:contentPart>
          </mc:Choice>
          <mc:Fallback xmlns="">
            <p:pic>
              <p:nvPicPr>
                <p:cNvPr id="83" name="Ink 82">
                  <a:extLst>
                    <a:ext uri="{FF2B5EF4-FFF2-40B4-BE49-F238E27FC236}">
                      <a16:creationId xmlns:a16="http://schemas.microsoft.com/office/drawing/2014/main" id="{67EBF58E-8999-6E9A-2411-C3C9D66EF1C8}"/>
                    </a:ext>
                  </a:extLst>
                </p:cNvPr>
                <p:cNvPicPr/>
                <p:nvPr/>
              </p:nvPicPr>
              <p:blipFill>
                <a:blip r:embed="rId174"/>
                <a:stretch>
                  <a:fillRect/>
                </a:stretch>
              </p:blipFill>
              <p:spPr>
                <a:xfrm>
                  <a:off x="789720" y="1322133"/>
                  <a:ext cx="97560" cy="40320"/>
                </a:xfrm>
                <a:prstGeom prst="rect">
                  <a:avLst/>
                </a:prstGeom>
              </p:spPr>
            </p:pic>
          </mc:Fallback>
        </mc:AlternateContent>
        <mc:AlternateContent xmlns:mc="http://schemas.openxmlformats.org/markup-compatibility/2006" xmlns:p14="http://schemas.microsoft.com/office/powerpoint/2010/main">
          <mc:Choice Requires="p14">
            <p:contentPart p14:bwMode="auto" r:id="rId175">
              <p14:nvContentPartPr>
                <p14:cNvPr id="91" name="Ink 90">
                  <a:extLst>
                    <a:ext uri="{FF2B5EF4-FFF2-40B4-BE49-F238E27FC236}">
                      <a16:creationId xmlns:a16="http://schemas.microsoft.com/office/drawing/2014/main" id="{63217F07-AF18-F151-32ED-031C7472994B}"/>
                    </a:ext>
                  </a:extLst>
                </p14:cNvPr>
                <p14:cNvContentPartPr/>
                <p14:nvPr/>
              </p14:nvContentPartPr>
              <p14:xfrm>
                <a:off x="945960" y="1275333"/>
                <a:ext cx="11160" cy="181080"/>
              </p14:xfrm>
            </p:contentPart>
          </mc:Choice>
          <mc:Fallback xmlns="">
            <p:pic>
              <p:nvPicPr>
                <p:cNvPr id="91" name="Ink 90">
                  <a:extLst>
                    <a:ext uri="{FF2B5EF4-FFF2-40B4-BE49-F238E27FC236}">
                      <a16:creationId xmlns:a16="http://schemas.microsoft.com/office/drawing/2014/main" id="{63217F07-AF18-F151-32ED-031C7472994B}"/>
                    </a:ext>
                  </a:extLst>
                </p:cNvPr>
                <p:cNvPicPr/>
                <p:nvPr/>
              </p:nvPicPr>
              <p:blipFill>
                <a:blip r:embed="rId176"/>
                <a:stretch>
                  <a:fillRect/>
                </a:stretch>
              </p:blipFill>
              <p:spPr>
                <a:xfrm>
                  <a:off x="930480" y="1259853"/>
                  <a:ext cx="41760" cy="211680"/>
                </a:xfrm>
                <a:prstGeom prst="rect">
                  <a:avLst/>
                </a:prstGeom>
              </p:spPr>
            </p:pic>
          </mc:Fallback>
        </mc:AlternateContent>
        <mc:AlternateContent xmlns:mc="http://schemas.openxmlformats.org/markup-compatibility/2006" xmlns:p14="http://schemas.microsoft.com/office/powerpoint/2010/main">
          <mc:Choice Requires="p14">
            <p:contentPart p14:bwMode="auto" r:id="rId177">
              <p14:nvContentPartPr>
                <p14:cNvPr id="98" name="Ink 97">
                  <a:extLst>
                    <a:ext uri="{FF2B5EF4-FFF2-40B4-BE49-F238E27FC236}">
                      <a16:creationId xmlns:a16="http://schemas.microsoft.com/office/drawing/2014/main" id="{EF928F1E-578D-7FAC-528A-0289C3A0A242}"/>
                    </a:ext>
                  </a:extLst>
                </p14:cNvPr>
                <p14:cNvContentPartPr/>
                <p14:nvPr/>
              </p14:nvContentPartPr>
              <p14:xfrm>
                <a:off x="1038840" y="1318173"/>
                <a:ext cx="63000" cy="110880"/>
              </p14:xfrm>
            </p:contentPart>
          </mc:Choice>
          <mc:Fallback xmlns="">
            <p:pic>
              <p:nvPicPr>
                <p:cNvPr id="98" name="Ink 97">
                  <a:extLst>
                    <a:ext uri="{FF2B5EF4-FFF2-40B4-BE49-F238E27FC236}">
                      <a16:creationId xmlns:a16="http://schemas.microsoft.com/office/drawing/2014/main" id="{EF928F1E-578D-7FAC-528A-0289C3A0A242}"/>
                    </a:ext>
                  </a:extLst>
                </p:cNvPr>
                <p:cNvPicPr/>
                <p:nvPr/>
              </p:nvPicPr>
              <p:blipFill>
                <a:blip r:embed="rId178"/>
                <a:stretch>
                  <a:fillRect/>
                </a:stretch>
              </p:blipFill>
              <p:spPr>
                <a:xfrm>
                  <a:off x="1023360" y="1303053"/>
                  <a:ext cx="93600" cy="141480"/>
                </a:xfrm>
                <a:prstGeom prst="rect">
                  <a:avLst/>
                </a:prstGeom>
              </p:spPr>
            </p:pic>
          </mc:Fallback>
        </mc:AlternateContent>
        <mc:AlternateContent xmlns:mc="http://schemas.openxmlformats.org/markup-compatibility/2006" xmlns:p14="http://schemas.microsoft.com/office/powerpoint/2010/main">
          <mc:Choice Requires="p14">
            <p:contentPart p14:bwMode="auto" r:id="rId179">
              <p14:nvContentPartPr>
                <p14:cNvPr id="106" name="Ink 105">
                  <a:extLst>
                    <a:ext uri="{FF2B5EF4-FFF2-40B4-BE49-F238E27FC236}">
                      <a16:creationId xmlns:a16="http://schemas.microsoft.com/office/drawing/2014/main" id="{FC1593AA-3DDD-B973-32ED-CCA6C05A6848}"/>
                    </a:ext>
                  </a:extLst>
                </p14:cNvPr>
                <p14:cNvContentPartPr/>
                <p14:nvPr/>
              </p14:nvContentPartPr>
              <p14:xfrm>
                <a:off x="1128120" y="1322493"/>
                <a:ext cx="97200" cy="119880"/>
              </p14:xfrm>
            </p:contentPart>
          </mc:Choice>
          <mc:Fallback xmlns="">
            <p:pic>
              <p:nvPicPr>
                <p:cNvPr id="106" name="Ink 105">
                  <a:extLst>
                    <a:ext uri="{FF2B5EF4-FFF2-40B4-BE49-F238E27FC236}">
                      <a16:creationId xmlns:a16="http://schemas.microsoft.com/office/drawing/2014/main" id="{FC1593AA-3DDD-B973-32ED-CCA6C05A6848}"/>
                    </a:ext>
                  </a:extLst>
                </p:cNvPr>
                <p:cNvPicPr/>
                <p:nvPr/>
              </p:nvPicPr>
              <p:blipFill>
                <a:blip r:embed="rId180"/>
                <a:stretch>
                  <a:fillRect/>
                </a:stretch>
              </p:blipFill>
              <p:spPr>
                <a:xfrm>
                  <a:off x="1113000" y="1307373"/>
                  <a:ext cx="127800" cy="150120"/>
                </a:xfrm>
                <a:prstGeom prst="rect">
                  <a:avLst/>
                </a:prstGeom>
              </p:spPr>
            </p:pic>
          </mc:Fallback>
        </mc:AlternateContent>
        <mc:AlternateContent xmlns:mc="http://schemas.openxmlformats.org/markup-compatibility/2006" xmlns:p14="http://schemas.microsoft.com/office/powerpoint/2010/main">
          <mc:Choice Requires="p14">
            <p:contentPart p14:bwMode="auto" r:id="rId181">
              <p14:nvContentPartPr>
                <p14:cNvPr id="113" name="Ink 112">
                  <a:extLst>
                    <a:ext uri="{FF2B5EF4-FFF2-40B4-BE49-F238E27FC236}">
                      <a16:creationId xmlns:a16="http://schemas.microsoft.com/office/drawing/2014/main" id="{FD1DFDAC-4459-042E-34AF-340BCEEF1269}"/>
                    </a:ext>
                  </a:extLst>
                </p14:cNvPr>
                <p14:cNvContentPartPr/>
                <p14:nvPr/>
              </p14:nvContentPartPr>
              <p14:xfrm>
                <a:off x="1258080" y="1314213"/>
                <a:ext cx="111240" cy="95040"/>
              </p14:xfrm>
            </p:contentPart>
          </mc:Choice>
          <mc:Fallback xmlns="">
            <p:pic>
              <p:nvPicPr>
                <p:cNvPr id="113" name="Ink 112">
                  <a:extLst>
                    <a:ext uri="{FF2B5EF4-FFF2-40B4-BE49-F238E27FC236}">
                      <a16:creationId xmlns:a16="http://schemas.microsoft.com/office/drawing/2014/main" id="{FD1DFDAC-4459-042E-34AF-340BCEEF1269}"/>
                    </a:ext>
                  </a:extLst>
                </p:cNvPr>
                <p:cNvPicPr/>
                <p:nvPr/>
              </p:nvPicPr>
              <p:blipFill>
                <a:blip r:embed="rId182"/>
                <a:stretch>
                  <a:fillRect/>
                </a:stretch>
              </p:blipFill>
              <p:spPr>
                <a:xfrm>
                  <a:off x="1242960" y="1298733"/>
                  <a:ext cx="141480" cy="125640"/>
                </a:xfrm>
                <a:prstGeom prst="rect">
                  <a:avLst/>
                </a:prstGeom>
              </p:spPr>
            </p:pic>
          </mc:Fallback>
        </mc:AlternateContent>
        <mc:AlternateContent xmlns:mc="http://schemas.openxmlformats.org/markup-compatibility/2006" xmlns:p14="http://schemas.microsoft.com/office/powerpoint/2010/main">
          <mc:Choice Requires="p14">
            <p:contentPart p14:bwMode="auto" r:id="rId183">
              <p14:nvContentPartPr>
                <p14:cNvPr id="115" name="Ink 114">
                  <a:extLst>
                    <a:ext uri="{FF2B5EF4-FFF2-40B4-BE49-F238E27FC236}">
                      <a16:creationId xmlns:a16="http://schemas.microsoft.com/office/drawing/2014/main" id="{5DF1E034-1B0E-DCF6-43F5-69CBF106114A}"/>
                    </a:ext>
                  </a:extLst>
                </p14:cNvPr>
                <p14:cNvContentPartPr/>
                <p14:nvPr/>
              </p14:nvContentPartPr>
              <p14:xfrm>
                <a:off x="1437000" y="1273533"/>
                <a:ext cx="98640" cy="93600"/>
              </p14:xfrm>
            </p:contentPart>
          </mc:Choice>
          <mc:Fallback xmlns="">
            <p:pic>
              <p:nvPicPr>
                <p:cNvPr id="115" name="Ink 114">
                  <a:extLst>
                    <a:ext uri="{FF2B5EF4-FFF2-40B4-BE49-F238E27FC236}">
                      <a16:creationId xmlns:a16="http://schemas.microsoft.com/office/drawing/2014/main" id="{5DF1E034-1B0E-DCF6-43F5-69CBF106114A}"/>
                    </a:ext>
                  </a:extLst>
                </p:cNvPr>
                <p:cNvPicPr/>
                <p:nvPr/>
              </p:nvPicPr>
              <p:blipFill>
                <a:blip r:embed="rId184"/>
                <a:stretch>
                  <a:fillRect/>
                </a:stretch>
              </p:blipFill>
              <p:spPr>
                <a:xfrm>
                  <a:off x="1421880" y="1258413"/>
                  <a:ext cx="129240" cy="1242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85">
            <p14:nvContentPartPr>
              <p14:cNvPr id="116" name="Ink 115">
                <a:extLst>
                  <a:ext uri="{FF2B5EF4-FFF2-40B4-BE49-F238E27FC236}">
                    <a16:creationId xmlns:a16="http://schemas.microsoft.com/office/drawing/2014/main" id="{D9F71B82-CEEC-8C03-2720-40F49ACFDEF3}"/>
                  </a:ext>
                </a:extLst>
              </p14:cNvPr>
              <p14:cNvContentPartPr/>
              <p14:nvPr/>
            </p14:nvContentPartPr>
            <p14:xfrm>
              <a:off x="113640" y="1611573"/>
              <a:ext cx="1074240" cy="48960"/>
            </p14:xfrm>
          </p:contentPart>
        </mc:Choice>
        <mc:Fallback xmlns="">
          <p:pic>
            <p:nvPicPr>
              <p:cNvPr id="116" name="Ink 115">
                <a:extLst>
                  <a:ext uri="{FF2B5EF4-FFF2-40B4-BE49-F238E27FC236}">
                    <a16:creationId xmlns:a16="http://schemas.microsoft.com/office/drawing/2014/main" id="{D9F71B82-CEEC-8C03-2720-40F49ACFDEF3}"/>
                  </a:ext>
                </a:extLst>
              </p:cNvPr>
              <p:cNvPicPr/>
              <p:nvPr/>
            </p:nvPicPr>
            <p:blipFill>
              <a:blip r:embed="rId186"/>
              <a:stretch>
                <a:fillRect/>
              </a:stretch>
            </p:blipFill>
            <p:spPr>
              <a:xfrm>
                <a:off x="98160" y="1596453"/>
                <a:ext cx="1104480" cy="79560"/>
              </a:xfrm>
              <a:prstGeom prst="rect">
                <a:avLst/>
              </a:prstGeom>
            </p:spPr>
          </p:pic>
        </mc:Fallback>
      </mc:AlternateContent>
      <mc:AlternateContent xmlns:mc="http://schemas.openxmlformats.org/markup-compatibility/2006" xmlns:p14="http://schemas.microsoft.com/office/powerpoint/2010/main">
        <mc:Choice Requires="p14">
          <p:contentPart p14:bwMode="auto" r:id="rId187">
            <p14:nvContentPartPr>
              <p14:cNvPr id="135" name="Ink 134">
                <a:extLst>
                  <a:ext uri="{FF2B5EF4-FFF2-40B4-BE49-F238E27FC236}">
                    <a16:creationId xmlns:a16="http://schemas.microsoft.com/office/drawing/2014/main" id="{BE7BC92B-284F-0982-A159-88E750E98F10}"/>
                  </a:ext>
                </a:extLst>
              </p14:cNvPr>
              <p14:cNvContentPartPr/>
              <p14:nvPr/>
            </p14:nvContentPartPr>
            <p14:xfrm>
              <a:off x="1620960" y="3503373"/>
              <a:ext cx="2880" cy="1080"/>
            </p14:xfrm>
          </p:contentPart>
        </mc:Choice>
        <mc:Fallback xmlns="">
          <p:pic>
            <p:nvPicPr>
              <p:cNvPr id="135" name="Ink 134">
                <a:extLst>
                  <a:ext uri="{FF2B5EF4-FFF2-40B4-BE49-F238E27FC236}">
                    <a16:creationId xmlns:a16="http://schemas.microsoft.com/office/drawing/2014/main" id="{BE7BC92B-284F-0982-A159-88E750E98F10}"/>
                  </a:ext>
                </a:extLst>
              </p:cNvPr>
              <p:cNvPicPr/>
              <p:nvPr/>
            </p:nvPicPr>
            <p:blipFill>
              <a:blip r:embed="rId190"/>
              <a:stretch>
                <a:fillRect/>
              </a:stretch>
            </p:blipFill>
            <p:spPr>
              <a:xfrm>
                <a:off x="1611960" y="3494733"/>
                <a:ext cx="20520" cy="18720"/>
              </a:xfrm>
              <a:prstGeom prst="rect">
                <a:avLst/>
              </a:prstGeom>
            </p:spPr>
          </p:pic>
        </mc:Fallback>
      </mc:AlternateContent>
      <mc:AlternateContent xmlns:mc="http://schemas.openxmlformats.org/markup-compatibility/2006" xmlns:p14="http://schemas.microsoft.com/office/powerpoint/2010/main">
        <mc:Choice Requires="p14">
          <p:contentPart p14:bwMode="auto" r:id="rId191">
            <p14:nvContentPartPr>
              <p14:cNvPr id="4" name="Ink 3">
                <a:extLst>
                  <a:ext uri="{FF2B5EF4-FFF2-40B4-BE49-F238E27FC236}">
                    <a16:creationId xmlns:a16="http://schemas.microsoft.com/office/drawing/2014/main" id="{7F770BCA-AA2D-0C5A-E520-73E891A3909E}"/>
                  </a:ext>
                </a:extLst>
              </p14:cNvPr>
              <p14:cNvContentPartPr/>
              <p14:nvPr/>
            </p14:nvContentPartPr>
            <p14:xfrm>
              <a:off x="1116240" y="1618240"/>
              <a:ext cx="461160" cy="27360"/>
            </p14:xfrm>
          </p:contentPart>
        </mc:Choice>
        <mc:Fallback xmlns="">
          <p:pic>
            <p:nvPicPr>
              <p:cNvPr id="4" name="Ink 3">
                <a:extLst>
                  <a:ext uri="{FF2B5EF4-FFF2-40B4-BE49-F238E27FC236}">
                    <a16:creationId xmlns:a16="http://schemas.microsoft.com/office/drawing/2014/main" id="{7F770BCA-AA2D-0C5A-E520-73E891A3909E}"/>
                  </a:ext>
                </a:extLst>
              </p:cNvPr>
              <p:cNvPicPr/>
              <p:nvPr/>
            </p:nvPicPr>
            <p:blipFill>
              <a:blip r:embed="rId192"/>
              <a:stretch>
                <a:fillRect/>
              </a:stretch>
            </p:blipFill>
            <p:spPr>
              <a:xfrm>
                <a:off x="1100760" y="1602760"/>
                <a:ext cx="491760" cy="57600"/>
              </a:xfrm>
              <a:prstGeom prst="rect">
                <a:avLst/>
              </a:prstGeom>
            </p:spPr>
          </p:pic>
        </mc:Fallback>
      </mc:AlternateContent>
      <p:grpSp>
        <p:nvGrpSpPr>
          <p:cNvPr id="11" name="Group 10">
            <a:extLst>
              <a:ext uri="{FF2B5EF4-FFF2-40B4-BE49-F238E27FC236}">
                <a16:creationId xmlns:a16="http://schemas.microsoft.com/office/drawing/2014/main" id="{CDD352E9-7D92-2BD0-A34B-EBE00CF38172}"/>
              </a:ext>
            </a:extLst>
          </p:cNvPr>
          <p:cNvGrpSpPr/>
          <p:nvPr/>
        </p:nvGrpSpPr>
        <p:grpSpPr>
          <a:xfrm>
            <a:off x="573360" y="753160"/>
            <a:ext cx="869760" cy="367200"/>
            <a:chOff x="573360" y="753160"/>
            <a:chExt cx="869760" cy="367200"/>
          </a:xfrm>
        </p:grpSpPr>
        <mc:AlternateContent xmlns:mc="http://schemas.openxmlformats.org/markup-compatibility/2006" xmlns:p14="http://schemas.microsoft.com/office/powerpoint/2010/main">
          <mc:Choice Requires="p14">
            <p:contentPart p14:bwMode="auto" r:id="rId193">
              <p14:nvContentPartPr>
                <p14:cNvPr id="5" name="Ink 4">
                  <a:extLst>
                    <a:ext uri="{FF2B5EF4-FFF2-40B4-BE49-F238E27FC236}">
                      <a16:creationId xmlns:a16="http://schemas.microsoft.com/office/drawing/2014/main" id="{466DE37B-4930-E2E5-C2A6-97412B1388B5}"/>
                    </a:ext>
                  </a:extLst>
                </p14:cNvPr>
                <p14:cNvContentPartPr/>
                <p14:nvPr/>
              </p14:nvContentPartPr>
              <p14:xfrm>
                <a:off x="573360" y="753160"/>
                <a:ext cx="270000" cy="200880"/>
              </p14:xfrm>
            </p:contentPart>
          </mc:Choice>
          <mc:Fallback xmlns="">
            <p:pic>
              <p:nvPicPr>
                <p:cNvPr id="5" name="Ink 4">
                  <a:extLst>
                    <a:ext uri="{FF2B5EF4-FFF2-40B4-BE49-F238E27FC236}">
                      <a16:creationId xmlns:a16="http://schemas.microsoft.com/office/drawing/2014/main" id="{466DE37B-4930-E2E5-C2A6-97412B1388B5}"/>
                    </a:ext>
                  </a:extLst>
                </p:cNvPr>
                <p:cNvPicPr/>
                <p:nvPr/>
              </p:nvPicPr>
              <p:blipFill>
                <a:blip r:embed="rId194"/>
                <a:stretch>
                  <a:fillRect/>
                </a:stretch>
              </p:blipFill>
              <p:spPr>
                <a:xfrm>
                  <a:off x="558240" y="738040"/>
                  <a:ext cx="300240" cy="231120"/>
                </a:xfrm>
                <a:prstGeom prst="rect">
                  <a:avLst/>
                </a:prstGeom>
              </p:spPr>
            </p:pic>
          </mc:Fallback>
        </mc:AlternateContent>
        <mc:AlternateContent xmlns:mc="http://schemas.openxmlformats.org/markup-compatibility/2006" xmlns:p14="http://schemas.microsoft.com/office/powerpoint/2010/main">
          <mc:Choice Requires="p14">
            <p:contentPart p14:bwMode="auto" r:id="rId195">
              <p14:nvContentPartPr>
                <p14:cNvPr id="7" name="Ink 6">
                  <a:extLst>
                    <a:ext uri="{FF2B5EF4-FFF2-40B4-BE49-F238E27FC236}">
                      <a16:creationId xmlns:a16="http://schemas.microsoft.com/office/drawing/2014/main" id="{982C890D-4668-0D7D-CEAF-57434AF34E5C}"/>
                    </a:ext>
                  </a:extLst>
                </p14:cNvPr>
                <p14:cNvContentPartPr/>
                <p14:nvPr/>
              </p14:nvContentPartPr>
              <p14:xfrm>
                <a:off x="862080" y="779440"/>
                <a:ext cx="326880" cy="193320"/>
              </p14:xfrm>
            </p:contentPart>
          </mc:Choice>
          <mc:Fallback xmlns="">
            <p:pic>
              <p:nvPicPr>
                <p:cNvPr id="7" name="Ink 6">
                  <a:extLst>
                    <a:ext uri="{FF2B5EF4-FFF2-40B4-BE49-F238E27FC236}">
                      <a16:creationId xmlns:a16="http://schemas.microsoft.com/office/drawing/2014/main" id="{982C890D-4668-0D7D-CEAF-57434AF34E5C}"/>
                    </a:ext>
                  </a:extLst>
                </p:cNvPr>
                <p:cNvPicPr/>
                <p:nvPr/>
              </p:nvPicPr>
              <p:blipFill>
                <a:blip r:embed="rId196"/>
                <a:stretch>
                  <a:fillRect/>
                </a:stretch>
              </p:blipFill>
              <p:spPr>
                <a:xfrm>
                  <a:off x="846960" y="763960"/>
                  <a:ext cx="357120" cy="223920"/>
                </a:xfrm>
                <a:prstGeom prst="rect">
                  <a:avLst/>
                </a:prstGeom>
              </p:spPr>
            </p:pic>
          </mc:Fallback>
        </mc:AlternateContent>
        <mc:AlternateContent xmlns:mc="http://schemas.openxmlformats.org/markup-compatibility/2006" xmlns:p14="http://schemas.microsoft.com/office/powerpoint/2010/main">
          <mc:Choice Requires="p14">
            <p:contentPart p14:bwMode="auto" r:id="rId197">
              <p14:nvContentPartPr>
                <p14:cNvPr id="8" name="Ink 7">
                  <a:extLst>
                    <a:ext uri="{FF2B5EF4-FFF2-40B4-BE49-F238E27FC236}">
                      <a16:creationId xmlns:a16="http://schemas.microsoft.com/office/drawing/2014/main" id="{234EF26E-48EB-A579-F1A7-C820D972AE81}"/>
                    </a:ext>
                  </a:extLst>
                </p14:cNvPr>
                <p14:cNvContentPartPr/>
                <p14:nvPr/>
              </p14:nvContentPartPr>
              <p14:xfrm>
                <a:off x="1221720" y="777280"/>
                <a:ext cx="221400" cy="209160"/>
              </p14:xfrm>
            </p:contentPart>
          </mc:Choice>
          <mc:Fallback xmlns="">
            <p:pic>
              <p:nvPicPr>
                <p:cNvPr id="8" name="Ink 7">
                  <a:extLst>
                    <a:ext uri="{FF2B5EF4-FFF2-40B4-BE49-F238E27FC236}">
                      <a16:creationId xmlns:a16="http://schemas.microsoft.com/office/drawing/2014/main" id="{234EF26E-48EB-A579-F1A7-C820D972AE81}"/>
                    </a:ext>
                  </a:extLst>
                </p:cNvPr>
                <p:cNvPicPr/>
                <p:nvPr/>
              </p:nvPicPr>
              <p:blipFill>
                <a:blip r:embed="rId198"/>
                <a:stretch>
                  <a:fillRect/>
                </a:stretch>
              </p:blipFill>
              <p:spPr>
                <a:xfrm>
                  <a:off x="1206240" y="761800"/>
                  <a:ext cx="251640" cy="239760"/>
                </a:xfrm>
                <a:prstGeom prst="rect">
                  <a:avLst/>
                </a:prstGeom>
              </p:spPr>
            </p:pic>
          </mc:Fallback>
        </mc:AlternateContent>
        <mc:AlternateContent xmlns:mc="http://schemas.openxmlformats.org/markup-compatibility/2006" xmlns:p14="http://schemas.microsoft.com/office/powerpoint/2010/main">
          <mc:Choice Requires="p14">
            <p:contentPart p14:bwMode="auto" r:id="rId199">
              <p14:nvContentPartPr>
                <p14:cNvPr id="9" name="Ink 8">
                  <a:extLst>
                    <a:ext uri="{FF2B5EF4-FFF2-40B4-BE49-F238E27FC236}">
                      <a16:creationId xmlns:a16="http://schemas.microsoft.com/office/drawing/2014/main" id="{58CCE938-1D74-F097-B612-97784D76E954}"/>
                    </a:ext>
                  </a:extLst>
                </p14:cNvPr>
                <p14:cNvContentPartPr/>
                <p14:nvPr/>
              </p14:nvContentPartPr>
              <p14:xfrm>
                <a:off x="1191480" y="1004080"/>
                <a:ext cx="110160" cy="18000"/>
              </p14:xfrm>
            </p:contentPart>
          </mc:Choice>
          <mc:Fallback xmlns="">
            <p:pic>
              <p:nvPicPr>
                <p:cNvPr id="9" name="Ink 8">
                  <a:extLst>
                    <a:ext uri="{FF2B5EF4-FFF2-40B4-BE49-F238E27FC236}">
                      <a16:creationId xmlns:a16="http://schemas.microsoft.com/office/drawing/2014/main" id="{58CCE938-1D74-F097-B612-97784D76E954}"/>
                    </a:ext>
                  </a:extLst>
                </p:cNvPr>
                <p:cNvPicPr/>
                <p:nvPr/>
              </p:nvPicPr>
              <p:blipFill>
                <a:blip r:embed="rId200"/>
                <a:stretch>
                  <a:fillRect/>
                </a:stretch>
              </p:blipFill>
              <p:spPr>
                <a:xfrm>
                  <a:off x="1176360" y="988600"/>
                  <a:ext cx="140760" cy="48600"/>
                </a:xfrm>
                <a:prstGeom prst="rect">
                  <a:avLst/>
                </a:prstGeom>
              </p:spPr>
            </p:pic>
          </mc:Fallback>
        </mc:AlternateContent>
        <mc:AlternateContent xmlns:mc="http://schemas.openxmlformats.org/markup-compatibility/2006" xmlns:p14="http://schemas.microsoft.com/office/powerpoint/2010/main">
          <mc:Choice Requires="p14">
            <p:contentPart p14:bwMode="auto" r:id="rId201">
              <p14:nvContentPartPr>
                <p14:cNvPr id="10" name="Ink 9">
                  <a:extLst>
                    <a:ext uri="{FF2B5EF4-FFF2-40B4-BE49-F238E27FC236}">
                      <a16:creationId xmlns:a16="http://schemas.microsoft.com/office/drawing/2014/main" id="{30996875-5B0B-C602-D037-D3B1F52AD9FB}"/>
                    </a:ext>
                  </a:extLst>
                </p14:cNvPr>
                <p14:cNvContentPartPr/>
                <p14:nvPr/>
              </p14:nvContentPartPr>
              <p14:xfrm>
                <a:off x="1224240" y="1089040"/>
                <a:ext cx="143280" cy="31320"/>
              </p14:xfrm>
            </p:contentPart>
          </mc:Choice>
          <mc:Fallback xmlns="">
            <p:pic>
              <p:nvPicPr>
                <p:cNvPr id="10" name="Ink 9">
                  <a:extLst>
                    <a:ext uri="{FF2B5EF4-FFF2-40B4-BE49-F238E27FC236}">
                      <a16:creationId xmlns:a16="http://schemas.microsoft.com/office/drawing/2014/main" id="{30996875-5B0B-C602-D037-D3B1F52AD9FB}"/>
                    </a:ext>
                  </a:extLst>
                </p:cNvPr>
                <p:cNvPicPr/>
                <p:nvPr/>
              </p:nvPicPr>
              <p:blipFill>
                <a:blip r:embed="rId202"/>
                <a:stretch>
                  <a:fillRect/>
                </a:stretch>
              </p:blipFill>
              <p:spPr>
                <a:xfrm>
                  <a:off x="1208760" y="1073560"/>
                  <a:ext cx="173880" cy="6192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203">
            <p14:nvContentPartPr>
              <p14:cNvPr id="12" name="Ink 11">
                <a:extLst>
                  <a:ext uri="{FF2B5EF4-FFF2-40B4-BE49-F238E27FC236}">
                    <a16:creationId xmlns:a16="http://schemas.microsoft.com/office/drawing/2014/main" id="{3A3A4212-8DFA-19B5-31A5-06804B5CCE45}"/>
                  </a:ext>
                </a:extLst>
              </p14:cNvPr>
              <p14:cNvContentPartPr/>
              <p14:nvPr/>
            </p14:nvContentPartPr>
            <p14:xfrm>
              <a:off x="1655880" y="2737120"/>
              <a:ext cx="277560" cy="2170440"/>
            </p14:xfrm>
          </p:contentPart>
        </mc:Choice>
        <mc:Fallback xmlns="">
          <p:pic>
            <p:nvPicPr>
              <p:cNvPr id="12" name="Ink 11">
                <a:extLst>
                  <a:ext uri="{FF2B5EF4-FFF2-40B4-BE49-F238E27FC236}">
                    <a16:creationId xmlns:a16="http://schemas.microsoft.com/office/drawing/2014/main" id="{3A3A4212-8DFA-19B5-31A5-06804B5CCE45}"/>
                  </a:ext>
                </a:extLst>
              </p:cNvPr>
              <p:cNvPicPr/>
              <p:nvPr/>
            </p:nvPicPr>
            <p:blipFill>
              <a:blip r:embed="rId204"/>
              <a:stretch>
                <a:fillRect/>
              </a:stretch>
            </p:blipFill>
            <p:spPr>
              <a:xfrm>
                <a:off x="1640400" y="2721640"/>
                <a:ext cx="308160" cy="2200680"/>
              </a:xfrm>
              <a:prstGeom prst="rect">
                <a:avLst/>
              </a:prstGeom>
            </p:spPr>
          </p:pic>
        </mc:Fallback>
      </mc:AlternateContent>
      <mc:AlternateContent xmlns:mc="http://schemas.openxmlformats.org/markup-compatibility/2006" xmlns:p14="http://schemas.microsoft.com/office/powerpoint/2010/main">
        <mc:Choice Requires="p14">
          <p:contentPart p14:bwMode="auto" r:id="rId205">
            <p14:nvContentPartPr>
              <p14:cNvPr id="14" name="Ink 13">
                <a:extLst>
                  <a:ext uri="{FF2B5EF4-FFF2-40B4-BE49-F238E27FC236}">
                    <a16:creationId xmlns:a16="http://schemas.microsoft.com/office/drawing/2014/main" id="{83E522B3-DAB9-6BD1-3355-9CA78C11DBFD}"/>
                  </a:ext>
                </a:extLst>
              </p14:cNvPr>
              <p14:cNvContentPartPr/>
              <p14:nvPr/>
            </p14:nvContentPartPr>
            <p14:xfrm>
              <a:off x="2330880" y="2685280"/>
              <a:ext cx="469080" cy="29520"/>
            </p14:xfrm>
          </p:contentPart>
        </mc:Choice>
        <mc:Fallback xmlns="">
          <p:pic>
            <p:nvPicPr>
              <p:cNvPr id="14" name="Ink 13">
                <a:extLst>
                  <a:ext uri="{FF2B5EF4-FFF2-40B4-BE49-F238E27FC236}">
                    <a16:creationId xmlns:a16="http://schemas.microsoft.com/office/drawing/2014/main" id="{83E522B3-DAB9-6BD1-3355-9CA78C11DBFD}"/>
                  </a:ext>
                </a:extLst>
              </p:cNvPr>
              <p:cNvPicPr/>
              <p:nvPr/>
            </p:nvPicPr>
            <p:blipFill>
              <a:blip r:embed="rId206"/>
              <a:stretch>
                <a:fillRect/>
              </a:stretch>
            </p:blipFill>
            <p:spPr>
              <a:xfrm>
                <a:off x="2315400" y="2670160"/>
                <a:ext cx="499320" cy="59760"/>
              </a:xfrm>
              <a:prstGeom prst="rect">
                <a:avLst/>
              </a:prstGeom>
            </p:spPr>
          </p:pic>
        </mc:Fallback>
      </mc:AlternateContent>
      <mc:AlternateContent xmlns:mc="http://schemas.openxmlformats.org/markup-compatibility/2006" xmlns:p14="http://schemas.microsoft.com/office/powerpoint/2010/main">
        <mc:Choice Requires="p14">
          <p:contentPart p14:bwMode="auto" r:id="rId207">
            <p14:nvContentPartPr>
              <p14:cNvPr id="15" name="Ink 14">
                <a:extLst>
                  <a:ext uri="{FF2B5EF4-FFF2-40B4-BE49-F238E27FC236}">
                    <a16:creationId xmlns:a16="http://schemas.microsoft.com/office/drawing/2014/main" id="{85F95E14-1413-1B76-FC5A-BE635A5BCD9A}"/>
                  </a:ext>
                </a:extLst>
              </p14:cNvPr>
              <p14:cNvContentPartPr/>
              <p14:nvPr/>
            </p14:nvContentPartPr>
            <p14:xfrm>
              <a:off x="3594120" y="2648200"/>
              <a:ext cx="412920" cy="48240"/>
            </p14:xfrm>
          </p:contentPart>
        </mc:Choice>
        <mc:Fallback xmlns="">
          <p:pic>
            <p:nvPicPr>
              <p:cNvPr id="15" name="Ink 14">
                <a:extLst>
                  <a:ext uri="{FF2B5EF4-FFF2-40B4-BE49-F238E27FC236}">
                    <a16:creationId xmlns:a16="http://schemas.microsoft.com/office/drawing/2014/main" id="{85F95E14-1413-1B76-FC5A-BE635A5BCD9A}"/>
                  </a:ext>
                </a:extLst>
              </p:cNvPr>
              <p:cNvPicPr/>
              <p:nvPr/>
            </p:nvPicPr>
            <p:blipFill>
              <a:blip r:embed="rId208"/>
              <a:stretch>
                <a:fillRect/>
              </a:stretch>
            </p:blipFill>
            <p:spPr>
              <a:xfrm>
                <a:off x="3579000" y="2632720"/>
                <a:ext cx="443160" cy="78840"/>
              </a:xfrm>
              <a:prstGeom prst="rect">
                <a:avLst/>
              </a:prstGeom>
            </p:spPr>
          </p:pic>
        </mc:Fallback>
      </mc:AlternateContent>
      <mc:AlternateContent xmlns:mc="http://schemas.openxmlformats.org/markup-compatibility/2006" xmlns:p14="http://schemas.microsoft.com/office/powerpoint/2010/main">
        <mc:Choice Requires="p14">
          <p:contentPart p14:bwMode="auto" r:id="rId209">
            <p14:nvContentPartPr>
              <p14:cNvPr id="16" name="Ink 15">
                <a:extLst>
                  <a:ext uri="{FF2B5EF4-FFF2-40B4-BE49-F238E27FC236}">
                    <a16:creationId xmlns:a16="http://schemas.microsoft.com/office/drawing/2014/main" id="{0D8C0C76-0C6A-DE87-C4E9-7BDFA98D9184}"/>
                  </a:ext>
                </a:extLst>
              </p14:cNvPr>
              <p14:cNvContentPartPr/>
              <p14:nvPr/>
            </p14:nvContentPartPr>
            <p14:xfrm>
              <a:off x="4888680" y="2638480"/>
              <a:ext cx="279360" cy="50760"/>
            </p14:xfrm>
          </p:contentPart>
        </mc:Choice>
        <mc:Fallback xmlns="">
          <p:pic>
            <p:nvPicPr>
              <p:cNvPr id="16" name="Ink 15">
                <a:extLst>
                  <a:ext uri="{FF2B5EF4-FFF2-40B4-BE49-F238E27FC236}">
                    <a16:creationId xmlns:a16="http://schemas.microsoft.com/office/drawing/2014/main" id="{0D8C0C76-0C6A-DE87-C4E9-7BDFA98D9184}"/>
                  </a:ext>
                </a:extLst>
              </p:cNvPr>
              <p:cNvPicPr/>
              <p:nvPr/>
            </p:nvPicPr>
            <p:blipFill>
              <a:blip r:embed="rId210"/>
              <a:stretch>
                <a:fillRect/>
              </a:stretch>
            </p:blipFill>
            <p:spPr>
              <a:xfrm>
                <a:off x="4873200" y="2623360"/>
                <a:ext cx="309960" cy="81360"/>
              </a:xfrm>
              <a:prstGeom prst="rect">
                <a:avLst/>
              </a:prstGeom>
            </p:spPr>
          </p:pic>
        </mc:Fallback>
      </mc:AlternateContent>
      <mc:AlternateContent xmlns:mc="http://schemas.openxmlformats.org/markup-compatibility/2006" xmlns:p14="http://schemas.microsoft.com/office/powerpoint/2010/main">
        <mc:Choice Requires="p14">
          <p:contentPart p14:bwMode="auto" r:id="rId211">
            <p14:nvContentPartPr>
              <p14:cNvPr id="17" name="Ink 16">
                <a:extLst>
                  <a:ext uri="{FF2B5EF4-FFF2-40B4-BE49-F238E27FC236}">
                    <a16:creationId xmlns:a16="http://schemas.microsoft.com/office/drawing/2014/main" id="{8D436860-A29B-7E22-39EB-BB84BF7A79A3}"/>
                  </a:ext>
                </a:extLst>
              </p14:cNvPr>
              <p14:cNvContentPartPr/>
              <p14:nvPr/>
            </p14:nvContentPartPr>
            <p14:xfrm>
              <a:off x="5988480" y="3357760"/>
              <a:ext cx="389160" cy="17280"/>
            </p14:xfrm>
          </p:contentPart>
        </mc:Choice>
        <mc:Fallback xmlns="">
          <p:pic>
            <p:nvPicPr>
              <p:cNvPr id="17" name="Ink 16">
                <a:extLst>
                  <a:ext uri="{FF2B5EF4-FFF2-40B4-BE49-F238E27FC236}">
                    <a16:creationId xmlns:a16="http://schemas.microsoft.com/office/drawing/2014/main" id="{8D436860-A29B-7E22-39EB-BB84BF7A79A3}"/>
                  </a:ext>
                </a:extLst>
              </p:cNvPr>
              <p:cNvPicPr/>
              <p:nvPr/>
            </p:nvPicPr>
            <p:blipFill>
              <a:blip r:embed="rId212"/>
              <a:stretch>
                <a:fillRect/>
              </a:stretch>
            </p:blipFill>
            <p:spPr>
              <a:xfrm>
                <a:off x="5973360" y="3342640"/>
                <a:ext cx="419760" cy="47880"/>
              </a:xfrm>
              <a:prstGeom prst="rect">
                <a:avLst/>
              </a:prstGeom>
            </p:spPr>
          </p:pic>
        </mc:Fallback>
      </mc:AlternateContent>
      <mc:AlternateContent xmlns:mc="http://schemas.openxmlformats.org/markup-compatibility/2006" xmlns:p14="http://schemas.microsoft.com/office/powerpoint/2010/main">
        <mc:Choice Requires="p14">
          <p:contentPart p14:bwMode="auto" r:id="rId213">
            <p14:nvContentPartPr>
              <p14:cNvPr id="19" name="Ink 18">
                <a:extLst>
                  <a:ext uri="{FF2B5EF4-FFF2-40B4-BE49-F238E27FC236}">
                    <a16:creationId xmlns:a16="http://schemas.microsoft.com/office/drawing/2014/main" id="{DA67C4C4-6056-75B7-5A99-EB02E9A9DA29}"/>
                  </a:ext>
                </a:extLst>
              </p14:cNvPr>
              <p14:cNvContentPartPr/>
              <p14:nvPr/>
            </p14:nvContentPartPr>
            <p14:xfrm>
              <a:off x="7086840" y="3364240"/>
              <a:ext cx="315720" cy="19080"/>
            </p14:xfrm>
          </p:contentPart>
        </mc:Choice>
        <mc:Fallback xmlns="">
          <p:pic>
            <p:nvPicPr>
              <p:cNvPr id="19" name="Ink 18">
                <a:extLst>
                  <a:ext uri="{FF2B5EF4-FFF2-40B4-BE49-F238E27FC236}">
                    <a16:creationId xmlns:a16="http://schemas.microsoft.com/office/drawing/2014/main" id="{DA67C4C4-6056-75B7-5A99-EB02E9A9DA29}"/>
                  </a:ext>
                </a:extLst>
              </p:cNvPr>
              <p:cNvPicPr/>
              <p:nvPr/>
            </p:nvPicPr>
            <p:blipFill>
              <a:blip r:embed="rId214"/>
              <a:stretch>
                <a:fillRect/>
              </a:stretch>
            </p:blipFill>
            <p:spPr>
              <a:xfrm>
                <a:off x="7071720" y="3349120"/>
                <a:ext cx="345960" cy="49680"/>
              </a:xfrm>
              <a:prstGeom prst="rect">
                <a:avLst/>
              </a:prstGeom>
            </p:spPr>
          </p:pic>
        </mc:Fallback>
      </mc:AlternateContent>
      <mc:AlternateContent xmlns:mc="http://schemas.openxmlformats.org/markup-compatibility/2006" xmlns:p14="http://schemas.microsoft.com/office/powerpoint/2010/main">
        <mc:Choice Requires="p14">
          <p:contentPart p14:bwMode="auto" r:id="rId215">
            <p14:nvContentPartPr>
              <p14:cNvPr id="21" name="Ink 20">
                <a:extLst>
                  <a:ext uri="{FF2B5EF4-FFF2-40B4-BE49-F238E27FC236}">
                    <a16:creationId xmlns:a16="http://schemas.microsoft.com/office/drawing/2014/main" id="{67E81D57-F6F1-D8A9-169E-A98174C810FB}"/>
                  </a:ext>
                </a:extLst>
              </p14:cNvPr>
              <p14:cNvContentPartPr/>
              <p14:nvPr/>
            </p14:nvContentPartPr>
            <p14:xfrm>
              <a:off x="3638400" y="3172720"/>
              <a:ext cx="435600" cy="23400"/>
            </p14:xfrm>
          </p:contentPart>
        </mc:Choice>
        <mc:Fallback xmlns="">
          <p:pic>
            <p:nvPicPr>
              <p:cNvPr id="21" name="Ink 20">
                <a:extLst>
                  <a:ext uri="{FF2B5EF4-FFF2-40B4-BE49-F238E27FC236}">
                    <a16:creationId xmlns:a16="http://schemas.microsoft.com/office/drawing/2014/main" id="{67E81D57-F6F1-D8A9-169E-A98174C810FB}"/>
                  </a:ext>
                </a:extLst>
              </p:cNvPr>
              <p:cNvPicPr/>
              <p:nvPr/>
            </p:nvPicPr>
            <p:blipFill>
              <a:blip r:embed="rId216"/>
              <a:stretch>
                <a:fillRect/>
              </a:stretch>
            </p:blipFill>
            <p:spPr>
              <a:xfrm>
                <a:off x="3623280" y="3157600"/>
                <a:ext cx="466200" cy="54000"/>
              </a:xfrm>
              <a:prstGeom prst="rect">
                <a:avLst/>
              </a:prstGeom>
            </p:spPr>
          </p:pic>
        </mc:Fallback>
      </mc:AlternateContent>
      <mc:AlternateContent xmlns:mc="http://schemas.openxmlformats.org/markup-compatibility/2006" xmlns:p14="http://schemas.microsoft.com/office/powerpoint/2010/main">
        <mc:Choice Requires="p14">
          <p:contentPart p14:bwMode="auto" r:id="rId217">
            <p14:nvContentPartPr>
              <p14:cNvPr id="22" name="Ink 21">
                <a:extLst>
                  <a:ext uri="{FF2B5EF4-FFF2-40B4-BE49-F238E27FC236}">
                    <a16:creationId xmlns:a16="http://schemas.microsoft.com/office/drawing/2014/main" id="{E16B9287-35C0-5A97-2EE0-EB4658C84BE2}"/>
                  </a:ext>
                </a:extLst>
              </p14:cNvPr>
              <p14:cNvContentPartPr/>
              <p14:nvPr/>
            </p14:nvContentPartPr>
            <p14:xfrm>
              <a:off x="4818840" y="3226000"/>
              <a:ext cx="306360" cy="16560"/>
            </p14:xfrm>
          </p:contentPart>
        </mc:Choice>
        <mc:Fallback xmlns="">
          <p:pic>
            <p:nvPicPr>
              <p:cNvPr id="22" name="Ink 21">
                <a:extLst>
                  <a:ext uri="{FF2B5EF4-FFF2-40B4-BE49-F238E27FC236}">
                    <a16:creationId xmlns:a16="http://schemas.microsoft.com/office/drawing/2014/main" id="{E16B9287-35C0-5A97-2EE0-EB4658C84BE2}"/>
                  </a:ext>
                </a:extLst>
              </p:cNvPr>
              <p:cNvPicPr/>
              <p:nvPr/>
            </p:nvPicPr>
            <p:blipFill>
              <a:blip r:embed="rId218"/>
              <a:stretch>
                <a:fillRect/>
              </a:stretch>
            </p:blipFill>
            <p:spPr>
              <a:xfrm>
                <a:off x="4803720" y="3210880"/>
                <a:ext cx="336960" cy="47160"/>
              </a:xfrm>
              <a:prstGeom prst="rect">
                <a:avLst/>
              </a:prstGeom>
            </p:spPr>
          </p:pic>
        </mc:Fallback>
      </mc:AlternateContent>
      <mc:AlternateContent xmlns:mc="http://schemas.openxmlformats.org/markup-compatibility/2006" xmlns:p14="http://schemas.microsoft.com/office/powerpoint/2010/main">
        <mc:Choice Requires="p14">
          <p:contentPart p14:bwMode="auto" r:id="rId219">
            <p14:nvContentPartPr>
              <p14:cNvPr id="25" name="Ink 24">
                <a:extLst>
                  <a:ext uri="{FF2B5EF4-FFF2-40B4-BE49-F238E27FC236}">
                    <a16:creationId xmlns:a16="http://schemas.microsoft.com/office/drawing/2014/main" id="{8BFB27C6-720B-6536-04BC-C47F18A12C55}"/>
                  </a:ext>
                </a:extLst>
              </p14:cNvPr>
              <p14:cNvContentPartPr/>
              <p14:nvPr/>
            </p14:nvContentPartPr>
            <p14:xfrm>
              <a:off x="3639120" y="4329040"/>
              <a:ext cx="444600" cy="5760"/>
            </p14:xfrm>
          </p:contentPart>
        </mc:Choice>
        <mc:Fallback xmlns="">
          <p:pic>
            <p:nvPicPr>
              <p:cNvPr id="25" name="Ink 24">
                <a:extLst>
                  <a:ext uri="{FF2B5EF4-FFF2-40B4-BE49-F238E27FC236}">
                    <a16:creationId xmlns:a16="http://schemas.microsoft.com/office/drawing/2014/main" id="{8BFB27C6-720B-6536-04BC-C47F18A12C55}"/>
                  </a:ext>
                </a:extLst>
              </p:cNvPr>
              <p:cNvPicPr/>
              <p:nvPr/>
            </p:nvPicPr>
            <p:blipFill>
              <a:blip r:embed="rId220"/>
              <a:stretch>
                <a:fillRect/>
              </a:stretch>
            </p:blipFill>
            <p:spPr>
              <a:xfrm>
                <a:off x="3624000" y="4313920"/>
                <a:ext cx="474840" cy="36360"/>
              </a:xfrm>
              <a:prstGeom prst="rect">
                <a:avLst/>
              </a:prstGeom>
            </p:spPr>
          </p:pic>
        </mc:Fallback>
      </mc:AlternateContent>
      <mc:AlternateContent xmlns:mc="http://schemas.openxmlformats.org/markup-compatibility/2006" xmlns:p14="http://schemas.microsoft.com/office/powerpoint/2010/main">
        <mc:Choice Requires="p14">
          <p:contentPart p14:bwMode="auto" r:id="rId221">
            <p14:nvContentPartPr>
              <p14:cNvPr id="26" name="Ink 25">
                <a:extLst>
                  <a:ext uri="{FF2B5EF4-FFF2-40B4-BE49-F238E27FC236}">
                    <a16:creationId xmlns:a16="http://schemas.microsoft.com/office/drawing/2014/main" id="{945DF521-D98D-C4E1-4533-DF6BF7B5C130}"/>
                  </a:ext>
                </a:extLst>
              </p14:cNvPr>
              <p14:cNvContentPartPr/>
              <p14:nvPr/>
            </p14:nvContentPartPr>
            <p14:xfrm>
              <a:off x="4805880" y="4358200"/>
              <a:ext cx="190080" cy="21960"/>
            </p14:xfrm>
          </p:contentPart>
        </mc:Choice>
        <mc:Fallback xmlns="">
          <p:pic>
            <p:nvPicPr>
              <p:cNvPr id="26" name="Ink 25">
                <a:extLst>
                  <a:ext uri="{FF2B5EF4-FFF2-40B4-BE49-F238E27FC236}">
                    <a16:creationId xmlns:a16="http://schemas.microsoft.com/office/drawing/2014/main" id="{945DF521-D98D-C4E1-4533-DF6BF7B5C130}"/>
                  </a:ext>
                </a:extLst>
              </p:cNvPr>
              <p:cNvPicPr/>
              <p:nvPr/>
            </p:nvPicPr>
            <p:blipFill>
              <a:blip r:embed="rId222"/>
              <a:stretch>
                <a:fillRect/>
              </a:stretch>
            </p:blipFill>
            <p:spPr>
              <a:xfrm>
                <a:off x="4790400" y="4342720"/>
                <a:ext cx="220680" cy="52560"/>
              </a:xfrm>
              <a:prstGeom prst="rect">
                <a:avLst/>
              </a:prstGeom>
            </p:spPr>
          </p:pic>
        </mc:Fallback>
      </mc:AlternateContent>
      <mc:AlternateContent xmlns:mc="http://schemas.openxmlformats.org/markup-compatibility/2006" xmlns:p14="http://schemas.microsoft.com/office/powerpoint/2010/main">
        <mc:Choice Requires="p14">
          <p:contentPart p14:bwMode="auto" r:id="rId223">
            <p14:nvContentPartPr>
              <p14:cNvPr id="27" name="Ink 26">
                <a:extLst>
                  <a:ext uri="{FF2B5EF4-FFF2-40B4-BE49-F238E27FC236}">
                    <a16:creationId xmlns:a16="http://schemas.microsoft.com/office/drawing/2014/main" id="{61C0B646-D755-23B4-E853-48A1D4181CE9}"/>
                  </a:ext>
                </a:extLst>
              </p14:cNvPr>
              <p14:cNvContentPartPr/>
              <p14:nvPr/>
            </p14:nvContentPartPr>
            <p14:xfrm>
              <a:off x="6008640" y="4375480"/>
              <a:ext cx="265320" cy="4320"/>
            </p14:xfrm>
          </p:contentPart>
        </mc:Choice>
        <mc:Fallback xmlns="">
          <p:pic>
            <p:nvPicPr>
              <p:cNvPr id="27" name="Ink 26">
                <a:extLst>
                  <a:ext uri="{FF2B5EF4-FFF2-40B4-BE49-F238E27FC236}">
                    <a16:creationId xmlns:a16="http://schemas.microsoft.com/office/drawing/2014/main" id="{61C0B646-D755-23B4-E853-48A1D4181CE9}"/>
                  </a:ext>
                </a:extLst>
              </p:cNvPr>
              <p:cNvPicPr/>
              <p:nvPr/>
            </p:nvPicPr>
            <p:blipFill>
              <a:blip r:embed="rId224"/>
              <a:stretch>
                <a:fillRect/>
              </a:stretch>
            </p:blipFill>
            <p:spPr>
              <a:xfrm>
                <a:off x="5993520" y="4360360"/>
                <a:ext cx="295920" cy="34920"/>
              </a:xfrm>
              <a:prstGeom prst="rect">
                <a:avLst/>
              </a:prstGeom>
            </p:spPr>
          </p:pic>
        </mc:Fallback>
      </mc:AlternateContent>
      <mc:AlternateContent xmlns:mc="http://schemas.openxmlformats.org/markup-compatibility/2006" xmlns:p14="http://schemas.microsoft.com/office/powerpoint/2010/main">
        <mc:Choice Requires="p14">
          <p:contentPart p14:bwMode="auto" r:id="rId225">
            <p14:nvContentPartPr>
              <p14:cNvPr id="28" name="Ink 27">
                <a:extLst>
                  <a:ext uri="{FF2B5EF4-FFF2-40B4-BE49-F238E27FC236}">
                    <a16:creationId xmlns:a16="http://schemas.microsoft.com/office/drawing/2014/main" id="{23D1CA9E-51D0-E059-8538-11CB7D10D714}"/>
                  </a:ext>
                </a:extLst>
              </p14:cNvPr>
              <p14:cNvContentPartPr/>
              <p14:nvPr/>
            </p14:nvContentPartPr>
            <p14:xfrm>
              <a:off x="6876960" y="4371520"/>
              <a:ext cx="153360" cy="17280"/>
            </p14:xfrm>
          </p:contentPart>
        </mc:Choice>
        <mc:Fallback xmlns="">
          <p:pic>
            <p:nvPicPr>
              <p:cNvPr id="28" name="Ink 27">
                <a:extLst>
                  <a:ext uri="{FF2B5EF4-FFF2-40B4-BE49-F238E27FC236}">
                    <a16:creationId xmlns:a16="http://schemas.microsoft.com/office/drawing/2014/main" id="{23D1CA9E-51D0-E059-8538-11CB7D10D714}"/>
                  </a:ext>
                </a:extLst>
              </p:cNvPr>
              <p:cNvPicPr/>
              <p:nvPr/>
            </p:nvPicPr>
            <p:blipFill>
              <a:blip r:embed="rId226"/>
              <a:stretch>
                <a:fillRect/>
              </a:stretch>
            </p:blipFill>
            <p:spPr>
              <a:xfrm>
                <a:off x="6861840" y="4356400"/>
                <a:ext cx="183960" cy="47880"/>
              </a:xfrm>
              <a:prstGeom prst="rect">
                <a:avLst/>
              </a:prstGeom>
            </p:spPr>
          </p:pic>
        </mc:Fallback>
      </mc:AlternateContent>
      <mc:AlternateContent xmlns:mc="http://schemas.openxmlformats.org/markup-compatibility/2006" xmlns:p14="http://schemas.microsoft.com/office/powerpoint/2010/main">
        <mc:Choice Requires="p14">
          <p:contentPart p14:bwMode="auto" r:id="rId227">
            <p14:nvContentPartPr>
              <p14:cNvPr id="36" name="Ink 35">
                <a:extLst>
                  <a:ext uri="{FF2B5EF4-FFF2-40B4-BE49-F238E27FC236}">
                    <a16:creationId xmlns:a16="http://schemas.microsoft.com/office/drawing/2014/main" id="{78A88CBC-6BAA-30A2-9A2D-5B4EEAD1893A}"/>
                  </a:ext>
                </a:extLst>
              </p14:cNvPr>
              <p14:cNvContentPartPr/>
              <p14:nvPr/>
            </p14:nvContentPartPr>
            <p14:xfrm>
              <a:off x="10100760" y="2269120"/>
              <a:ext cx="133560" cy="2016360"/>
            </p14:xfrm>
          </p:contentPart>
        </mc:Choice>
        <mc:Fallback xmlns="">
          <p:pic>
            <p:nvPicPr>
              <p:cNvPr id="36" name="Ink 35">
                <a:extLst>
                  <a:ext uri="{FF2B5EF4-FFF2-40B4-BE49-F238E27FC236}">
                    <a16:creationId xmlns:a16="http://schemas.microsoft.com/office/drawing/2014/main" id="{78A88CBC-6BAA-30A2-9A2D-5B4EEAD1893A}"/>
                  </a:ext>
                </a:extLst>
              </p:cNvPr>
              <p:cNvPicPr/>
              <p:nvPr/>
            </p:nvPicPr>
            <p:blipFill>
              <a:blip r:embed="rId228"/>
              <a:stretch>
                <a:fillRect/>
              </a:stretch>
            </p:blipFill>
            <p:spPr>
              <a:xfrm>
                <a:off x="10085280" y="2254000"/>
                <a:ext cx="163800" cy="2046960"/>
              </a:xfrm>
              <a:prstGeom prst="rect">
                <a:avLst/>
              </a:prstGeom>
            </p:spPr>
          </p:pic>
        </mc:Fallback>
      </mc:AlternateContent>
      <p:grpSp>
        <p:nvGrpSpPr>
          <p:cNvPr id="40" name="Group 39">
            <a:extLst>
              <a:ext uri="{FF2B5EF4-FFF2-40B4-BE49-F238E27FC236}">
                <a16:creationId xmlns:a16="http://schemas.microsoft.com/office/drawing/2014/main" id="{5452D138-C507-63AB-520B-F994AE2E3F0A}"/>
              </a:ext>
            </a:extLst>
          </p:cNvPr>
          <p:cNvGrpSpPr/>
          <p:nvPr/>
        </p:nvGrpSpPr>
        <p:grpSpPr>
          <a:xfrm>
            <a:off x="7910880" y="2354800"/>
            <a:ext cx="1738080" cy="2172600"/>
            <a:chOff x="7910880" y="2354800"/>
            <a:chExt cx="1738080" cy="2172600"/>
          </a:xfrm>
        </p:grpSpPr>
        <mc:AlternateContent xmlns:mc="http://schemas.openxmlformats.org/markup-compatibility/2006" xmlns:p14="http://schemas.microsoft.com/office/powerpoint/2010/main">
          <mc:Choice Requires="p14">
            <p:contentPart p14:bwMode="auto" r:id="rId229">
              <p14:nvContentPartPr>
                <p14:cNvPr id="23" name="Ink 22">
                  <a:extLst>
                    <a:ext uri="{FF2B5EF4-FFF2-40B4-BE49-F238E27FC236}">
                      <a16:creationId xmlns:a16="http://schemas.microsoft.com/office/drawing/2014/main" id="{61BFE863-779A-CC66-FD28-C8DE1DCC17F0}"/>
                    </a:ext>
                  </a:extLst>
                </p14:cNvPr>
                <p14:cNvContentPartPr/>
                <p14:nvPr/>
              </p14:nvContentPartPr>
              <p14:xfrm>
                <a:off x="8288520" y="3216640"/>
                <a:ext cx="412920" cy="46800"/>
              </p14:xfrm>
            </p:contentPart>
          </mc:Choice>
          <mc:Fallback xmlns="">
            <p:pic>
              <p:nvPicPr>
                <p:cNvPr id="23" name="Ink 22">
                  <a:extLst>
                    <a:ext uri="{FF2B5EF4-FFF2-40B4-BE49-F238E27FC236}">
                      <a16:creationId xmlns:a16="http://schemas.microsoft.com/office/drawing/2014/main" id="{61BFE863-779A-CC66-FD28-C8DE1DCC17F0}"/>
                    </a:ext>
                  </a:extLst>
                </p:cNvPr>
                <p:cNvPicPr/>
                <p:nvPr/>
              </p:nvPicPr>
              <p:blipFill>
                <a:blip r:embed="rId230"/>
                <a:stretch>
                  <a:fillRect/>
                </a:stretch>
              </p:blipFill>
              <p:spPr>
                <a:xfrm>
                  <a:off x="8273400" y="3201520"/>
                  <a:ext cx="443520" cy="77400"/>
                </a:xfrm>
                <a:prstGeom prst="rect">
                  <a:avLst/>
                </a:prstGeom>
              </p:spPr>
            </p:pic>
          </mc:Fallback>
        </mc:AlternateContent>
        <mc:AlternateContent xmlns:mc="http://schemas.openxmlformats.org/markup-compatibility/2006" xmlns:p14="http://schemas.microsoft.com/office/powerpoint/2010/main">
          <mc:Choice Requires="p14">
            <p:contentPart p14:bwMode="auto" r:id="rId231">
              <p14:nvContentPartPr>
                <p14:cNvPr id="24" name="Ink 23">
                  <a:extLst>
                    <a:ext uri="{FF2B5EF4-FFF2-40B4-BE49-F238E27FC236}">
                      <a16:creationId xmlns:a16="http://schemas.microsoft.com/office/drawing/2014/main" id="{8D5D0E6B-C912-6C8D-265B-AAFEF5638714}"/>
                    </a:ext>
                  </a:extLst>
                </p14:cNvPr>
                <p14:cNvContentPartPr/>
                <p14:nvPr/>
              </p14:nvContentPartPr>
              <p14:xfrm>
                <a:off x="9279960" y="3258040"/>
                <a:ext cx="369000" cy="48960"/>
              </p14:xfrm>
            </p:contentPart>
          </mc:Choice>
          <mc:Fallback xmlns="">
            <p:pic>
              <p:nvPicPr>
                <p:cNvPr id="24" name="Ink 23">
                  <a:extLst>
                    <a:ext uri="{FF2B5EF4-FFF2-40B4-BE49-F238E27FC236}">
                      <a16:creationId xmlns:a16="http://schemas.microsoft.com/office/drawing/2014/main" id="{8D5D0E6B-C912-6C8D-265B-AAFEF5638714}"/>
                    </a:ext>
                  </a:extLst>
                </p:cNvPr>
                <p:cNvPicPr/>
                <p:nvPr/>
              </p:nvPicPr>
              <p:blipFill>
                <a:blip r:embed="rId232"/>
                <a:stretch>
                  <a:fillRect/>
                </a:stretch>
              </p:blipFill>
              <p:spPr>
                <a:xfrm>
                  <a:off x="9264840" y="3242560"/>
                  <a:ext cx="399600" cy="79560"/>
                </a:xfrm>
                <a:prstGeom prst="rect">
                  <a:avLst/>
                </a:prstGeom>
              </p:spPr>
            </p:pic>
          </mc:Fallback>
        </mc:AlternateContent>
        <mc:AlternateContent xmlns:mc="http://schemas.openxmlformats.org/markup-compatibility/2006" xmlns:p14="http://schemas.microsoft.com/office/powerpoint/2010/main">
          <mc:Choice Requires="p14">
            <p:contentPart p14:bwMode="auto" r:id="rId233">
              <p14:nvContentPartPr>
                <p14:cNvPr id="29" name="Ink 28">
                  <a:extLst>
                    <a:ext uri="{FF2B5EF4-FFF2-40B4-BE49-F238E27FC236}">
                      <a16:creationId xmlns:a16="http://schemas.microsoft.com/office/drawing/2014/main" id="{ABB61E39-63D3-925B-B7C6-014723291CA6}"/>
                    </a:ext>
                  </a:extLst>
                </p14:cNvPr>
                <p14:cNvContentPartPr/>
                <p14:nvPr/>
              </p14:nvContentPartPr>
              <p14:xfrm>
                <a:off x="8325240" y="4347760"/>
                <a:ext cx="373320" cy="26280"/>
              </p14:xfrm>
            </p:contentPart>
          </mc:Choice>
          <mc:Fallback xmlns="">
            <p:pic>
              <p:nvPicPr>
                <p:cNvPr id="29" name="Ink 28">
                  <a:extLst>
                    <a:ext uri="{FF2B5EF4-FFF2-40B4-BE49-F238E27FC236}">
                      <a16:creationId xmlns:a16="http://schemas.microsoft.com/office/drawing/2014/main" id="{ABB61E39-63D3-925B-B7C6-014723291CA6}"/>
                    </a:ext>
                  </a:extLst>
                </p:cNvPr>
                <p:cNvPicPr/>
                <p:nvPr/>
              </p:nvPicPr>
              <p:blipFill>
                <a:blip r:embed="rId234"/>
                <a:stretch>
                  <a:fillRect/>
                </a:stretch>
              </p:blipFill>
              <p:spPr>
                <a:xfrm>
                  <a:off x="8310120" y="4332640"/>
                  <a:ext cx="403920" cy="56880"/>
                </a:xfrm>
                <a:prstGeom prst="rect">
                  <a:avLst/>
                </a:prstGeom>
              </p:spPr>
            </p:pic>
          </mc:Fallback>
        </mc:AlternateContent>
        <mc:AlternateContent xmlns:mc="http://schemas.openxmlformats.org/markup-compatibility/2006" xmlns:p14="http://schemas.microsoft.com/office/powerpoint/2010/main">
          <mc:Choice Requires="p14">
            <p:contentPart p14:bwMode="auto" r:id="rId235">
              <p14:nvContentPartPr>
                <p14:cNvPr id="30" name="Ink 29">
                  <a:extLst>
                    <a:ext uri="{FF2B5EF4-FFF2-40B4-BE49-F238E27FC236}">
                      <a16:creationId xmlns:a16="http://schemas.microsoft.com/office/drawing/2014/main" id="{8A7CA968-E27C-B11F-B0E0-77EB9ED9039B}"/>
                    </a:ext>
                  </a:extLst>
                </p14:cNvPr>
                <p14:cNvContentPartPr/>
                <p14:nvPr/>
              </p14:nvContentPartPr>
              <p14:xfrm>
                <a:off x="9211920" y="4410760"/>
                <a:ext cx="199800" cy="19440"/>
              </p14:xfrm>
            </p:contentPart>
          </mc:Choice>
          <mc:Fallback xmlns="">
            <p:pic>
              <p:nvPicPr>
                <p:cNvPr id="30" name="Ink 29">
                  <a:extLst>
                    <a:ext uri="{FF2B5EF4-FFF2-40B4-BE49-F238E27FC236}">
                      <a16:creationId xmlns:a16="http://schemas.microsoft.com/office/drawing/2014/main" id="{8A7CA968-E27C-B11F-B0E0-77EB9ED9039B}"/>
                    </a:ext>
                  </a:extLst>
                </p:cNvPr>
                <p:cNvPicPr/>
                <p:nvPr/>
              </p:nvPicPr>
              <p:blipFill>
                <a:blip r:embed="rId236"/>
                <a:stretch>
                  <a:fillRect/>
                </a:stretch>
              </p:blipFill>
              <p:spPr>
                <a:xfrm>
                  <a:off x="9196440" y="4395640"/>
                  <a:ext cx="230400" cy="49680"/>
                </a:xfrm>
                <a:prstGeom prst="rect">
                  <a:avLst/>
                </a:prstGeom>
              </p:spPr>
            </p:pic>
          </mc:Fallback>
        </mc:AlternateContent>
        <mc:AlternateContent xmlns:mc="http://schemas.openxmlformats.org/markup-compatibility/2006" xmlns:p14="http://schemas.microsoft.com/office/powerpoint/2010/main">
          <mc:Choice Requires="p14">
            <p:contentPart p14:bwMode="auto" r:id="rId237">
              <p14:nvContentPartPr>
                <p14:cNvPr id="31" name="Ink 30">
                  <a:extLst>
                    <a:ext uri="{FF2B5EF4-FFF2-40B4-BE49-F238E27FC236}">
                      <a16:creationId xmlns:a16="http://schemas.microsoft.com/office/drawing/2014/main" id="{49FFA7F6-BD5F-6106-AD22-953F6EED2FA0}"/>
                    </a:ext>
                  </a:extLst>
                </p14:cNvPr>
                <p14:cNvContentPartPr/>
                <p14:nvPr/>
              </p14:nvContentPartPr>
              <p14:xfrm>
                <a:off x="7910880" y="2354800"/>
                <a:ext cx="143640" cy="1923480"/>
              </p14:xfrm>
            </p:contentPart>
          </mc:Choice>
          <mc:Fallback xmlns="">
            <p:pic>
              <p:nvPicPr>
                <p:cNvPr id="31" name="Ink 30">
                  <a:extLst>
                    <a:ext uri="{FF2B5EF4-FFF2-40B4-BE49-F238E27FC236}">
                      <a16:creationId xmlns:a16="http://schemas.microsoft.com/office/drawing/2014/main" id="{49FFA7F6-BD5F-6106-AD22-953F6EED2FA0}"/>
                    </a:ext>
                  </a:extLst>
                </p:cNvPr>
                <p:cNvPicPr/>
                <p:nvPr/>
              </p:nvPicPr>
              <p:blipFill>
                <a:blip r:embed="rId238"/>
                <a:stretch>
                  <a:fillRect/>
                </a:stretch>
              </p:blipFill>
              <p:spPr>
                <a:xfrm>
                  <a:off x="7895760" y="2339320"/>
                  <a:ext cx="173880" cy="1954080"/>
                </a:xfrm>
                <a:prstGeom prst="rect">
                  <a:avLst/>
                </a:prstGeom>
              </p:spPr>
            </p:pic>
          </mc:Fallback>
        </mc:AlternateContent>
        <mc:AlternateContent xmlns:mc="http://schemas.openxmlformats.org/markup-compatibility/2006" xmlns:p14="http://schemas.microsoft.com/office/powerpoint/2010/main">
          <mc:Choice Requires="p14">
            <p:contentPart p14:bwMode="auto" r:id="rId239">
              <p14:nvContentPartPr>
                <p14:cNvPr id="32" name="Ink 31">
                  <a:extLst>
                    <a:ext uri="{FF2B5EF4-FFF2-40B4-BE49-F238E27FC236}">
                      <a16:creationId xmlns:a16="http://schemas.microsoft.com/office/drawing/2014/main" id="{BA1AC9E7-9B15-9291-BFFC-66EA1C4C4E06}"/>
                    </a:ext>
                  </a:extLst>
                </p14:cNvPr>
                <p14:cNvContentPartPr/>
                <p14:nvPr/>
              </p14:nvContentPartPr>
              <p14:xfrm>
                <a:off x="8823840" y="2360920"/>
                <a:ext cx="95760" cy="2166480"/>
              </p14:xfrm>
            </p:contentPart>
          </mc:Choice>
          <mc:Fallback xmlns="">
            <p:pic>
              <p:nvPicPr>
                <p:cNvPr id="32" name="Ink 31">
                  <a:extLst>
                    <a:ext uri="{FF2B5EF4-FFF2-40B4-BE49-F238E27FC236}">
                      <a16:creationId xmlns:a16="http://schemas.microsoft.com/office/drawing/2014/main" id="{BA1AC9E7-9B15-9291-BFFC-66EA1C4C4E06}"/>
                    </a:ext>
                  </a:extLst>
                </p:cNvPr>
                <p:cNvPicPr/>
                <p:nvPr/>
              </p:nvPicPr>
              <p:blipFill>
                <a:blip r:embed="rId240"/>
                <a:stretch>
                  <a:fillRect/>
                </a:stretch>
              </p:blipFill>
              <p:spPr>
                <a:xfrm>
                  <a:off x="8808720" y="2345800"/>
                  <a:ext cx="126360" cy="2197080"/>
                </a:xfrm>
                <a:prstGeom prst="rect">
                  <a:avLst/>
                </a:prstGeom>
              </p:spPr>
            </p:pic>
          </mc:Fallback>
        </mc:AlternateContent>
        <mc:AlternateContent xmlns:mc="http://schemas.openxmlformats.org/markup-compatibility/2006" xmlns:p14="http://schemas.microsoft.com/office/powerpoint/2010/main">
          <mc:Choice Requires="p14">
            <p:contentPart p14:bwMode="auto" r:id="rId241">
              <p14:nvContentPartPr>
                <p14:cNvPr id="34" name="Ink 33">
                  <a:extLst>
                    <a:ext uri="{FF2B5EF4-FFF2-40B4-BE49-F238E27FC236}">
                      <a16:creationId xmlns:a16="http://schemas.microsoft.com/office/drawing/2014/main" id="{24597A9F-4326-B702-23EC-0227557FC279}"/>
                    </a:ext>
                  </a:extLst>
                </p14:cNvPr>
                <p14:cNvContentPartPr/>
                <p14:nvPr/>
              </p14:nvContentPartPr>
              <p14:xfrm>
                <a:off x="9175200" y="2391880"/>
                <a:ext cx="99000" cy="2051280"/>
              </p14:xfrm>
            </p:contentPart>
          </mc:Choice>
          <mc:Fallback xmlns="">
            <p:pic>
              <p:nvPicPr>
                <p:cNvPr id="34" name="Ink 33">
                  <a:extLst>
                    <a:ext uri="{FF2B5EF4-FFF2-40B4-BE49-F238E27FC236}">
                      <a16:creationId xmlns:a16="http://schemas.microsoft.com/office/drawing/2014/main" id="{24597A9F-4326-B702-23EC-0227557FC279}"/>
                    </a:ext>
                  </a:extLst>
                </p:cNvPr>
                <p:cNvPicPr/>
                <p:nvPr/>
              </p:nvPicPr>
              <p:blipFill>
                <a:blip r:embed="rId242"/>
                <a:stretch>
                  <a:fillRect/>
                </a:stretch>
              </p:blipFill>
              <p:spPr>
                <a:xfrm>
                  <a:off x="9160080" y="2376760"/>
                  <a:ext cx="129600" cy="2081880"/>
                </a:xfrm>
                <a:prstGeom prst="rect">
                  <a:avLst/>
                </a:prstGeom>
              </p:spPr>
            </p:pic>
          </mc:Fallback>
        </mc:AlternateContent>
        <mc:AlternateContent xmlns:mc="http://schemas.openxmlformats.org/markup-compatibility/2006" xmlns:p14="http://schemas.microsoft.com/office/powerpoint/2010/main">
          <mc:Choice Requires="p14">
            <p:contentPart p14:bwMode="auto" r:id="rId243">
              <p14:nvContentPartPr>
                <p14:cNvPr id="37" name="Ink 36">
                  <a:extLst>
                    <a:ext uri="{FF2B5EF4-FFF2-40B4-BE49-F238E27FC236}">
                      <a16:creationId xmlns:a16="http://schemas.microsoft.com/office/drawing/2014/main" id="{DFB9A29D-16DB-9112-E8D2-AF8A65568FAB}"/>
                    </a:ext>
                  </a:extLst>
                </p14:cNvPr>
                <p14:cNvContentPartPr/>
                <p14:nvPr/>
              </p14:nvContentPartPr>
              <p14:xfrm>
                <a:off x="8980440" y="3169840"/>
                <a:ext cx="53640" cy="174600"/>
              </p14:xfrm>
            </p:contentPart>
          </mc:Choice>
          <mc:Fallback xmlns="">
            <p:pic>
              <p:nvPicPr>
                <p:cNvPr id="37" name="Ink 36">
                  <a:extLst>
                    <a:ext uri="{FF2B5EF4-FFF2-40B4-BE49-F238E27FC236}">
                      <a16:creationId xmlns:a16="http://schemas.microsoft.com/office/drawing/2014/main" id="{DFB9A29D-16DB-9112-E8D2-AF8A65568FAB}"/>
                    </a:ext>
                  </a:extLst>
                </p:cNvPr>
                <p:cNvPicPr/>
                <p:nvPr/>
              </p:nvPicPr>
              <p:blipFill>
                <a:blip r:embed="rId244"/>
                <a:stretch>
                  <a:fillRect/>
                </a:stretch>
              </p:blipFill>
              <p:spPr>
                <a:xfrm>
                  <a:off x="8964960" y="3154360"/>
                  <a:ext cx="84240" cy="205200"/>
                </a:xfrm>
                <a:prstGeom prst="rect">
                  <a:avLst/>
                </a:prstGeom>
              </p:spPr>
            </p:pic>
          </mc:Fallback>
        </mc:AlternateContent>
        <mc:AlternateContent xmlns:mc="http://schemas.openxmlformats.org/markup-compatibility/2006" xmlns:p14="http://schemas.microsoft.com/office/powerpoint/2010/main">
          <mc:Choice Requires="p14">
            <p:contentPart p14:bwMode="auto" r:id="rId245">
              <p14:nvContentPartPr>
                <p14:cNvPr id="38" name="Ink 37">
                  <a:extLst>
                    <a:ext uri="{FF2B5EF4-FFF2-40B4-BE49-F238E27FC236}">
                      <a16:creationId xmlns:a16="http://schemas.microsoft.com/office/drawing/2014/main" id="{D951ADDD-3483-58F3-5C0B-00A74E91BB92}"/>
                    </a:ext>
                  </a:extLst>
                </p14:cNvPr>
                <p14:cNvContentPartPr/>
                <p14:nvPr/>
              </p14:nvContentPartPr>
              <p14:xfrm>
                <a:off x="8953080" y="3217000"/>
                <a:ext cx="78480" cy="82800"/>
              </p14:xfrm>
            </p:contentPart>
          </mc:Choice>
          <mc:Fallback xmlns="">
            <p:pic>
              <p:nvPicPr>
                <p:cNvPr id="38" name="Ink 37">
                  <a:extLst>
                    <a:ext uri="{FF2B5EF4-FFF2-40B4-BE49-F238E27FC236}">
                      <a16:creationId xmlns:a16="http://schemas.microsoft.com/office/drawing/2014/main" id="{D951ADDD-3483-58F3-5C0B-00A74E91BB92}"/>
                    </a:ext>
                  </a:extLst>
                </p:cNvPr>
                <p:cNvPicPr/>
                <p:nvPr/>
              </p:nvPicPr>
              <p:blipFill>
                <a:blip r:embed="rId246"/>
                <a:stretch>
                  <a:fillRect/>
                </a:stretch>
              </p:blipFill>
              <p:spPr>
                <a:xfrm>
                  <a:off x="8937960" y="3201880"/>
                  <a:ext cx="109080" cy="113400"/>
                </a:xfrm>
                <a:prstGeom prst="rect">
                  <a:avLst/>
                </a:prstGeom>
              </p:spPr>
            </p:pic>
          </mc:Fallback>
        </mc:AlternateContent>
        <mc:AlternateContent xmlns:mc="http://schemas.openxmlformats.org/markup-compatibility/2006" xmlns:p14="http://schemas.microsoft.com/office/powerpoint/2010/main">
          <mc:Choice Requires="p14">
            <p:contentPart p14:bwMode="auto" r:id="rId247">
              <p14:nvContentPartPr>
                <p14:cNvPr id="39" name="Ink 38">
                  <a:extLst>
                    <a:ext uri="{FF2B5EF4-FFF2-40B4-BE49-F238E27FC236}">
                      <a16:creationId xmlns:a16="http://schemas.microsoft.com/office/drawing/2014/main" id="{4A169282-AEEA-12FA-F876-1715CBA8C8FE}"/>
                    </a:ext>
                  </a:extLst>
                </p14:cNvPr>
                <p14:cNvContentPartPr/>
                <p14:nvPr/>
              </p14:nvContentPartPr>
              <p14:xfrm>
                <a:off x="8911320" y="3255880"/>
                <a:ext cx="156600" cy="20880"/>
              </p14:xfrm>
            </p:contentPart>
          </mc:Choice>
          <mc:Fallback xmlns="">
            <p:pic>
              <p:nvPicPr>
                <p:cNvPr id="39" name="Ink 38">
                  <a:extLst>
                    <a:ext uri="{FF2B5EF4-FFF2-40B4-BE49-F238E27FC236}">
                      <a16:creationId xmlns:a16="http://schemas.microsoft.com/office/drawing/2014/main" id="{4A169282-AEEA-12FA-F876-1715CBA8C8FE}"/>
                    </a:ext>
                  </a:extLst>
                </p:cNvPr>
                <p:cNvPicPr/>
                <p:nvPr/>
              </p:nvPicPr>
              <p:blipFill>
                <a:blip r:embed="rId248"/>
                <a:stretch>
                  <a:fillRect/>
                </a:stretch>
              </p:blipFill>
              <p:spPr>
                <a:xfrm>
                  <a:off x="8896200" y="3240760"/>
                  <a:ext cx="186840" cy="5148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249">
            <p14:nvContentPartPr>
              <p14:cNvPr id="41" name="Ink 40">
                <a:extLst>
                  <a:ext uri="{FF2B5EF4-FFF2-40B4-BE49-F238E27FC236}">
                    <a16:creationId xmlns:a16="http://schemas.microsoft.com/office/drawing/2014/main" id="{5F6240E0-94FB-D9CD-5987-85BD52C55094}"/>
                  </a:ext>
                </a:extLst>
              </p14:cNvPr>
              <p14:cNvContentPartPr/>
              <p14:nvPr/>
            </p14:nvContentPartPr>
            <p14:xfrm>
              <a:off x="4350840" y="2773120"/>
              <a:ext cx="59760" cy="19800"/>
            </p14:xfrm>
          </p:contentPart>
        </mc:Choice>
        <mc:Fallback xmlns="">
          <p:pic>
            <p:nvPicPr>
              <p:cNvPr id="41" name="Ink 40">
                <a:extLst>
                  <a:ext uri="{FF2B5EF4-FFF2-40B4-BE49-F238E27FC236}">
                    <a16:creationId xmlns:a16="http://schemas.microsoft.com/office/drawing/2014/main" id="{5F6240E0-94FB-D9CD-5987-85BD52C55094}"/>
                  </a:ext>
                </a:extLst>
              </p:cNvPr>
              <p:cNvPicPr/>
              <p:nvPr/>
            </p:nvPicPr>
            <p:blipFill>
              <a:blip r:embed="rId250"/>
              <a:stretch>
                <a:fillRect/>
              </a:stretch>
            </p:blipFill>
            <p:spPr>
              <a:xfrm>
                <a:off x="4335360" y="2757640"/>
                <a:ext cx="90360" cy="50400"/>
              </a:xfrm>
              <a:prstGeom prst="rect">
                <a:avLst/>
              </a:prstGeom>
            </p:spPr>
          </p:pic>
        </mc:Fallback>
      </mc:AlternateContent>
    </p:spTree>
    <p:extLst>
      <p:ext uri="{BB962C8B-B14F-4D97-AF65-F5344CB8AC3E}">
        <p14:creationId xmlns:p14="http://schemas.microsoft.com/office/powerpoint/2010/main" val="3025588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8EB0FB4-E515-4F8E-999C-39AA25A3675F}"/>
              </a:ext>
            </a:extLst>
          </p:cNvPr>
          <p:cNvGraphicFramePr>
            <a:graphicFrameLocks noChangeAspect="1"/>
          </p:cNvGraphicFramePr>
          <p:nvPr>
            <p:custDataLst>
              <p:tags r:id="rId1"/>
            </p:custDataLst>
            <p:extLst>
              <p:ext uri="{D42A27DB-BD31-4B8C-83A1-F6EECF244321}">
                <p14:modId xmlns:p14="http://schemas.microsoft.com/office/powerpoint/2010/main" val="2579560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78EB0FB4-E515-4F8E-999C-39AA25A367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6CB6EFF1-42A9-4009-9B71-85BAFC87E65A}"/>
              </a:ext>
            </a:extLst>
          </p:cNvPr>
          <p:cNvGrpSpPr/>
          <p:nvPr/>
        </p:nvGrpSpPr>
        <p:grpSpPr>
          <a:xfrm>
            <a:off x="0" y="0"/>
            <a:ext cx="12192000" cy="6858000"/>
            <a:chOff x="0" y="0"/>
            <a:chExt cx="12192000" cy="6858000"/>
          </a:xfrm>
        </p:grpSpPr>
        <p:pic>
          <p:nvPicPr>
            <p:cNvPr id="5" name="Picture 4">
              <a:extLst>
                <a:ext uri="{FF2B5EF4-FFF2-40B4-BE49-F238E27FC236}">
                  <a16:creationId xmlns:a16="http://schemas.microsoft.com/office/drawing/2014/main" id="{57F2A394-0FDA-4663-9ACA-1A152E0EF7F8}"/>
                </a:ext>
              </a:extLst>
            </p:cNvPr>
            <p:cNvPicPr>
              <a:picLocks noChangeAspect="1"/>
            </p:cNvPicPr>
            <p:nvPr/>
          </p:nvPicPr>
          <p:blipFill>
            <a:blip r:embed="rId5"/>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4DD5C3DD-C5E0-4EAA-8C67-C7A2E7D10896}"/>
                </a:ext>
              </a:extLst>
            </p:cNvPr>
            <p:cNvSpPr/>
            <p:nvPr/>
          </p:nvSpPr>
          <p:spPr>
            <a:xfrm>
              <a:off x="11427913" y="6119533"/>
              <a:ext cx="715766" cy="6116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6312779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160FAE-98C4-4E41-A4D2-9ED6F06CD4BB}"/>
              </a:ext>
            </a:extLst>
          </p:cNvPr>
          <p:cNvGraphicFramePr>
            <a:graphicFrameLocks noChangeAspect="1"/>
          </p:cNvGraphicFramePr>
          <p:nvPr>
            <p:custDataLst>
              <p:tags r:id="rId1"/>
            </p:custDataLst>
            <p:extLst>
              <p:ext uri="{D42A27DB-BD31-4B8C-83A1-F6EECF244321}">
                <p14:modId xmlns:p14="http://schemas.microsoft.com/office/powerpoint/2010/main" val="1381003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30160FAE-98C4-4E41-A4D2-9ED6F06CD4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6B8166F4-60DF-4C18-992B-22E35D1B52C5}"/>
              </a:ext>
            </a:extLst>
          </p:cNvPr>
          <p:cNvSpPr>
            <a:spLocks noGrp="1"/>
          </p:cNvSpPr>
          <p:nvPr>
            <p:ph idx="1"/>
          </p:nvPr>
        </p:nvSpPr>
        <p:spPr>
          <a:xfrm>
            <a:off x="838200" y="1178353"/>
            <a:ext cx="10515600" cy="4351338"/>
          </a:xfrm>
        </p:spPr>
        <p:txBody>
          <a:bodyPr anchor="ctr">
            <a:normAutofit/>
          </a:bodyPr>
          <a:lstStyle/>
          <a:p>
            <a:pPr marL="0" indent="0" algn="ctr">
              <a:buNone/>
            </a:pPr>
            <a:r>
              <a:rPr lang="en-US" sz="7200" dirty="0"/>
              <a:t>APPENDIX</a:t>
            </a:r>
          </a:p>
        </p:txBody>
      </p:sp>
    </p:spTree>
    <p:extLst>
      <p:ext uri="{BB962C8B-B14F-4D97-AF65-F5344CB8AC3E}">
        <p14:creationId xmlns:p14="http://schemas.microsoft.com/office/powerpoint/2010/main" val="28977962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F5E603-548B-4576-BBB6-A50532C3D2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D9F5E603-548B-4576-BBB6-A50532C3D2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47637" y="92147"/>
            <a:ext cx="11896725" cy="615950"/>
          </a:xfrm>
        </p:spPr>
        <p:txBody>
          <a:bodyPr vert="horz">
            <a:normAutofit fontScale="90000"/>
          </a:bodyPr>
          <a:lstStyle/>
          <a:p>
            <a:r>
              <a:rPr lang="en-US" b="1" dirty="0">
                <a:solidFill>
                  <a:schemeClr val="accent1"/>
                </a:solidFill>
              </a:rPr>
              <a:t>Word2vec – </a:t>
            </a:r>
            <a:r>
              <a:rPr lang="en-US" dirty="0">
                <a:solidFill>
                  <a:schemeClr val="accent1"/>
                </a:solidFill>
              </a:rPr>
              <a:t>Skip-gram Model</a:t>
            </a:r>
          </a:p>
        </p:txBody>
      </p:sp>
      <p:sp>
        <p:nvSpPr>
          <p:cNvPr id="23" name="TextBox 22">
            <a:extLst>
              <a:ext uri="{FF2B5EF4-FFF2-40B4-BE49-F238E27FC236}">
                <a16:creationId xmlns:a16="http://schemas.microsoft.com/office/drawing/2014/main" id="{FFADDA99-A930-450E-85FA-9566F393FF4A}"/>
              </a:ext>
            </a:extLst>
          </p:cNvPr>
          <p:cNvSpPr txBox="1"/>
          <p:nvPr/>
        </p:nvSpPr>
        <p:spPr>
          <a:xfrm>
            <a:off x="2613915" y="6156324"/>
            <a:ext cx="8134233" cy="400110"/>
          </a:xfrm>
          <a:prstGeom prst="rect">
            <a:avLst/>
          </a:prstGeom>
          <a:noFill/>
        </p:spPr>
        <p:txBody>
          <a:bodyPr wrap="square">
            <a:spAutoFit/>
          </a:bodyPr>
          <a:lstStyle/>
          <a:p>
            <a:pPr algn="l">
              <a:buClr>
                <a:srgbClr val="3A6008"/>
              </a:buClr>
            </a:pPr>
            <a:r>
              <a:rPr lang="en-US" altLang="en-US" sz="2000" i="1" dirty="0"/>
              <a:t>Sliding window parameter</a:t>
            </a:r>
            <a:endParaRPr lang="en-US" altLang="en-US" sz="2000" b="1" i="1" dirty="0"/>
          </a:p>
        </p:txBody>
      </p:sp>
      <p:pic>
        <p:nvPicPr>
          <p:cNvPr id="4" name="Picture 3">
            <a:extLst>
              <a:ext uri="{FF2B5EF4-FFF2-40B4-BE49-F238E27FC236}">
                <a16:creationId xmlns:a16="http://schemas.microsoft.com/office/drawing/2014/main" id="{4E2A864E-FAE8-4CD2-B118-A72F8584906B}"/>
              </a:ext>
            </a:extLst>
          </p:cNvPr>
          <p:cNvPicPr>
            <a:picLocks noChangeAspect="1"/>
          </p:cNvPicPr>
          <p:nvPr/>
        </p:nvPicPr>
        <p:blipFill>
          <a:blip r:embed="rId6"/>
          <a:stretch>
            <a:fillRect/>
          </a:stretch>
        </p:blipFill>
        <p:spPr>
          <a:xfrm>
            <a:off x="924675" y="821932"/>
            <a:ext cx="10541285" cy="5041201"/>
          </a:xfrm>
          <a:prstGeom prst="rect">
            <a:avLst/>
          </a:prstGeom>
        </p:spPr>
      </p:pic>
    </p:spTree>
    <p:extLst>
      <p:ext uri="{BB962C8B-B14F-4D97-AF65-F5344CB8AC3E}">
        <p14:creationId xmlns:p14="http://schemas.microsoft.com/office/powerpoint/2010/main" val="42332470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F5E603-548B-4576-BBB6-A50532C3D243}"/>
              </a:ext>
            </a:extLst>
          </p:cNvPr>
          <p:cNvGraphicFramePr>
            <a:graphicFrameLocks noChangeAspect="1"/>
          </p:cNvGraphicFramePr>
          <p:nvPr>
            <p:custDataLst>
              <p:tags r:id="rId1"/>
            </p:custDataLst>
            <p:extLst>
              <p:ext uri="{D42A27DB-BD31-4B8C-83A1-F6EECF244321}">
                <p14:modId xmlns:p14="http://schemas.microsoft.com/office/powerpoint/2010/main" val="1857573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D9F5E603-548B-4576-BBB6-A50532C3D2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47637" y="92147"/>
            <a:ext cx="11896725" cy="615950"/>
          </a:xfrm>
        </p:spPr>
        <p:txBody>
          <a:bodyPr vert="horz">
            <a:normAutofit fontScale="90000"/>
          </a:bodyPr>
          <a:lstStyle/>
          <a:p>
            <a:r>
              <a:rPr lang="en-US" b="1" dirty="0">
                <a:solidFill>
                  <a:schemeClr val="accent1"/>
                </a:solidFill>
              </a:rPr>
              <a:t>Word Embeddings – </a:t>
            </a:r>
            <a:r>
              <a:rPr lang="en-US" dirty="0">
                <a:solidFill>
                  <a:schemeClr val="accent1"/>
                </a:solidFill>
              </a:rPr>
              <a:t>One Hot representation of words</a:t>
            </a:r>
          </a:p>
        </p:txBody>
      </p:sp>
      <p:pic>
        <p:nvPicPr>
          <p:cNvPr id="17" name="Picture 16">
            <a:extLst>
              <a:ext uri="{FF2B5EF4-FFF2-40B4-BE49-F238E27FC236}">
                <a16:creationId xmlns:a16="http://schemas.microsoft.com/office/drawing/2014/main" id="{35FCABD3-2B0F-4627-A7DE-900F6EBBD725}"/>
              </a:ext>
            </a:extLst>
          </p:cNvPr>
          <p:cNvPicPr>
            <a:picLocks noChangeAspect="1"/>
          </p:cNvPicPr>
          <p:nvPr/>
        </p:nvPicPr>
        <p:blipFill>
          <a:blip r:embed="rId6"/>
          <a:stretch>
            <a:fillRect/>
          </a:stretch>
        </p:blipFill>
        <p:spPr>
          <a:xfrm>
            <a:off x="1979514" y="705002"/>
            <a:ext cx="8409184" cy="4711975"/>
          </a:xfrm>
          <a:prstGeom prst="rect">
            <a:avLst/>
          </a:prstGeom>
        </p:spPr>
      </p:pic>
      <p:sp>
        <p:nvSpPr>
          <p:cNvPr id="18" name="TextBox 17">
            <a:extLst>
              <a:ext uri="{FF2B5EF4-FFF2-40B4-BE49-F238E27FC236}">
                <a16:creationId xmlns:a16="http://schemas.microsoft.com/office/drawing/2014/main" id="{4425FF8B-756D-49D7-87E3-5408603CACE1}"/>
              </a:ext>
            </a:extLst>
          </p:cNvPr>
          <p:cNvSpPr txBox="1"/>
          <p:nvPr/>
        </p:nvSpPr>
        <p:spPr>
          <a:xfrm>
            <a:off x="323850" y="5416977"/>
            <a:ext cx="11720512" cy="1015663"/>
          </a:xfrm>
          <a:prstGeom prst="rect">
            <a:avLst/>
          </a:prstGeom>
          <a:noFill/>
        </p:spPr>
        <p:txBody>
          <a:bodyPr wrap="square">
            <a:spAutoFit/>
          </a:bodyPr>
          <a:lstStyle/>
          <a:p>
            <a:pPr marL="457200" indent="-457200" algn="l">
              <a:buClr>
                <a:srgbClr val="3A6008"/>
              </a:buClr>
              <a:buFont typeface="+mj-lt"/>
              <a:buAutoNum type="arabicPeriod"/>
            </a:pPr>
            <a:r>
              <a:rPr lang="en-US" altLang="en-US" sz="2000" dirty="0"/>
              <a:t>Difficult to generalize the model from above since If we train a model on orange juice even then for apple juice (which is similar semantic meaning) we will have to follow the same process</a:t>
            </a:r>
          </a:p>
          <a:p>
            <a:pPr marL="457200" indent="-457200" algn="l">
              <a:buClr>
                <a:srgbClr val="3A6008"/>
              </a:buClr>
              <a:buFont typeface="+mj-lt"/>
              <a:buAutoNum type="arabicPeriod"/>
            </a:pPr>
            <a:r>
              <a:rPr lang="en-US" altLang="en-US" sz="2000" dirty="0"/>
              <a:t>Also, the product of Apple and orange (or any two vectors) above is 0</a:t>
            </a:r>
          </a:p>
        </p:txBody>
      </p:sp>
      <p:pic>
        <p:nvPicPr>
          <p:cNvPr id="4" name="Picture 3">
            <a:extLst>
              <a:ext uri="{FF2B5EF4-FFF2-40B4-BE49-F238E27FC236}">
                <a16:creationId xmlns:a16="http://schemas.microsoft.com/office/drawing/2014/main" id="{774A3080-6FA9-48BE-A7F6-B50B34752B9A}"/>
              </a:ext>
            </a:extLst>
          </p:cNvPr>
          <p:cNvPicPr>
            <a:picLocks noChangeAspect="1"/>
          </p:cNvPicPr>
          <p:nvPr/>
        </p:nvPicPr>
        <p:blipFill>
          <a:blip r:embed="rId7"/>
          <a:stretch>
            <a:fillRect/>
          </a:stretch>
        </p:blipFill>
        <p:spPr>
          <a:xfrm>
            <a:off x="0" y="0"/>
            <a:ext cx="12192000" cy="6858000"/>
          </a:xfrm>
          <a:prstGeom prst="rect">
            <a:avLst/>
          </a:prstGeom>
        </p:spPr>
      </p:pic>
    </p:spTree>
    <p:extLst>
      <p:ext uri="{BB962C8B-B14F-4D97-AF65-F5344CB8AC3E}">
        <p14:creationId xmlns:p14="http://schemas.microsoft.com/office/powerpoint/2010/main" val="34972841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F5E603-548B-4576-BBB6-A50532C3D2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D9F5E603-548B-4576-BBB6-A50532C3D2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47637" y="92147"/>
            <a:ext cx="11896725" cy="615950"/>
          </a:xfrm>
        </p:spPr>
        <p:txBody>
          <a:bodyPr vert="horz">
            <a:normAutofit fontScale="90000"/>
          </a:bodyPr>
          <a:lstStyle/>
          <a:p>
            <a:r>
              <a:rPr lang="en-US" b="1" dirty="0">
                <a:solidFill>
                  <a:schemeClr val="accent1"/>
                </a:solidFill>
              </a:rPr>
              <a:t>Word Embeddings – </a:t>
            </a:r>
            <a:r>
              <a:rPr lang="en-US" dirty="0">
                <a:solidFill>
                  <a:schemeClr val="accent1"/>
                </a:solidFill>
              </a:rPr>
              <a:t>Feature representation of words</a:t>
            </a:r>
          </a:p>
        </p:txBody>
      </p:sp>
      <p:sp>
        <p:nvSpPr>
          <p:cNvPr id="18" name="TextBox 17">
            <a:extLst>
              <a:ext uri="{FF2B5EF4-FFF2-40B4-BE49-F238E27FC236}">
                <a16:creationId xmlns:a16="http://schemas.microsoft.com/office/drawing/2014/main" id="{4425FF8B-756D-49D7-87E3-5408603CACE1}"/>
              </a:ext>
            </a:extLst>
          </p:cNvPr>
          <p:cNvSpPr txBox="1"/>
          <p:nvPr/>
        </p:nvSpPr>
        <p:spPr>
          <a:xfrm>
            <a:off x="471488" y="5591793"/>
            <a:ext cx="11720512" cy="830997"/>
          </a:xfrm>
          <a:prstGeom prst="rect">
            <a:avLst/>
          </a:prstGeom>
          <a:noFill/>
        </p:spPr>
        <p:txBody>
          <a:bodyPr wrap="square">
            <a:spAutoFit/>
          </a:bodyPr>
          <a:lstStyle/>
          <a:p>
            <a:pPr algn="l">
              <a:buClr>
                <a:srgbClr val="3A6008"/>
              </a:buClr>
            </a:pPr>
            <a:r>
              <a:rPr lang="en-US" altLang="en-US" sz="2400" dirty="0"/>
              <a:t>The each of the vector is called embeddings since they are embedded into a 300-dimensional vector space</a:t>
            </a:r>
          </a:p>
        </p:txBody>
      </p:sp>
      <p:pic>
        <p:nvPicPr>
          <p:cNvPr id="7" name="Picture 6">
            <a:extLst>
              <a:ext uri="{FF2B5EF4-FFF2-40B4-BE49-F238E27FC236}">
                <a16:creationId xmlns:a16="http://schemas.microsoft.com/office/drawing/2014/main" id="{755F9FF8-AC18-4D0D-9C06-8C8AE6902382}"/>
              </a:ext>
            </a:extLst>
          </p:cNvPr>
          <p:cNvPicPr>
            <a:picLocks noChangeAspect="1"/>
          </p:cNvPicPr>
          <p:nvPr/>
        </p:nvPicPr>
        <p:blipFill>
          <a:blip r:embed="rId6"/>
          <a:stretch>
            <a:fillRect/>
          </a:stretch>
        </p:blipFill>
        <p:spPr>
          <a:xfrm>
            <a:off x="1497687" y="849327"/>
            <a:ext cx="8373440" cy="4734515"/>
          </a:xfrm>
          <a:prstGeom prst="rect">
            <a:avLst/>
          </a:prstGeom>
        </p:spPr>
      </p:pic>
    </p:spTree>
    <p:extLst>
      <p:ext uri="{BB962C8B-B14F-4D97-AF65-F5344CB8AC3E}">
        <p14:creationId xmlns:p14="http://schemas.microsoft.com/office/powerpoint/2010/main" val="17027351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F5E603-548B-4576-BBB6-A50532C3D243}"/>
              </a:ext>
            </a:extLst>
          </p:cNvPr>
          <p:cNvGraphicFramePr>
            <a:graphicFrameLocks noChangeAspect="1"/>
          </p:cNvGraphicFramePr>
          <p:nvPr>
            <p:custDataLst>
              <p:tags r:id="rId1"/>
            </p:custDataLst>
            <p:extLst>
              <p:ext uri="{D42A27DB-BD31-4B8C-83A1-F6EECF244321}">
                <p14:modId xmlns:p14="http://schemas.microsoft.com/office/powerpoint/2010/main" val="1752829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D9F5E603-548B-4576-BBB6-A50532C3D2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47637" y="92146"/>
            <a:ext cx="12044363" cy="1058559"/>
          </a:xfrm>
        </p:spPr>
        <p:txBody>
          <a:bodyPr vert="horz">
            <a:normAutofit fontScale="90000"/>
          </a:bodyPr>
          <a:lstStyle/>
          <a:p>
            <a:r>
              <a:rPr lang="en-US" b="1" dirty="0">
                <a:solidFill>
                  <a:schemeClr val="accent1"/>
                </a:solidFill>
              </a:rPr>
              <a:t>Word Embeddings – </a:t>
            </a:r>
            <a:r>
              <a:rPr lang="en-US" dirty="0">
                <a:solidFill>
                  <a:schemeClr val="accent1"/>
                </a:solidFill>
              </a:rPr>
              <a:t>How do we see semantic relationship Properties (Analogies using word </a:t>
            </a:r>
            <a:r>
              <a:rPr lang="en-US" dirty="0" err="1">
                <a:solidFill>
                  <a:schemeClr val="accent1"/>
                </a:solidFill>
              </a:rPr>
              <a:t>vec</a:t>
            </a:r>
            <a:r>
              <a:rPr lang="en-US" dirty="0">
                <a:solidFill>
                  <a:schemeClr val="accent1"/>
                </a:solidFill>
              </a:rPr>
              <a:t>)</a:t>
            </a:r>
          </a:p>
        </p:txBody>
      </p:sp>
      <p:pic>
        <p:nvPicPr>
          <p:cNvPr id="8" name="Picture 7">
            <a:extLst>
              <a:ext uri="{FF2B5EF4-FFF2-40B4-BE49-F238E27FC236}">
                <a16:creationId xmlns:a16="http://schemas.microsoft.com/office/drawing/2014/main" id="{C586F807-B5E7-484A-A5EF-9B618820B02A}"/>
              </a:ext>
            </a:extLst>
          </p:cNvPr>
          <p:cNvPicPr>
            <a:picLocks noChangeAspect="1"/>
          </p:cNvPicPr>
          <p:nvPr/>
        </p:nvPicPr>
        <p:blipFill>
          <a:blip r:embed="rId6"/>
          <a:stretch>
            <a:fillRect/>
          </a:stretch>
        </p:blipFill>
        <p:spPr>
          <a:xfrm>
            <a:off x="205484" y="1355366"/>
            <a:ext cx="5857925" cy="3309099"/>
          </a:xfrm>
          <a:prstGeom prst="rect">
            <a:avLst/>
          </a:prstGeom>
        </p:spPr>
      </p:pic>
      <p:sp>
        <p:nvSpPr>
          <p:cNvPr id="14" name="TextBox 13">
            <a:extLst>
              <a:ext uri="{FF2B5EF4-FFF2-40B4-BE49-F238E27FC236}">
                <a16:creationId xmlns:a16="http://schemas.microsoft.com/office/drawing/2014/main" id="{6E3CD9DD-2BB2-470D-9678-31654B8EDE3B}"/>
              </a:ext>
            </a:extLst>
          </p:cNvPr>
          <p:cNvSpPr txBox="1"/>
          <p:nvPr/>
        </p:nvSpPr>
        <p:spPr>
          <a:xfrm>
            <a:off x="1485149" y="4664465"/>
            <a:ext cx="9395502" cy="707886"/>
          </a:xfrm>
          <a:prstGeom prst="rect">
            <a:avLst/>
          </a:prstGeom>
          <a:noFill/>
        </p:spPr>
        <p:txBody>
          <a:bodyPr wrap="square">
            <a:spAutoFit/>
          </a:bodyPr>
          <a:lstStyle/>
          <a:p>
            <a:pPr algn="l">
              <a:buClr>
                <a:srgbClr val="3A6008"/>
              </a:buClr>
            </a:pPr>
            <a:r>
              <a:rPr lang="en-US" altLang="en-US" sz="2000" i="1" dirty="0"/>
              <a:t>Left side equal to right side – If man – woman then king – </a:t>
            </a:r>
            <a:r>
              <a:rPr lang="en-US" altLang="en-US" sz="2000" b="1" i="1" dirty="0"/>
              <a:t>what?? (difference in gender)</a:t>
            </a:r>
          </a:p>
          <a:p>
            <a:pPr algn="l">
              <a:buClr>
                <a:srgbClr val="3A6008"/>
              </a:buClr>
            </a:pPr>
            <a:r>
              <a:rPr lang="en-US" altLang="en-US" sz="2000" b="1" i="1" dirty="0"/>
              <a:t>Algorithm – </a:t>
            </a:r>
            <a:r>
              <a:rPr lang="en-US" altLang="en-US" sz="2000" i="1" dirty="0"/>
              <a:t>Similarity/distance</a:t>
            </a:r>
            <a:endParaRPr lang="en-US" altLang="en-US" sz="2000" b="1" i="1" dirty="0"/>
          </a:p>
        </p:txBody>
      </p:sp>
      <p:pic>
        <p:nvPicPr>
          <p:cNvPr id="24" name="Picture 23">
            <a:extLst>
              <a:ext uri="{FF2B5EF4-FFF2-40B4-BE49-F238E27FC236}">
                <a16:creationId xmlns:a16="http://schemas.microsoft.com/office/drawing/2014/main" id="{06486009-6307-4D67-9812-CB95EF8082C8}"/>
              </a:ext>
            </a:extLst>
          </p:cNvPr>
          <p:cNvPicPr>
            <a:picLocks noChangeAspect="1"/>
          </p:cNvPicPr>
          <p:nvPr/>
        </p:nvPicPr>
        <p:blipFill>
          <a:blip r:embed="rId7"/>
          <a:stretch>
            <a:fillRect/>
          </a:stretch>
        </p:blipFill>
        <p:spPr>
          <a:xfrm>
            <a:off x="6182900" y="1355366"/>
            <a:ext cx="5867625" cy="3309099"/>
          </a:xfrm>
          <a:prstGeom prst="rect">
            <a:avLst/>
          </a:prstGeom>
        </p:spPr>
      </p:pic>
      <p:pic>
        <p:nvPicPr>
          <p:cNvPr id="28" name="Picture 27">
            <a:extLst>
              <a:ext uri="{FF2B5EF4-FFF2-40B4-BE49-F238E27FC236}">
                <a16:creationId xmlns:a16="http://schemas.microsoft.com/office/drawing/2014/main" id="{D887BAF5-BBD6-4766-8A01-6E05150B2552}"/>
              </a:ext>
            </a:extLst>
          </p:cNvPr>
          <p:cNvPicPr>
            <a:picLocks noChangeAspect="1"/>
          </p:cNvPicPr>
          <p:nvPr/>
        </p:nvPicPr>
        <p:blipFill>
          <a:blip r:embed="rId8"/>
          <a:stretch>
            <a:fillRect/>
          </a:stretch>
        </p:blipFill>
        <p:spPr>
          <a:xfrm>
            <a:off x="5060955" y="5106257"/>
            <a:ext cx="6772776" cy="1520574"/>
          </a:xfrm>
          <a:prstGeom prst="rect">
            <a:avLst/>
          </a:prstGeom>
        </p:spPr>
      </p:pic>
    </p:spTree>
    <p:extLst>
      <p:ext uri="{BB962C8B-B14F-4D97-AF65-F5344CB8AC3E}">
        <p14:creationId xmlns:p14="http://schemas.microsoft.com/office/powerpoint/2010/main" val="20633286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F5E603-548B-4576-BBB6-A50532C3D243}"/>
              </a:ext>
            </a:extLst>
          </p:cNvPr>
          <p:cNvGraphicFramePr>
            <a:graphicFrameLocks noChangeAspect="1"/>
          </p:cNvGraphicFramePr>
          <p:nvPr>
            <p:custDataLst>
              <p:tags r:id="rId1"/>
            </p:custDataLst>
            <p:extLst>
              <p:ext uri="{D42A27DB-BD31-4B8C-83A1-F6EECF244321}">
                <p14:modId xmlns:p14="http://schemas.microsoft.com/office/powerpoint/2010/main" val="3930241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D9F5E603-548B-4576-BBB6-A50532C3D2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47637" y="92147"/>
            <a:ext cx="11896725" cy="615950"/>
          </a:xfrm>
        </p:spPr>
        <p:txBody>
          <a:bodyPr vert="horz">
            <a:normAutofit fontScale="90000"/>
          </a:bodyPr>
          <a:lstStyle/>
          <a:p>
            <a:r>
              <a:rPr lang="en-US" b="1" dirty="0">
                <a:solidFill>
                  <a:schemeClr val="accent1"/>
                </a:solidFill>
              </a:rPr>
              <a:t>Word Embeddings – </a:t>
            </a:r>
            <a:r>
              <a:rPr lang="en-US" dirty="0">
                <a:solidFill>
                  <a:schemeClr val="accent1"/>
                </a:solidFill>
              </a:rPr>
              <a:t>Embedding Matrix to Layer</a:t>
            </a:r>
          </a:p>
        </p:txBody>
      </p:sp>
      <p:sp>
        <p:nvSpPr>
          <p:cNvPr id="10" name="TextBox 9">
            <a:extLst>
              <a:ext uri="{FF2B5EF4-FFF2-40B4-BE49-F238E27FC236}">
                <a16:creationId xmlns:a16="http://schemas.microsoft.com/office/drawing/2014/main" id="{0AA6D076-EB31-4A88-B4B8-1B52301DFD0C}"/>
              </a:ext>
            </a:extLst>
          </p:cNvPr>
          <p:cNvSpPr txBox="1"/>
          <p:nvPr/>
        </p:nvSpPr>
        <p:spPr>
          <a:xfrm>
            <a:off x="204788" y="865525"/>
            <a:ext cx="11720512" cy="400110"/>
          </a:xfrm>
          <a:prstGeom prst="rect">
            <a:avLst/>
          </a:prstGeom>
          <a:noFill/>
        </p:spPr>
        <p:txBody>
          <a:bodyPr wrap="square">
            <a:spAutoFit/>
          </a:bodyPr>
          <a:lstStyle/>
          <a:p>
            <a:pPr marL="0" indent="0" algn="l">
              <a:buClr>
                <a:srgbClr val="3A6008"/>
              </a:buClr>
            </a:pPr>
            <a:r>
              <a:rPr lang="en-US" altLang="en-US" sz="2000" b="1" dirty="0"/>
              <a:t>Vocabulary Size – </a:t>
            </a:r>
            <a:r>
              <a:rPr lang="en-US" altLang="en-US" sz="2000" dirty="0"/>
              <a:t>10000 words (one of parameters in the model). We can choose any size of vocabulary </a:t>
            </a:r>
          </a:p>
        </p:txBody>
      </p:sp>
      <p:pic>
        <p:nvPicPr>
          <p:cNvPr id="17" name="Picture 16">
            <a:extLst>
              <a:ext uri="{FF2B5EF4-FFF2-40B4-BE49-F238E27FC236}">
                <a16:creationId xmlns:a16="http://schemas.microsoft.com/office/drawing/2014/main" id="{1F35CF3F-9AE6-42CC-A955-02B06CF7CE90}"/>
              </a:ext>
            </a:extLst>
          </p:cNvPr>
          <p:cNvPicPr>
            <a:picLocks noChangeAspect="1"/>
          </p:cNvPicPr>
          <p:nvPr/>
        </p:nvPicPr>
        <p:blipFill>
          <a:blip r:embed="rId6"/>
          <a:stretch>
            <a:fillRect/>
          </a:stretch>
        </p:blipFill>
        <p:spPr>
          <a:xfrm>
            <a:off x="1563175" y="1242174"/>
            <a:ext cx="8321801" cy="4691173"/>
          </a:xfrm>
          <a:prstGeom prst="rect">
            <a:avLst/>
          </a:prstGeom>
        </p:spPr>
      </p:pic>
      <p:sp>
        <p:nvSpPr>
          <p:cNvPr id="19" name="TextBox 18">
            <a:extLst>
              <a:ext uri="{FF2B5EF4-FFF2-40B4-BE49-F238E27FC236}">
                <a16:creationId xmlns:a16="http://schemas.microsoft.com/office/drawing/2014/main" id="{58A59DC6-D3D0-4BB1-93BC-9ECA02D2F6F8}"/>
              </a:ext>
            </a:extLst>
          </p:cNvPr>
          <p:cNvSpPr txBox="1"/>
          <p:nvPr/>
        </p:nvSpPr>
        <p:spPr>
          <a:xfrm>
            <a:off x="1146102" y="5972153"/>
            <a:ext cx="9395502" cy="400110"/>
          </a:xfrm>
          <a:prstGeom prst="rect">
            <a:avLst/>
          </a:prstGeom>
          <a:noFill/>
        </p:spPr>
        <p:txBody>
          <a:bodyPr wrap="square">
            <a:spAutoFit/>
          </a:bodyPr>
          <a:lstStyle/>
          <a:p>
            <a:pPr algn="l">
              <a:buClr>
                <a:srgbClr val="3A6008"/>
              </a:buClr>
            </a:pPr>
            <a:r>
              <a:rPr lang="en-US" altLang="en-US" sz="2000" i="1" dirty="0"/>
              <a:t>We use </a:t>
            </a:r>
            <a:r>
              <a:rPr lang="en-US" altLang="en-US" sz="2000" b="1" i="1" dirty="0"/>
              <a:t>embedding function</a:t>
            </a:r>
            <a:r>
              <a:rPr lang="en-US" altLang="en-US" sz="2000" i="1" dirty="0"/>
              <a:t> in </a:t>
            </a:r>
            <a:r>
              <a:rPr lang="en-US" altLang="en-US" sz="2000" b="1" i="1" dirty="0" err="1"/>
              <a:t>Keras</a:t>
            </a:r>
            <a:r>
              <a:rPr lang="en-US" altLang="en-US" sz="2000" i="1" dirty="0"/>
              <a:t> to do the matrix vector multiplication operation</a:t>
            </a:r>
            <a:endParaRPr lang="en-US" altLang="en-US" sz="2000" b="1" i="1" dirty="0"/>
          </a:p>
        </p:txBody>
      </p:sp>
      <mc:AlternateContent xmlns:mc="http://schemas.openxmlformats.org/markup-compatibility/2006" xmlns:p14="http://schemas.microsoft.com/office/powerpoint/2010/main">
        <mc:Choice Requires="p14">
          <p:contentPart p14:bwMode="auto" r:id="rId7">
            <p14:nvContentPartPr>
              <p14:cNvPr id="62" name="Ink 61">
                <a:extLst>
                  <a:ext uri="{FF2B5EF4-FFF2-40B4-BE49-F238E27FC236}">
                    <a16:creationId xmlns:a16="http://schemas.microsoft.com/office/drawing/2014/main" id="{5A73AFE3-4D88-E9A0-C769-149FB21562BE}"/>
                  </a:ext>
                </a:extLst>
              </p14:cNvPr>
              <p14:cNvContentPartPr/>
              <p14:nvPr/>
            </p14:nvContentPartPr>
            <p14:xfrm>
              <a:off x="2489120" y="732280"/>
              <a:ext cx="187920" cy="99360"/>
            </p14:xfrm>
          </p:contentPart>
        </mc:Choice>
        <mc:Fallback xmlns="">
          <p:pic>
            <p:nvPicPr>
              <p:cNvPr id="62" name="Ink 61">
                <a:extLst>
                  <a:ext uri="{FF2B5EF4-FFF2-40B4-BE49-F238E27FC236}">
                    <a16:creationId xmlns:a16="http://schemas.microsoft.com/office/drawing/2014/main" id="{5A73AFE3-4D88-E9A0-C769-149FB21562BE}"/>
                  </a:ext>
                </a:extLst>
              </p:cNvPr>
              <p:cNvPicPr/>
              <p:nvPr/>
            </p:nvPicPr>
            <p:blipFill>
              <a:blip r:embed="rId438"/>
              <a:stretch>
                <a:fillRect/>
              </a:stretch>
            </p:blipFill>
            <p:spPr>
              <a:xfrm>
                <a:off x="2474000" y="717160"/>
                <a:ext cx="218160" cy="129960"/>
              </a:xfrm>
              <a:prstGeom prst="rect">
                <a:avLst/>
              </a:prstGeom>
            </p:spPr>
          </p:pic>
        </mc:Fallback>
      </mc:AlternateContent>
      <mc:AlternateContent xmlns:mc="http://schemas.openxmlformats.org/markup-compatibility/2006" xmlns:p14="http://schemas.microsoft.com/office/powerpoint/2010/main">
        <mc:Choice Requires="p14">
          <p:contentPart p14:bwMode="auto" r:id="rId439">
            <p14:nvContentPartPr>
              <p14:cNvPr id="51" name="Ink 50">
                <a:extLst>
                  <a:ext uri="{FF2B5EF4-FFF2-40B4-BE49-F238E27FC236}">
                    <a16:creationId xmlns:a16="http://schemas.microsoft.com/office/drawing/2014/main" id="{422B9B79-2316-742F-B4B4-79FA9CFA51DD}"/>
                  </a:ext>
                </a:extLst>
              </p14:cNvPr>
              <p14:cNvContentPartPr/>
              <p14:nvPr/>
            </p14:nvContentPartPr>
            <p14:xfrm>
              <a:off x="7767960" y="1810653"/>
              <a:ext cx="630360" cy="42840"/>
            </p14:xfrm>
          </p:contentPart>
        </mc:Choice>
        <mc:Fallback xmlns="">
          <p:pic>
            <p:nvPicPr>
              <p:cNvPr id="51" name="Ink 50">
                <a:extLst>
                  <a:ext uri="{FF2B5EF4-FFF2-40B4-BE49-F238E27FC236}">
                    <a16:creationId xmlns:a16="http://schemas.microsoft.com/office/drawing/2014/main" id="{422B9B79-2316-742F-B4B4-79FA9CFA51DD}"/>
                  </a:ext>
                </a:extLst>
              </p:cNvPr>
              <p:cNvPicPr/>
              <p:nvPr/>
            </p:nvPicPr>
            <p:blipFill>
              <a:blip r:embed="rId440"/>
              <a:stretch>
                <a:fillRect/>
              </a:stretch>
            </p:blipFill>
            <p:spPr>
              <a:xfrm>
                <a:off x="7758960" y="1802013"/>
                <a:ext cx="648000" cy="60480"/>
              </a:xfrm>
              <a:prstGeom prst="rect">
                <a:avLst/>
              </a:prstGeom>
            </p:spPr>
          </p:pic>
        </mc:Fallback>
      </mc:AlternateContent>
      <p:grpSp>
        <p:nvGrpSpPr>
          <p:cNvPr id="11" name="Group 10">
            <a:extLst>
              <a:ext uri="{FF2B5EF4-FFF2-40B4-BE49-F238E27FC236}">
                <a16:creationId xmlns:a16="http://schemas.microsoft.com/office/drawing/2014/main" id="{0694EDF8-E68F-D45B-9E55-52C7E18D3FD6}"/>
              </a:ext>
            </a:extLst>
          </p:cNvPr>
          <p:cNvGrpSpPr/>
          <p:nvPr/>
        </p:nvGrpSpPr>
        <p:grpSpPr>
          <a:xfrm>
            <a:off x="7245240" y="3001720"/>
            <a:ext cx="165240" cy="298080"/>
            <a:chOff x="7245240" y="3001720"/>
            <a:chExt cx="165240" cy="298080"/>
          </a:xfrm>
        </p:grpSpPr>
        <mc:AlternateContent xmlns:mc="http://schemas.openxmlformats.org/markup-compatibility/2006" xmlns:p14="http://schemas.microsoft.com/office/powerpoint/2010/main">
          <mc:Choice Requires="p14">
            <p:contentPart p14:bwMode="auto" r:id="rId441">
              <p14:nvContentPartPr>
                <p14:cNvPr id="3" name="Ink 2">
                  <a:extLst>
                    <a:ext uri="{FF2B5EF4-FFF2-40B4-BE49-F238E27FC236}">
                      <a16:creationId xmlns:a16="http://schemas.microsoft.com/office/drawing/2014/main" id="{426D3830-2BDD-D88B-8C5E-690DF95C9692}"/>
                    </a:ext>
                  </a:extLst>
                </p14:cNvPr>
                <p14:cNvContentPartPr/>
                <p14:nvPr/>
              </p14:nvContentPartPr>
              <p14:xfrm>
                <a:off x="7284480" y="3001720"/>
                <a:ext cx="126000" cy="208800"/>
              </p14:xfrm>
            </p:contentPart>
          </mc:Choice>
          <mc:Fallback xmlns="">
            <p:pic>
              <p:nvPicPr>
                <p:cNvPr id="3" name="Ink 2">
                  <a:extLst>
                    <a:ext uri="{FF2B5EF4-FFF2-40B4-BE49-F238E27FC236}">
                      <a16:creationId xmlns:a16="http://schemas.microsoft.com/office/drawing/2014/main" id="{426D3830-2BDD-D88B-8C5E-690DF95C9692}"/>
                    </a:ext>
                  </a:extLst>
                </p:cNvPr>
                <p:cNvPicPr/>
                <p:nvPr/>
              </p:nvPicPr>
              <p:blipFill>
                <a:blip r:embed="rId442"/>
                <a:stretch>
                  <a:fillRect/>
                </a:stretch>
              </p:blipFill>
              <p:spPr>
                <a:xfrm>
                  <a:off x="7269360" y="2986240"/>
                  <a:ext cx="156600" cy="239040"/>
                </a:xfrm>
                <a:prstGeom prst="rect">
                  <a:avLst/>
                </a:prstGeom>
              </p:spPr>
            </p:pic>
          </mc:Fallback>
        </mc:AlternateContent>
        <mc:AlternateContent xmlns:mc="http://schemas.openxmlformats.org/markup-compatibility/2006" xmlns:p14="http://schemas.microsoft.com/office/powerpoint/2010/main">
          <mc:Choice Requires="p14">
            <p:contentPart p14:bwMode="auto" r:id="rId443">
              <p14:nvContentPartPr>
                <p14:cNvPr id="4" name="Ink 3">
                  <a:extLst>
                    <a:ext uri="{FF2B5EF4-FFF2-40B4-BE49-F238E27FC236}">
                      <a16:creationId xmlns:a16="http://schemas.microsoft.com/office/drawing/2014/main" id="{89211DD5-10A4-C65E-5E66-F7024F0FC029}"/>
                    </a:ext>
                  </a:extLst>
                </p14:cNvPr>
                <p14:cNvContentPartPr/>
                <p14:nvPr/>
              </p14:nvContentPartPr>
              <p14:xfrm>
                <a:off x="7273320" y="3107920"/>
                <a:ext cx="120960" cy="171000"/>
              </p14:xfrm>
            </p:contentPart>
          </mc:Choice>
          <mc:Fallback xmlns="">
            <p:pic>
              <p:nvPicPr>
                <p:cNvPr id="4" name="Ink 3">
                  <a:extLst>
                    <a:ext uri="{FF2B5EF4-FFF2-40B4-BE49-F238E27FC236}">
                      <a16:creationId xmlns:a16="http://schemas.microsoft.com/office/drawing/2014/main" id="{89211DD5-10A4-C65E-5E66-F7024F0FC029}"/>
                    </a:ext>
                  </a:extLst>
                </p:cNvPr>
                <p:cNvPicPr/>
                <p:nvPr/>
              </p:nvPicPr>
              <p:blipFill>
                <a:blip r:embed="rId444"/>
                <a:stretch>
                  <a:fillRect/>
                </a:stretch>
              </p:blipFill>
              <p:spPr>
                <a:xfrm>
                  <a:off x="7258200" y="3092800"/>
                  <a:ext cx="151200" cy="201600"/>
                </a:xfrm>
                <a:prstGeom prst="rect">
                  <a:avLst/>
                </a:prstGeom>
              </p:spPr>
            </p:pic>
          </mc:Fallback>
        </mc:AlternateContent>
        <mc:AlternateContent xmlns:mc="http://schemas.openxmlformats.org/markup-compatibility/2006" xmlns:p14="http://schemas.microsoft.com/office/powerpoint/2010/main">
          <mc:Choice Requires="p14">
            <p:contentPart p14:bwMode="auto" r:id="rId445">
              <p14:nvContentPartPr>
                <p14:cNvPr id="5" name="Ink 4">
                  <a:extLst>
                    <a:ext uri="{FF2B5EF4-FFF2-40B4-BE49-F238E27FC236}">
                      <a16:creationId xmlns:a16="http://schemas.microsoft.com/office/drawing/2014/main" id="{B087139B-B0D3-5F4E-2CAA-107A23F85DD2}"/>
                    </a:ext>
                  </a:extLst>
                </p14:cNvPr>
                <p14:cNvContentPartPr/>
                <p14:nvPr/>
              </p14:nvContentPartPr>
              <p14:xfrm>
                <a:off x="7245600" y="3165520"/>
                <a:ext cx="162360" cy="9720"/>
              </p14:xfrm>
            </p:contentPart>
          </mc:Choice>
          <mc:Fallback xmlns="">
            <p:pic>
              <p:nvPicPr>
                <p:cNvPr id="5" name="Ink 4">
                  <a:extLst>
                    <a:ext uri="{FF2B5EF4-FFF2-40B4-BE49-F238E27FC236}">
                      <a16:creationId xmlns:a16="http://schemas.microsoft.com/office/drawing/2014/main" id="{B087139B-B0D3-5F4E-2CAA-107A23F85DD2}"/>
                    </a:ext>
                  </a:extLst>
                </p:cNvPr>
                <p:cNvPicPr/>
                <p:nvPr/>
              </p:nvPicPr>
              <p:blipFill>
                <a:blip r:embed="rId446"/>
                <a:stretch>
                  <a:fillRect/>
                </a:stretch>
              </p:blipFill>
              <p:spPr>
                <a:xfrm>
                  <a:off x="7230480" y="3150400"/>
                  <a:ext cx="192960" cy="39960"/>
                </a:xfrm>
                <a:prstGeom prst="rect">
                  <a:avLst/>
                </a:prstGeom>
              </p:spPr>
            </p:pic>
          </mc:Fallback>
        </mc:AlternateContent>
        <mc:AlternateContent xmlns:mc="http://schemas.openxmlformats.org/markup-compatibility/2006" xmlns:p14="http://schemas.microsoft.com/office/powerpoint/2010/main">
          <mc:Choice Requires="p14">
            <p:contentPart p14:bwMode="auto" r:id="rId447">
              <p14:nvContentPartPr>
                <p14:cNvPr id="8" name="Ink 7">
                  <a:extLst>
                    <a:ext uri="{FF2B5EF4-FFF2-40B4-BE49-F238E27FC236}">
                      <a16:creationId xmlns:a16="http://schemas.microsoft.com/office/drawing/2014/main" id="{41CA136B-A4C3-ADED-317E-0060EF41A9BA}"/>
                    </a:ext>
                  </a:extLst>
                </p14:cNvPr>
                <p14:cNvContentPartPr/>
                <p14:nvPr/>
              </p14:nvContentPartPr>
              <p14:xfrm>
                <a:off x="7245240" y="3085960"/>
                <a:ext cx="126000" cy="204480"/>
              </p14:xfrm>
            </p:contentPart>
          </mc:Choice>
          <mc:Fallback xmlns="">
            <p:pic>
              <p:nvPicPr>
                <p:cNvPr id="8" name="Ink 7">
                  <a:extLst>
                    <a:ext uri="{FF2B5EF4-FFF2-40B4-BE49-F238E27FC236}">
                      <a16:creationId xmlns:a16="http://schemas.microsoft.com/office/drawing/2014/main" id="{41CA136B-A4C3-ADED-317E-0060EF41A9BA}"/>
                    </a:ext>
                  </a:extLst>
                </p:cNvPr>
                <p:cNvPicPr/>
                <p:nvPr/>
              </p:nvPicPr>
              <p:blipFill>
                <a:blip r:embed="rId448"/>
                <a:stretch>
                  <a:fillRect/>
                </a:stretch>
              </p:blipFill>
              <p:spPr>
                <a:xfrm>
                  <a:off x="7230120" y="3070480"/>
                  <a:ext cx="156600" cy="235080"/>
                </a:xfrm>
                <a:prstGeom prst="rect">
                  <a:avLst/>
                </a:prstGeom>
              </p:spPr>
            </p:pic>
          </mc:Fallback>
        </mc:AlternateContent>
        <mc:AlternateContent xmlns:mc="http://schemas.openxmlformats.org/markup-compatibility/2006" xmlns:p14="http://schemas.microsoft.com/office/powerpoint/2010/main">
          <mc:Choice Requires="p14">
            <p:contentPart p14:bwMode="auto" r:id="rId449">
              <p14:nvContentPartPr>
                <p14:cNvPr id="9" name="Ink 8">
                  <a:extLst>
                    <a:ext uri="{FF2B5EF4-FFF2-40B4-BE49-F238E27FC236}">
                      <a16:creationId xmlns:a16="http://schemas.microsoft.com/office/drawing/2014/main" id="{47698967-2E1B-D523-0C37-DFA6E084D734}"/>
                    </a:ext>
                  </a:extLst>
                </p14:cNvPr>
                <p14:cNvContentPartPr/>
                <p14:nvPr/>
              </p14:nvContentPartPr>
              <p14:xfrm>
                <a:off x="7251000" y="3079480"/>
                <a:ext cx="133560" cy="220320"/>
              </p14:xfrm>
            </p:contentPart>
          </mc:Choice>
          <mc:Fallback xmlns="">
            <p:pic>
              <p:nvPicPr>
                <p:cNvPr id="9" name="Ink 8">
                  <a:extLst>
                    <a:ext uri="{FF2B5EF4-FFF2-40B4-BE49-F238E27FC236}">
                      <a16:creationId xmlns:a16="http://schemas.microsoft.com/office/drawing/2014/main" id="{47698967-2E1B-D523-0C37-DFA6E084D734}"/>
                    </a:ext>
                  </a:extLst>
                </p:cNvPr>
                <p:cNvPicPr/>
                <p:nvPr/>
              </p:nvPicPr>
              <p:blipFill>
                <a:blip r:embed="rId450"/>
                <a:stretch>
                  <a:fillRect/>
                </a:stretch>
              </p:blipFill>
              <p:spPr>
                <a:xfrm>
                  <a:off x="7235880" y="3064360"/>
                  <a:ext cx="164160" cy="250920"/>
                </a:xfrm>
                <a:prstGeom prst="rect">
                  <a:avLst/>
                </a:prstGeom>
              </p:spPr>
            </p:pic>
          </mc:Fallback>
        </mc:AlternateContent>
      </p:grpSp>
      <p:grpSp>
        <p:nvGrpSpPr>
          <p:cNvPr id="37" name="Group 36">
            <a:extLst>
              <a:ext uri="{FF2B5EF4-FFF2-40B4-BE49-F238E27FC236}">
                <a16:creationId xmlns:a16="http://schemas.microsoft.com/office/drawing/2014/main" id="{17BB6701-EC33-2142-265E-A71CFD66EC8E}"/>
              </a:ext>
            </a:extLst>
          </p:cNvPr>
          <p:cNvGrpSpPr/>
          <p:nvPr/>
        </p:nvGrpSpPr>
        <p:grpSpPr>
          <a:xfrm>
            <a:off x="9489480" y="3982720"/>
            <a:ext cx="2633400" cy="636480"/>
            <a:chOff x="9489480" y="3982720"/>
            <a:chExt cx="2633400" cy="636480"/>
          </a:xfrm>
        </p:grpSpPr>
        <mc:AlternateContent xmlns:mc="http://schemas.openxmlformats.org/markup-compatibility/2006" xmlns:p14="http://schemas.microsoft.com/office/powerpoint/2010/main">
          <mc:Choice Requires="p14">
            <p:contentPart p14:bwMode="auto" r:id="rId451">
              <p14:nvContentPartPr>
                <p14:cNvPr id="12" name="Ink 11">
                  <a:extLst>
                    <a:ext uri="{FF2B5EF4-FFF2-40B4-BE49-F238E27FC236}">
                      <a16:creationId xmlns:a16="http://schemas.microsoft.com/office/drawing/2014/main" id="{6EA9A1C5-018A-4FD3-6EBD-FCB9EE091E57}"/>
                    </a:ext>
                  </a:extLst>
                </p14:cNvPr>
                <p14:cNvContentPartPr/>
                <p14:nvPr/>
              </p14:nvContentPartPr>
              <p14:xfrm>
                <a:off x="9489480" y="3982720"/>
                <a:ext cx="105480" cy="166680"/>
              </p14:xfrm>
            </p:contentPart>
          </mc:Choice>
          <mc:Fallback xmlns="">
            <p:pic>
              <p:nvPicPr>
                <p:cNvPr id="12" name="Ink 11">
                  <a:extLst>
                    <a:ext uri="{FF2B5EF4-FFF2-40B4-BE49-F238E27FC236}">
                      <a16:creationId xmlns:a16="http://schemas.microsoft.com/office/drawing/2014/main" id="{6EA9A1C5-018A-4FD3-6EBD-FCB9EE091E57}"/>
                    </a:ext>
                  </a:extLst>
                </p:cNvPr>
                <p:cNvPicPr/>
                <p:nvPr/>
              </p:nvPicPr>
              <p:blipFill>
                <a:blip r:embed="rId452"/>
                <a:stretch>
                  <a:fillRect/>
                </a:stretch>
              </p:blipFill>
              <p:spPr>
                <a:xfrm>
                  <a:off x="9474360" y="3967600"/>
                  <a:ext cx="135720" cy="197280"/>
                </a:xfrm>
                <a:prstGeom prst="rect">
                  <a:avLst/>
                </a:prstGeom>
              </p:spPr>
            </p:pic>
          </mc:Fallback>
        </mc:AlternateContent>
        <mc:AlternateContent xmlns:mc="http://schemas.openxmlformats.org/markup-compatibility/2006" xmlns:p14="http://schemas.microsoft.com/office/powerpoint/2010/main">
          <mc:Choice Requires="p14">
            <p:contentPart p14:bwMode="auto" r:id="rId453">
              <p14:nvContentPartPr>
                <p14:cNvPr id="13" name="Ink 12">
                  <a:extLst>
                    <a:ext uri="{FF2B5EF4-FFF2-40B4-BE49-F238E27FC236}">
                      <a16:creationId xmlns:a16="http://schemas.microsoft.com/office/drawing/2014/main" id="{6E6C6C18-6D44-F748-1CE3-108079E2C174}"/>
                    </a:ext>
                  </a:extLst>
                </p14:cNvPr>
                <p14:cNvContentPartPr/>
                <p14:nvPr/>
              </p14:nvContentPartPr>
              <p14:xfrm>
                <a:off x="9681360" y="4045000"/>
                <a:ext cx="64080" cy="90360"/>
              </p14:xfrm>
            </p:contentPart>
          </mc:Choice>
          <mc:Fallback xmlns="">
            <p:pic>
              <p:nvPicPr>
                <p:cNvPr id="13" name="Ink 12">
                  <a:extLst>
                    <a:ext uri="{FF2B5EF4-FFF2-40B4-BE49-F238E27FC236}">
                      <a16:creationId xmlns:a16="http://schemas.microsoft.com/office/drawing/2014/main" id="{6E6C6C18-6D44-F748-1CE3-108079E2C174}"/>
                    </a:ext>
                  </a:extLst>
                </p:cNvPr>
                <p:cNvPicPr/>
                <p:nvPr/>
              </p:nvPicPr>
              <p:blipFill>
                <a:blip r:embed="rId454"/>
                <a:stretch>
                  <a:fillRect/>
                </a:stretch>
              </p:blipFill>
              <p:spPr>
                <a:xfrm>
                  <a:off x="9666240" y="4029880"/>
                  <a:ext cx="94320" cy="120960"/>
                </a:xfrm>
                <a:prstGeom prst="rect">
                  <a:avLst/>
                </a:prstGeom>
              </p:spPr>
            </p:pic>
          </mc:Fallback>
        </mc:AlternateContent>
        <mc:AlternateContent xmlns:mc="http://schemas.openxmlformats.org/markup-compatibility/2006" xmlns:p14="http://schemas.microsoft.com/office/powerpoint/2010/main">
          <mc:Choice Requires="p14">
            <p:contentPart p14:bwMode="auto" r:id="rId455">
              <p14:nvContentPartPr>
                <p14:cNvPr id="14" name="Ink 13">
                  <a:extLst>
                    <a:ext uri="{FF2B5EF4-FFF2-40B4-BE49-F238E27FC236}">
                      <a16:creationId xmlns:a16="http://schemas.microsoft.com/office/drawing/2014/main" id="{FA1CD6A7-BE47-9B5F-9652-61EA026E01D3}"/>
                    </a:ext>
                  </a:extLst>
                </p14:cNvPr>
                <p14:cNvContentPartPr/>
                <p14:nvPr/>
              </p14:nvContentPartPr>
              <p14:xfrm>
                <a:off x="9812040" y="4068760"/>
                <a:ext cx="71280" cy="72360"/>
              </p14:xfrm>
            </p:contentPart>
          </mc:Choice>
          <mc:Fallback xmlns="">
            <p:pic>
              <p:nvPicPr>
                <p:cNvPr id="14" name="Ink 13">
                  <a:extLst>
                    <a:ext uri="{FF2B5EF4-FFF2-40B4-BE49-F238E27FC236}">
                      <a16:creationId xmlns:a16="http://schemas.microsoft.com/office/drawing/2014/main" id="{FA1CD6A7-BE47-9B5F-9652-61EA026E01D3}"/>
                    </a:ext>
                  </a:extLst>
                </p:cNvPr>
                <p:cNvPicPr/>
                <p:nvPr/>
              </p:nvPicPr>
              <p:blipFill>
                <a:blip r:embed="rId456"/>
                <a:stretch>
                  <a:fillRect/>
                </a:stretch>
              </p:blipFill>
              <p:spPr>
                <a:xfrm>
                  <a:off x="9796920" y="4053640"/>
                  <a:ext cx="101880" cy="102600"/>
                </a:xfrm>
                <a:prstGeom prst="rect">
                  <a:avLst/>
                </a:prstGeom>
              </p:spPr>
            </p:pic>
          </mc:Fallback>
        </mc:AlternateContent>
        <mc:AlternateContent xmlns:mc="http://schemas.openxmlformats.org/markup-compatibility/2006" xmlns:p14="http://schemas.microsoft.com/office/powerpoint/2010/main">
          <mc:Choice Requires="p14">
            <p:contentPart p14:bwMode="auto" r:id="rId457">
              <p14:nvContentPartPr>
                <p14:cNvPr id="15" name="Ink 14">
                  <a:extLst>
                    <a:ext uri="{FF2B5EF4-FFF2-40B4-BE49-F238E27FC236}">
                      <a16:creationId xmlns:a16="http://schemas.microsoft.com/office/drawing/2014/main" id="{C589B7B6-1FE8-F1C5-62C9-195433742A55}"/>
                    </a:ext>
                  </a:extLst>
                </p14:cNvPr>
                <p14:cNvContentPartPr/>
                <p14:nvPr/>
              </p14:nvContentPartPr>
              <p14:xfrm>
                <a:off x="9956760" y="4025920"/>
                <a:ext cx="140040" cy="136080"/>
              </p14:xfrm>
            </p:contentPart>
          </mc:Choice>
          <mc:Fallback xmlns="">
            <p:pic>
              <p:nvPicPr>
                <p:cNvPr id="15" name="Ink 14">
                  <a:extLst>
                    <a:ext uri="{FF2B5EF4-FFF2-40B4-BE49-F238E27FC236}">
                      <a16:creationId xmlns:a16="http://schemas.microsoft.com/office/drawing/2014/main" id="{C589B7B6-1FE8-F1C5-62C9-195433742A55}"/>
                    </a:ext>
                  </a:extLst>
                </p:cNvPr>
                <p:cNvPicPr/>
                <p:nvPr/>
              </p:nvPicPr>
              <p:blipFill>
                <a:blip r:embed="rId458"/>
                <a:stretch>
                  <a:fillRect/>
                </a:stretch>
              </p:blipFill>
              <p:spPr>
                <a:xfrm>
                  <a:off x="9941640" y="4010440"/>
                  <a:ext cx="170640" cy="166680"/>
                </a:xfrm>
                <a:prstGeom prst="rect">
                  <a:avLst/>
                </a:prstGeom>
              </p:spPr>
            </p:pic>
          </mc:Fallback>
        </mc:AlternateContent>
        <mc:AlternateContent xmlns:mc="http://schemas.openxmlformats.org/markup-compatibility/2006" xmlns:p14="http://schemas.microsoft.com/office/powerpoint/2010/main">
          <mc:Choice Requires="p14">
            <p:contentPart p14:bwMode="auto" r:id="rId459">
              <p14:nvContentPartPr>
                <p14:cNvPr id="16" name="Ink 15">
                  <a:extLst>
                    <a:ext uri="{FF2B5EF4-FFF2-40B4-BE49-F238E27FC236}">
                      <a16:creationId xmlns:a16="http://schemas.microsoft.com/office/drawing/2014/main" id="{9FDD95E1-760E-0495-365D-50010641C062}"/>
                    </a:ext>
                  </a:extLst>
                </p14:cNvPr>
                <p14:cNvContentPartPr/>
                <p14:nvPr/>
              </p14:nvContentPartPr>
              <p14:xfrm>
                <a:off x="9947040" y="4036360"/>
                <a:ext cx="135360" cy="183240"/>
              </p14:xfrm>
            </p:contentPart>
          </mc:Choice>
          <mc:Fallback xmlns="">
            <p:pic>
              <p:nvPicPr>
                <p:cNvPr id="16" name="Ink 15">
                  <a:extLst>
                    <a:ext uri="{FF2B5EF4-FFF2-40B4-BE49-F238E27FC236}">
                      <a16:creationId xmlns:a16="http://schemas.microsoft.com/office/drawing/2014/main" id="{9FDD95E1-760E-0495-365D-50010641C062}"/>
                    </a:ext>
                  </a:extLst>
                </p:cNvPr>
                <p:cNvPicPr/>
                <p:nvPr/>
              </p:nvPicPr>
              <p:blipFill>
                <a:blip r:embed="rId460"/>
                <a:stretch>
                  <a:fillRect/>
                </a:stretch>
              </p:blipFill>
              <p:spPr>
                <a:xfrm>
                  <a:off x="9931920" y="4021240"/>
                  <a:ext cx="165960" cy="213840"/>
                </a:xfrm>
                <a:prstGeom prst="rect">
                  <a:avLst/>
                </a:prstGeom>
              </p:spPr>
            </p:pic>
          </mc:Fallback>
        </mc:AlternateContent>
        <mc:AlternateContent xmlns:mc="http://schemas.openxmlformats.org/markup-compatibility/2006" xmlns:p14="http://schemas.microsoft.com/office/powerpoint/2010/main">
          <mc:Choice Requires="p14">
            <p:contentPart p14:bwMode="auto" r:id="rId461">
              <p14:nvContentPartPr>
                <p14:cNvPr id="18" name="Ink 17">
                  <a:extLst>
                    <a:ext uri="{FF2B5EF4-FFF2-40B4-BE49-F238E27FC236}">
                      <a16:creationId xmlns:a16="http://schemas.microsoft.com/office/drawing/2014/main" id="{5A76580C-A1BD-DC38-308F-D3CC1D460E52}"/>
                    </a:ext>
                  </a:extLst>
                </p14:cNvPr>
                <p14:cNvContentPartPr/>
                <p14:nvPr/>
              </p14:nvContentPartPr>
              <p14:xfrm>
                <a:off x="10216680" y="4045360"/>
                <a:ext cx="19800" cy="156240"/>
              </p14:xfrm>
            </p:contentPart>
          </mc:Choice>
          <mc:Fallback xmlns="">
            <p:pic>
              <p:nvPicPr>
                <p:cNvPr id="18" name="Ink 17">
                  <a:extLst>
                    <a:ext uri="{FF2B5EF4-FFF2-40B4-BE49-F238E27FC236}">
                      <a16:creationId xmlns:a16="http://schemas.microsoft.com/office/drawing/2014/main" id="{5A76580C-A1BD-DC38-308F-D3CC1D460E52}"/>
                    </a:ext>
                  </a:extLst>
                </p:cNvPr>
                <p:cNvPicPr/>
                <p:nvPr/>
              </p:nvPicPr>
              <p:blipFill>
                <a:blip r:embed="rId462"/>
                <a:stretch>
                  <a:fillRect/>
                </a:stretch>
              </p:blipFill>
              <p:spPr>
                <a:xfrm>
                  <a:off x="10201560" y="4029880"/>
                  <a:ext cx="50040" cy="186840"/>
                </a:xfrm>
                <a:prstGeom prst="rect">
                  <a:avLst/>
                </a:prstGeom>
              </p:spPr>
            </p:pic>
          </mc:Fallback>
        </mc:AlternateContent>
        <mc:AlternateContent xmlns:mc="http://schemas.openxmlformats.org/markup-compatibility/2006" xmlns:p14="http://schemas.microsoft.com/office/powerpoint/2010/main">
          <mc:Choice Requires="p14">
            <p:contentPart p14:bwMode="auto" r:id="rId463">
              <p14:nvContentPartPr>
                <p14:cNvPr id="20" name="Ink 19">
                  <a:extLst>
                    <a:ext uri="{FF2B5EF4-FFF2-40B4-BE49-F238E27FC236}">
                      <a16:creationId xmlns:a16="http://schemas.microsoft.com/office/drawing/2014/main" id="{D6C9121B-FB01-3356-317C-F926B80EA242}"/>
                    </a:ext>
                  </a:extLst>
                </p14:cNvPr>
                <p14:cNvContentPartPr/>
                <p14:nvPr/>
              </p14:nvContentPartPr>
              <p14:xfrm>
                <a:off x="10295880" y="4088920"/>
                <a:ext cx="79920" cy="100800"/>
              </p14:xfrm>
            </p:contentPart>
          </mc:Choice>
          <mc:Fallback xmlns="">
            <p:pic>
              <p:nvPicPr>
                <p:cNvPr id="20" name="Ink 19">
                  <a:extLst>
                    <a:ext uri="{FF2B5EF4-FFF2-40B4-BE49-F238E27FC236}">
                      <a16:creationId xmlns:a16="http://schemas.microsoft.com/office/drawing/2014/main" id="{D6C9121B-FB01-3356-317C-F926B80EA242}"/>
                    </a:ext>
                  </a:extLst>
                </p:cNvPr>
                <p:cNvPicPr/>
                <p:nvPr/>
              </p:nvPicPr>
              <p:blipFill>
                <a:blip r:embed="rId464"/>
                <a:stretch>
                  <a:fillRect/>
                </a:stretch>
              </p:blipFill>
              <p:spPr>
                <a:xfrm>
                  <a:off x="10280400" y="4073800"/>
                  <a:ext cx="110160" cy="131400"/>
                </a:xfrm>
                <a:prstGeom prst="rect">
                  <a:avLst/>
                </a:prstGeom>
              </p:spPr>
            </p:pic>
          </mc:Fallback>
        </mc:AlternateContent>
        <mc:AlternateContent xmlns:mc="http://schemas.openxmlformats.org/markup-compatibility/2006" xmlns:p14="http://schemas.microsoft.com/office/powerpoint/2010/main">
          <mc:Choice Requires="p14">
            <p:contentPart p14:bwMode="auto" r:id="rId465">
              <p14:nvContentPartPr>
                <p14:cNvPr id="21" name="Ink 20">
                  <a:extLst>
                    <a:ext uri="{FF2B5EF4-FFF2-40B4-BE49-F238E27FC236}">
                      <a16:creationId xmlns:a16="http://schemas.microsoft.com/office/drawing/2014/main" id="{D50D8C7C-06B5-B64E-CDF7-F57E7E619BDF}"/>
                    </a:ext>
                  </a:extLst>
                </p14:cNvPr>
                <p14:cNvContentPartPr/>
                <p14:nvPr/>
              </p14:nvContentPartPr>
              <p14:xfrm>
                <a:off x="10434840" y="4083520"/>
                <a:ext cx="93600" cy="92520"/>
              </p14:xfrm>
            </p:contentPart>
          </mc:Choice>
          <mc:Fallback xmlns="">
            <p:pic>
              <p:nvPicPr>
                <p:cNvPr id="21" name="Ink 20">
                  <a:extLst>
                    <a:ext uri="{FF2B5EF4-FFF2-40B4-BE49-F238E27FC236}">
                      <a16:creationId xmlns:a16="http://schemas.microsoft.com/office/drawing/2014/main" id="{D50D8C7C-06B5-B64E-CDF7-F57E7E619BDF}"/>
                    </a:ext>
                  </a:extLst>
                </p:cNvPr>
                <p:cNvPicPr/>
                <p:nvPr/>
              </p:nvPicPr>
              <p:blipFill>
                <a:blip r:embed="rId466"/>
                <a:stretch>
                  <a:fillRect/>
                </a:stretch>
              </p:blipFill>
              <p:spPr>
                <a:xfrm>
                  <a:off x="10419720" y="4068400"/>
                  <a:ext cx="124200" cy="123120"/>
                </a:xfrm>
                <a:prstGeom prst="rect">
                  <a:avLst/>
                </a:prstGeom>
              </p:spPr>
            </p:pic>
          </mc:Fallback>
        </mc:AlternateContent>
        <mc:AlternateContent xmlns:mc="http://schemas.openxmlformats.org/markup-compatibility/2006" xmlns:p14="http://schemas.microsoft.com/office/powerpoint/2010/main">
          <mc:Choice Requires="p14">
            <p:contentPart p14:bwMode="auto" r:id="rId467">
              <p14:nvContentPartPr>
                <p14:cNvPr id="22" name="Ink 21">
                  <a:extLst>
                    <a:ext uri="{FF2B5EF4-FFF2-40B4-BE49-F238E27FC236}">
                      <a16:creationId xmlns:a16="http://schemas.microsoft.com/office/drawing/2014/main" id="{58E3D297-E110-6DE5-3B4C-C3FF87A8CF22}"/>
                    </a:ext>
                  </a:extLst>
                </p14:cNvPr>
                <p14:cNvContentPartPr/>
                <p14:nvPr/>
              </p14:nvContentPartPr>
              <p14:xfrm>
                <a:off x="10566240" y="4055440"/>
                <a:ext cx="105480" cy="101520"/>
              </p14:xfrm>
            </p:contentPart>
          </mc:Choice>
          <mc:Fallback xmlns="">
            <p:pic>
              <p:nvPicPr>
                <p:cNvPr id="22" name="Ink 21">
                  <a:extLst>
                    <a:ext uri="{FF2B5EF4-FFF2-40B4-BE49-F238E27FC236}">
                      <a16:creationId xmlns:a16="http://schemas.microsoft.com/office/drawing/2014/main" id="{58E3D297-E110-6DE5-3B4C-C3FF87A8CF22}"/>
                    </a:ext>
                  </a:extLst>
                </p:cNvPr>
                <p:cNvPicPr/>
                <p:nvPr/>
              </p:nvPicPr>
              <p:blipFill>
                <a:blip r:embed="rId468"/>
                <a:stretch>
                  <a:fillRect/>
                </a:stretch>
              </p:blipFill>
              <p:spPr>
                <a:xfrm>
                  <a:off x="10551120" y="4040320"/>
                  <a:ext cx="135720" cy="132120"/>
                </a:xfrm>
                <a:prstGeom prst="rect">
                  <a:avLst/>
                </a:prstGeom>
              </p:spPr>
            </p:pic>
          </mc:Fallback>
        </mc:AlternateContent>
        <mc:AlternateContent xmlns:mc="http://schemas.openxmlformats.org/markup-compatibility/2006" xmlns:p14="http://schemas.microsoft.com/office/powerpoint/2010/main">
          <mc:Choice Requires="p14">
            <p:contentPart p14:bwMode="auto" r:id="rId469">
              <p14:nvContentPartPr>
                <p14:cNvPr id="23" name="Ink 22">
                  <a:extLst>
                    <a:ext uri="{FF2B5EF4-FFF2-40B4-BE49-F238E27FC236}">
                      <a16:creationId xmlns:a16="http://schemas.microsoft.com/office/drawing/2014/main" id="{A1EF26B7-7236-0530-4864-CBE0716B924E}"/>
                    </a:ext>
                  </a:extLst>
                </p14:cNvPr>
                <p14:cNvContentPartPr/>
                <p14:nvPr/>
              </p14:nvContentPartPr>
              <p14:xfrm>
                <a:off x="10710960" y="4036360"/>
                <a:ext cx="98640" cy="140040"/>
              </p14:xfrm>
            </p:contentPart>
          </mc:Choice>
          <mc:Fallback xmlns="">
            <p:pic>
              <p:nvPicPr>
                <p:cNvPr id="23" name="Ink 22">
                  <a:extLst>
                    <a:ext uri="{FF2B5EF4-FFF2-40B4-BE49-F238E27FC236}">
                      <a16:creationId xmlns:a16="http://schemas.microsoft.com/office/drawing/2014/main" id="{A1EF26B7-7236-0530-4864-CBE0716B924E}"/>
                    </a:ext>
                  </a:extLst>
                </p:cNvPr>
                <p:cNvPicPr/>
                <p:nvPr/>
              </p:nvPicPr>
              <p:blipFill>
                <a:blip r:embed="rId470"/>
                <a:stretch>
                  <a:fillRect/>
                </a:stretch>
              </p:blipFill>
              <p:spPr>
                <a:xfrm>
                  <a:off x="10695840" y="4021240"/>
                  <a:ext cx="128880" cy="170640"/>
                </a:xfrm>
                <a:prstGeom prst="rect">
                  <a:avLst/>
                </a:prstGeom>
              </p:spPr>
            </p:pic>
          </mc:Fallback>
        </mc:AlternateContent>
        <mc:AlternateContent xmlns:mc="http://schemas.openxmlformats.org/markup-compatibility/2006" xmlns:p14="http://schemas.microsoft.com/office/powerpoint/2010/main">
          <mc:Choice Requires="p14">
            <p:contentPart p14:bwMode="auto" r:id="rId471">
              <p14:nvContentPartPr>
                <p14:cNvPr id="25" name="Ink 24">
                  <a:extLst>
                    <a:ext uri="{FF2B5EF4-FFF2-40B4-BE49-F238E27FC236}">
                      <a16:creationId xmlns:a16="http://schemas.microsoft.com/office/drawing/2014/main" id="{299802C4-535D-514F-46BC-4BB12DDFC24D}"/>
                    </a:ext>
                  </a:extLst>
                </p14:cNvPr>
                <p14:cNvContentPartPr/>
                <p14:nvPr/>
              </p14:nvContentPartPr>
              <p14:xfrm>
                <a:off x="11033520" y="4104400"/>
                <a:ext cx="119880" cy="12960"/>
              </p14:xfrm>
            </p:contentPart>
          </mc:Choice>
          <mc:Fallback xmlns="">
            <p:pic>
              <p:nvPicPr>
                <p:cNvPr id="25" name="Ink 24">
                  <a:extLst>
                    <a:ext uri="{FF2B5EF4-FFF2-40B4-BE49-F238E27FC236}">
                      <a16:creationId xmlns:a16="http://schemas.microsoft.com/office/drawing/2014/main" id="{299802C4-535D-514F-46BC-4BB12DDFC24D}"/>
                    </a:ext>
                  </a:extLst>
                </p:cNvPr>
                <p:cNvPicPr/>
                <p:nvPr/>
              </p:nvPicPr>
              <p:blipFill>
                <a:blip r:embed="rId472"/>
                <a:stretch>
                  <a:fillRect/>
                </a:stretch>
              </p:blipFill>
              <p:spPr>
                <a:xfrm>
                  <a:off x="11018040" y="4089280"/>
                  <a:ext cx="150480" cy="43560"/>
                </a:xfrm>
                <a:prstGeom prst="rect">
                  <a:avLst/>
                </a:prstGeom>
              </p:spPr>
            </p:pic>
          </mc:Fallback>
        </mc:AlternateContent>
        <mc:AlternateContent xmlns:mc="http://schemas.openxmlformats.org/markup-compatibility/2006" xmlns:p14="http://schemas.microsoft.com/office/powerpoint/2010/main">
          <mc:Choice Requires="p14">
            <p:contentPart p14:bwMode="auto" r:id="rId473">
              <p14:nvContentPartPr>
                <p14:cNvPr id="26" name="Ink 25">
                  <a:extLst>
                    <a:ext uri="{FF2B5EF4-FFF2-40B4-BE49-F238E27FC236}">
                      <a16:creationId xmlns:a16="http://schemas.microsoft.com/office/drawing/2014/main" id="{3BBA61FC-F51E-24EA-C965-74531E60DD63}"/>
                    </a:ext>
                  </a:extLst>
                </p14:cNvPr>
                <p14:cNvContentPartPr/>
                <p14:nvPr/>
              </p14:nvContentPartPr>
              <p14:xfrm>
                <a:off x="11276160" y="4016920"/>
                <a:ext cx="55800" cy="192600"/>
              </p14:xfrm>
            </p:contentPart>
          </mc:Choice>
          <mc:Fallback xmlns="">
            <p:pic>
              <p:nvPicPr>
                <p:cNvPr id="26" name="Ink 25">
                  <a:extLst>
                    <a:ext uri="{FF2B5EF4-FFF2-40B4-BE49-F238E27FC236}">
                      <a16:creationId xmlns:a16="http://schemas.microsoft.com/office/drawing/2014/main" id="{3BBA61FC-F51E-24EA-C965-74531E60DD63}"/>
                    </a:ext>
                  </a:extLst>
                </p:cNvPr>
                <p:cNvPicPr/>
                <p:nvPr/>
              </p:nvPicPr>
              <p:blipFill>
                <a:blip r:embed="rId474"/>
                <a:stretch>
                  <a:fillRect/>
                </a:stretch>
              </p:blipFill>
              <p:spPr>
                <a:xfrm>
                  <a:off x="11261040" y="4001800"/>
                  <a:ext cx="86040" cy="223200"/>
                </a:xfrm>
                <a:prstGeom prst="rect">
                  <a:avLst/>
                </a:prstGeom>
              </p:spPr>
            </p:pic>
          </mc:Fallback>
        </mc:AlternateContent>
        <mc:AlternateContent xmlns:mc="http://schemas.openxmlformats.org/markup-compatibility/2006" xmlns:p14="http://schemas.microsoft.com/office/powerpoint/2010/main">
          <mc:Choice Requires="p14">
            <p:contentPart p14:bwMode="auto" r:id="rId475">
              <p14:nvContentPartPr>
                <p14:cNvPr id="27" name="Ink 26">
                  <a:extLst>
                    <a:ext uri="{FF2B5EF4-FFF2-40B4-BE49-F238E27FC236}">
                      <a16:creationId xmlns:a16="http://schemas.microsoft.com/office/drawing/2014/main" id="{E0E554A8-E54B-E683-AF44-BFEDF2059F5C}"/>
                    </a:ext>
                  </a:extLst>
                </p14:cNvPr>
                <p14:cNvContentPartPr/>
                <p14:nvPr/>
              </p14:nvContentPartPr>
              <p14:xfrm>
                <a:off x="11385960" y="4084600"/>
                <a:ext cx="75960" cy="102960"/>
              </p14:xfrm>
            </p:contentPart>
          </mc:Choice>
          <mc:Fallback xmlns="">
            <p:pic>
              <p:nvPicPr>
                <p:cNvPr id="27" name="Ink 26">
                  <a:extLst>
                    <a:ext uri="{FF2B5EF4-FFF2-40B4-BE49-F238E27FC236}">
                      <a16:creationId xmlns:a16="http://schemas.microsoft.com/office/drawing/2014/main" id="{E0E554A8-E54B-E683-AF44-BFEDF2059F5C}"/>
                    </a:ext>
                  </a:extLst>
                </p:cNvPr>
                <p:cNvPicPr/>
                <p:nvPr/>
              </p:nvPicPr>
              <p:blipFill>
                <a:blip r:embed="rId476"/>
                <a:stretch>
                  <a:fillRect/>
                </a:stretch>
              </p:blipFill>
              <p:spPr>
                <a:xfrm>
                  <a:off x="11370840" y="4069480"/>
                  <a:ext cx="106560" cy="133560"/>
                </a:xfrm>
                <a:prstGeom prst="rect">
                  <a:avLst/>
                </a:prstGeom>
              </p:spPr>
            </p:pic>
          </mc:Fallback>
        </mc:AlternateContent>
        <mc:AlternateContent xmlns:mc="http://schemas.openxmlformats.org/markup-compatibility/2006" xmlns:p14="http://schemas.microsoft.com/office/powerpoint/2010/main">
          <mc:Choice Requires="p14">
            <p:contentPart p14:bwMode="auto" r:id="rId477">
              <p14:nvContentPartPr>
                <p14:cNvPr id="28" name="Ink 27">
                  <a:extLst>
                    <a:ext uri="{FF2B5EF4-FFF2-40B4-BE49-F238E27FC236}">
                      <a16:creationId xmlns:a16="http://schemas.microsoft.com/office/drawing/2014/main" id="{DDF17369-695B-356A-F4BB-EA5F6031A762}"/>
                    </a:ext>
                  </a:extLst>
                </p14:cNvPr>
                <p14:cNvContentPartPr/>
                <p14:nvPr/>
              </p14:nvContentPartPr>
              <p14:xfrm>
                <a:off x="11524920" y="4064440"/>
                <a:ext cx="109800" cy="99360"/>
              </p14:xfrm>
            </p:contentPart>
          </mc:Choice>
          <mc:Fallback xmlns="">
            <p:pic>
              <p:nvPicPr>
                <p:cNvPr id="28" name="Ink 27">
                  <a:extLst>
                    <a:ext uri="{FF2B5EF4-FFF2-40B4-BE49-F238E27FC236}">
                      <a16:creationId xmlns:a16="http://schemas.microsoft.com/office/drawing/2014/main" id="{DDF17369-695B-356A-F4BB-EA5F6031A762}"/>
                    </a:ext>
                  </a:extLst>
                </p:cNvPr>
                <p:cNvPicPr/>
                <p:nvPr/>
              </p:nvPicPr>
              <p:blipFill>
                <a:blip r:embed="rId478"/>
                <a:stretch>
                  <a:fillRect/>
                </a:stretch>
              </p:blipFill>
              <p:spPr>
                <a:xfrm>
                  <a:off x="11509440" y="4048960"/>
                  <a:ext cx="140400" cy="129600"/>
                </a:xfrm>
                <a:prstGeom prst="rect">
                  <a:avLst/>
                </a:prstGeom>
              </p:spPr>
            </p:pic>
          </mc:Fallback>
        </mc:AlternateContent>
        <mc:AlternateContent xmlns:mc="http://schemas.openxmlformats.org/markup-compatibility/2006" xmlns:p14="http://schemas.microsoft.com/office/powerpoint/2010/main">
          <mc:Choice Requires="p14">
            <p:contentPart p14:bwMode="auto" r:id="rId479">
              <p14:nvContentPartPr>
                <p14:cNvPr id="29" name="Ink 28">
                  <a:extLst>
                    <a:ext uri="{FF2B5EF4-FFF2-40B4-BE49-F238E27FC236}">
                      <a16:creationId xmlns:a16="http://schemas.microsoft.com/office/drawing/2014/main" id="{17CFF9AF-3D4E-62E2-A15F-A658095420D5}"/>
                    </a:ext>
                  </a:extLst>
                </p14:cNvPr>
                <p14:cNvContentPartPr/>
                <p14:nvPr/>
              </p14:nvContentPartPr>
              <p14:xfrm>
                <a:off x="11677560" y="4095760"/>
                <a:ext cx="97200" cy="96120"/>
              </p14:xfrm>
            </p:contentPart>
          </mc:Choice>
          <mc:Fallback xmlns="">
            <p:pic>
              <p:nvPicPr>
                <p:cNvPr id="29" name="Ink 28">
                  <a:extLst>
                    <a:ext uri="{FF2B5EF4-FFF2-40B4-BE49-F238E27FC236}">
                      <a16:creationId xmlns:a16="http://schemas.microsoft.com/office/drawing/2014/main" id="{17CFF9AF-3D4E-62E2-A15F-A658095420D5}"/>
                    </a:ext>
                  </a:extLst>
                </p:cNvPr>
                <p:cNvPicPr/>
                <p:nvPr/>
              </p:nvPicPr>
              <p:blipFill>
                <a:blip r:embed="rId480"/>
                <a:stretch>
                  <a:fillRect/>
                </a:stretch>
              </p:blipFill>
              <p:spPr>
                <a:xfrm>
                  <a:off x="11662080" y="4080640"/>
                  <a:ext cx="127800" cy="126720"/>
                </a:xfrm>
                <a:prstGeom prst="rect">
                  <a:avLst/>
                </a:prstGeom>
              </p:spPr>
            </p:pic>
          </mc:Fallback>
        </mc:AlternateContent>
        <mc:AlternateContent xmlns:mc="http://schemas.openxmlformats.org/markup-compatibility/2006" xmlns:p14="http://schemas.microsoft.com/office/powerpoint/2010/main">
          <mc:Choice Requires="p14">
            <p:contentPart p14:bwMode="auto" r:id="rId481">
              <p14:nvContentPartPr>
                <p14:cNvPr id="30" name="Ink 29">
                  <a:extLst>
                    <a:ext uri="{FF2B5EF4-FFF2-40B4-BE49-F238E27FC236}">
                      <a16:creationId xmlns:a16="http://schemas.microsoft.com/office/drawing/2014/main" id="{C2D3E7C8-5EAC-E665-473B-C2DCE0ABDC63}"/>
                    </a:ext>
                  </a:extLst>
                </p14:cNvPr>
                <p14:cNvContentPartPr/>
                <p14:nvPr/>
              </p14:nvContentPartPr>
              <p14:xfrm>
                <a:off x="11934240" y="4046440"/>
                <a:ext cx="14760" cy="56160"/>
              </p14:xfrm>
            </p:contentPart>
          </mc:Choice>
          <mc:Fallback xmlns="">
            <p:pic>
              <p:nvPicPr>
                <p:cNvPr id="30" name="Ink 29">
                  <a:extLst>
                    <a:ext uri="{FF2B5EF4-FFF2-40B4-BE49-F238E27FC236}">
                      <a16:creationId xmlns:a16="http://schemas.microsoft.com/office/drawing/2014/main" id="{C2D3E7C8-5EAC-E665-473B-C2DCE0ABDC63}"/>
                    </a:ext>
                  </a:extLst>
                </p:cNvPr>
                <p:cNvPicPr/>
                <p:nvPr/>
              </p:nvPicPr>
              <p:blipFill>
                <a:blip r:embed="rId482"/>
                <a:stretch>
                  <a:fillRect/>
                </a:stretch>
              </p:blipFill>
              <p:spPr>
                <a:xfrm>
                  <a:off x="11919120" y="4031320"/>
                  <a:ext cx="45360" cy="86760"/>
                </a:xfrm>
                <a:prstGeom prst="rect">
                  <a:avLst/>
                </a:prstGeom>
              </p:spPr>
            </p:pic>
          </mc:Fallback>
        </mc:AlternateContent>
        <mc:AlternateContent xmlns:mc="http://schemas.openxmlformats.org/markup-compatibility/2006" xmlns:p14="http://schemas.microsoft.com/office/powerpoint/2010/main">
          <mc:Choice Requires="p14">
            <p:contentPart p14:bwMode="auto" r:id="rId483">
              <p14:nvContentPartPr>
                <p14:cNvPr id="31" name="Ink 30">
                  <a:extLst>
                    <a:ext uri="{FF2B5EF4-FFF2-40B4-BE49-F238E27FC236}">
                      <a16:creationId xmlns:a16="http://schemas.microsoft.com/office/drawing/2014/main" id="{F26DEF92-893D-8ED5-1B4E-4665FEE0D2BE}"/>
                    </a:ext>
                  </a:extLst>
                </p14:cNvPr>
                <p14:cNvContentPartPr/>
                <p14:nvPr/>
              </p14:nvContentPartPr>
              <p14:xfrm>
                <a:off x="11839200" y="4078840"/>
                <a:ext cx="80280" cy="142200"/>
              </p14:xfrm>
            </p:contentPart>
          </mc:Choice>
          <mc:Fallback xmlns="">
            <p:pic>
              <p:nvPicPr>
                <p:cNvPr id="31" name="Ink 30">
                  <a:extLst>
                    <a:ext uri="{FF2B5EF4-FFF2-40B4-BE49-F238E27FC236}">
                      <a16:creationId xmlns:a16="http://schemas.microsoft.com/office/drawing/2014/main" id="{F26DEF92-893D-8ED5-1B4E-4665FEE0D2BE}"/>
                    </a:ext>
                  </a:extLst>
                </p:cNvPr>
                <p:cNvPicPr/>
                <p:nvPr/>
              </p:nvPicPr>
              <p:blipFill>
                <a:blip r:embed="rId484"/>
                <a:stretch>
                  <a:fillRect/>
                </a:stretch>
              </p:blipFill>
              <p:spPr>
                <a:xfrm>
                  <a:off x="11824080" y="4063360"/>
                  <a:ext cx="110880" cy="172440"/>
                </a:xfrm>
                <a:prstGeom prst="rect">
                  <a:avLst/>
                </a:prstGeom>
              </p:spPr>
            </p:pic>
          </mc:Fallback>
        </mc:AlternateContent>
        <mc:AlternateContent xmlns:mc="http://schemas.openxmlformats.org/markup-compatibility/2006" xmlns:p14="http://schemas.microsoft.com/office/powerpoint/2010/main">
          <mc:Choice Requires="p14">
            <p:contentPart p14:bwMode="auto" r:id="rId485">
              <p14:nvContentPartPr>
                <p14:cNvPr id="32" name="Ink 31">
                  <a:extLst>
                    <a:ext uri="{FF2B5EF4-FFF2-40B4-BE49-F238E27FC236}">
                      <a16:creationId xmlns:a16="http://schemas.microsoft.com/office/drawing/2014/main" id="{241346EC-4045-EB50-AD0B-A5849F70C74E}"/>
                    </a:ext>
                  </a:extLst>
                </p14:cNvPr>
                <p14:cNvContentPartPr/>
                <p14:nvPr/>
              </p14:nvContentPartPr>
              <p14:xfrm>
                <a:off x="11942520" y="4089280"/>
                <a:ext cx="60480" cy="118440"/>
              </p14:xfrm>
            </p:contentPart>
          </mc:Choice>
          <mc:Fallback xmlns="">
            <p:pic>
              <p:nvPicPr>
                <p:cNvPr id="32" name="Ink 31">
                  <a:extLst>
                    <a:ext uri="{FF2B5EF4-FFF2-40B4-BE49-F238E27FC236}">
                      <a16:creationId xmlns:a16="http://schemas.microsoft.com/office/drawing/2014/main" id="{241346EC-4045-EB50-AD0B-A5849F70C74E}"/>
                    </a:ext>
                  </a:extLst>
                </p:cNvPr>
                <p:cNvPicPr/>
                <p:nvPr/>
              </p:nvPicPr>
              <p:blipFill>
                <a:blip r:embed="rId486"/>
                <a:stretch>
                  <a:fillRect/>
                </a:stretch>
              </p:blipFill>
              <p:spPr>
                <a:xfrm>
                  <a:off x="11927040" y="4073800"/>
                  <a:ext cx="91080" cy="149040"/>
                </a:xfrm>
                <a:prstGeom prst="rect">
                  <a:avLst/>
                </a:prstGeom>
              </p:spPr>
            </p:pic>
          </mc:Fallback>
        </mc:AlternateContent>
        <mc:AlternateContent xmlns:mc="http://schemas.openxmlformats.org/markup-compatibility/2006" xmlns:p14="http://schemas.microsoft.com/office/powerpoint/2010/main">
          <mc:Choice Requires="p14">
            <p:contentPart p14:bwMode="auto" r:id="rId487">
              <p14:nvContentPartPr>
                <p14:cNvPr id="33" name="Ink 32">
                  <a:extLst>
                    <a:ext uri="{FF2B5EF4-FFF2-40B4-BE49-F238E27FC236}">
                      <a16:creationId xmlns:a16="http://schemas.microsoft.com/office/drawing/2014/main" id="{9F71CF5C-ACD2-BF74-3013-6BC663F0CBFB}"/>
                    </a:ext>
                  </a:extLst>
                </p14:cNvPr>
                <p14:cNvContentPartPr/>
                <p14:nvPr/>
              </p14:nvContentPartPr>
              <p14:xfrm>
                <a:off x="11935320" y="4098640"/>
                <a:ext cx="113400" cy="117360"/>
              </p14:xfrm>
            </p:contentPart>
          </mc:Choice>
          <mc:Fallback xmlns="">
            <p:pic>
              <p:nvPicPr>
                <p:cNvPr id="33" name="Ink 32">
                  <a:extLst>
                    <a:ext uri="{FF2B5EF4-FFF2-40B4-BE49-F238E27FC236}">
                      <a16:creationId xmlns:a16="http://schemas.microsoft.com/office/drawing/2014/main" id="{9F71CF5C-ACD2-BF74-3013-6BC663F0CBFB}"/>
                    </a:ext>
                  </a:extLst>
                </p:cNvPr>
                <p:cNvPicPr/>
                <p:nvPr/>
              </p:nvPicPr>
              <p:blipFill>
                <a:blip r:embed="rId488"/>
                <a:stretch>
                  <a:fillRect/>
                </a:stretch>
              </p:blipFill>
              <p:spPr>
                <a:xfrm>
                  <a:off x="11920200" y="4083520"/>
                  <a:ext cx="14364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489">
              <p14:nvContentPartPr>
                <p14:cNvPr id="34" name="Ink 33">
                  <a:extLst>
                    <a:ext uri="{FF2B5EF4-FFF2-40B4-BE49-F238E27FC236}">
                      <a16:creationId xmlns:a16="http://schemas.microsoft.com/office/drawing/2014/main" id="{FD483B2C-9DC3-303C-6CE4-C50399A68238}"/>
                    </a:ext>
                  </a:extLst>
                </p14:cNvPr>
                <p14:cNvContentPartPr/>
                <p14:nvPr/>
              </p14:nvContentPartPr>
              <p14:xfrm>
                <a:off x="12116040" y="4091440"/>
                <a:ext cx="6840" cy="146520"/>
              </p14:xfrm>
            </p:contentPart>
          </mc:Choice>
          <mc:Fallback xmlns="">
            <p:pic>
              <p:nvPicPr>
                <p:cNvPr id="34" name="Ink 33">
                  <a:extLst>
                    <a:ext uri="{FF2B5EF4-FFF2-40B4-BE49-F238E27FC236}">
                      <a16:creationId xmlns:a16="http://schemas.microsoft.com/office/drawing/2014/main" id="{FD483B2C-9DC3-303C-6CE4-C50399A68238}"/>
                    </a:ext>
                  </a:extLst>
                </p:cNvPr>
                <p:cNvPicPr/>
                <p:nvPr/>
              </p:nvPicPr>
              <p:blipFill>
                <a:blip r:embed="rId490"/>
                <a:stretch>
                  <a:fillRect/>
                </a:stretch>
              </p:blipFill>
              <p:spPr>
                <a:xfrm>
                  <a:off x="12100920" y="4076320"/>
                  <a:ext cx="37080" cy="177120"/>
                </a:xfrm>
                <a:prstGeom prst="rect">
                  <a:avLst/>
                </a:prstGeom>
              </p:spPr>
            </p:pic>
          </mc:Fallback>
        </mc:AlternateContent>
        <mc:AlternateContent xmlns:mc="http://schemas.openxmlformats.org/markup-compatibility/2006" xmlns:p14="http://schemas.microsoft.com/office/powerpoint/2010/main">
          <mc:Choice Requires="p14">
            <p:contentPart p14:bwMode="auto" r:id="rId491">
              <p14:nvContentPartPr>
                <p14:cNvPr id="36" name="Ink 35">
                  <a:extLst>
                    <a:ext uri="{FF2B5EF4-FFF2-40B4-BE49-F238E27FC236}">
                      <a16:creationId xmlns:a16="http://schemas.microsoft.com/office/drawing/2014/main" id="{B970B199-5D83-F985-59AB-B565FF4A28DE}"/>
                    </a:ext>
                  </a:extLst>
                </p14:cNvPr>
                <p14:cNvContentPartPr/>
                <p14:nvPr/>
              </p14:nvContentPartPr>
              <p14:xfrm>
                <a:off x="9571920" y="4285480"/>
                <a:ext cx="2267280" cy="333720"/>
              </p14:xfrm>
            </p:contentPart>
          </mc:Choice>
          <mc:Fallback xmlns="">
            <p:pic>
              <p:nvPicPr>
                <p:cNvPr id="36" name="Ink 35">
                  <a:extLst>
                    <a:ext uri="{FF2B5EF4-FFF2-40B4-BE49-F238E27FC236}">
                      <a16:creationId xmlns:a16="http://schemas.microsoft.com/office/drawing/2014/main" id="{B970B199-5D83-F985-59AB-B565FF4A28DE}"/>
                    </a:ext>
                  </a:extLst>
                </p:cNvPr>
                <p:cNvPicPr/>
                <p:nvPr/>
              </p:nvPicPr>
              <p:blipFill>
                <a:blip r:embed="rId492"/>
                <a:stretch>
                  <a:fillRect/>
                </a:stretch>
              </p:blipFill>
              <p:spPr>
                <a:xfrm>
                  <a:off x="9556800" y="4270360"/>
                  <a:ext cx="2297880" cy="364320"/>
                </a:xfrm>
                <a:prstGeom prst="rect">
                  <a:avLst/>
                </a:prstGeom>
              </p:spPr>
            </p:pic>
          </mc:Fallback>
        </mc:AlternateContent>
      </p:grpSp>
      <p:grpSp>
        <p:nvGrpSpPr>
          <p:cNvPr id="45" name="Group 44">
            <a:extLst>
              <a:ext uri="{FF2B5EF4-FFF2-40B4-BE49-F238E27FC236}">
                <a16:creationId xmlns:a16="http://schemas.microsoft.com/office/drawing/2014/main" id="{20A5A00C-AD66-7104-B3AD-64B6424BB0E7}"/>
              </a:ext>
            </a:extLst>
          </p:cNvPr>
          <p:cNvGrpSpPr/>
          <p:nvPr/>
        </p:nvGrpSpPr>
        <p:grpSpPr>
          <a:xfrm>
            <a:off x="10386600" y="4773640"/>
            <a:ext cx="696240" cy="390960"/>
            <a:chOff x="10386600" y="4773640"/>
            <a:chExt cx="696240" cy="390960"/>
          </a:xfrm>
        </p:grpSpPr>
        <mc:AlternateContent xmlns:mc="http://schemas.openxmlformats.org/markup-compatibility/2006" xmlns:p14="http://schemas.microsoft.com/office/powerpoint/2010/main">
          <mc:Choice Requires="p14">
            <p:contentPart p14:bwMode="auto" r:id="rId493">
              <p14:nvContentPartPr>
                <p14:cNvPr id="38" name="Ink 37">
                  <a:extLst>
                    <a:ext uri="{FF2B5EF4-FFF2-40B4-BE49-F238E27FC236}">
                      <a16:creationId xmlns:a16="http://schemas.microsoft.com/office/drawing/2014/main" id="{E45CEB0C-9CBE-42A9-C9AD-5B294399C94D}"/>
                    </a:ext>
                  </a:extLst>
                </p14:cNvPr>
                <p14:cNvContentPartPr/>
                <p14:nvPr/>
              </p14:nvContentPartPr>
              <p14:xfrm>
                <a:off x="10386600" y="4773640"/>
                <a:ext cx="93960" cy="189000"/>
              </p14:xfrm>
            </p:contentPart>
          </mc:Choice>
          <mc:Fallback xmlns="">
            <p:pic>
              <p:nvPicPr>
                <p:cNvPr id="38" name="Ink 37">
                  <a:extLst>
                    <a:ext uri="{FF2B5EF4-FFF2-40B4-BE49-F238E27FC236}">
                      <a16:creationId xmlns:a16="http://schemas.microsoft.com/office/drawing/2014/main" id="{E45CEB0C-9CBE-42A9-C9AD-5B294399C94D}"/>
                    </a:ext>
                  </a:extLst>
                </p:cNvPr>
                <p:cNvPicPr/>
                <p:nvPr/>
              </p:nvPicPr>
              <p:blipFill>
                <a:blip r:embed="rId494"/>
                <a:stretch>
                  <a:fillRect/>
                </a:stretch>
              </p:blipFill>
              <p:spPr>
                <a:xfrm>
                  <a:off x="10371120" y="4758160"/>
                  <a:ext cx="124200" cy="219240"/>
                </a:xfrm>
                <a:prstGeom prst="rect">
                  <a:avLst/>
                </a:prstGeom>
              </p:spPr>
            </p:pic>
          </mc:Fallback>
        </mc:AlternateContent>
        <mc:AlternateContent xmlns:mc="http://schemas.openxmlformats.org/markup-compatibility/2006" xmlns:p14="http://schemas.microsoft.com/office/powerpoint/2010/main">
          <mc:Choice Requires="p14">
            <p:contentPart p14:bwMode="auto" r:id="rId495">
              <p14:nvContentPartPr>
                <p14:cNvPr id="39" name="Ink 38">
                  <a:extLst>
                    <a:ext uri="{FF2B5EF4-FFF2-40B4-BE49-F238E27FC236}">
                      <a16:creationId xmlns:a16="http://schemas.microsoft.com/office/drawing/2014/main" id="{6A4B1B69-D6D5-F5D0-D1DA-16E0FFE0C822}"/>
                    </a:ext>
                  </a:extLst>
                </p14:cNvPr>
                <p14:cNvContentPartPr/>
                <p14:nvPr/>
              </p14:nvContentPartPr>
              <p14:xfrm>
                <a:off x="10520520" y="4837000"/>
                <a:ext cx="87480" cy="118080"/>
              </p14:xfrm>
            </p:contentPart>
          </mc:Choice>
          <mc:Fallback xmlns="">
            <p:pic>
              <p:nvPicPr>
                <p:cNvPr id="39" name="Ink 38">
                  <a:extLst>
                    <a:ext uri="{FF2B5EF4-FFF2-40B4-BE49-F238E27FC236}">
                      <a16:creationId xmlns:a16="http://schemas.microsoft.com/office/drawing/2014/main" id="{6A4B1B69-D6D5-F5D0-D1DA-16E0FFE0C822}"/>
                    </a:ext>
                  </a:extLst>
                </p:cNvPr>
                <p:cNvPicPr/>
                <p:nvPr/>
              </p:nvPicPr>
              <p:blipFill>
                <a:blip r:embed="rId496"/>
                <a:stretch>
                  <a:fillRect/>
                </a:stretch>
              </p:blipFill>
              <p:spPr>
                <a:xfrm>
                  <a:off x="10505400" y="4821880"/>
                  <a:ext cx="118080" cy="148680"/>
                </a:xfrm>
                <a:prstGeom prst="rect">
                  <a:avLst/>
                </a:prstGeom>
              </p:spPr>
            </p:pic>
          </mc:Fallback>
        </mc:AlternateContent>
        <mc:AlternateContent xmlns:mc="http://schemas.openxmlformats.org/markup-compatibility/2006" xmlns:p14="http://schemas.microsoft.com/office/powerpoint/2010/main">
          <mc:Choice Requires="p14">
            <p:contentPart p14:bwMode="auto" r:id="rId497">
              <p14:nvContentPartPr>
                <p14:cNvPr id="40" name="Ink 39">
                  <a:extLst>
                    <a:ext uri="{FF2B5EF4-FFF2-40B4-BE49-F238E27FC236}">
                      <a16:creationId xmlns:a16="http://schemas.microsoft.com/office/drawing/2014/main" id="{F32CA083-3D65-9007-72CE-085F2428C73A}"/>
                    </a:ext>
                  </a:extLst>
                </p14:cNvPr>
                <p14:cNvContentPartPr/>
                <p14:nvPr/>
              </p14:nvContentPartPr>
              <p14:xfrm>
                <a:off x="10701240" y="4830160"/>
                <a:ext cx="87480" cy="114120"/>
              </p14:xfrm>
            </p:contentPart>
          </mc:Choice>
          <mc:Fallback xmlns="">
            <p:pic>
              <p:nvPicPr>
                <p:cNvPr id="40" name="Ink 39">
                  <a:extLst>
                    <a:ext uri="{FF2B5EF4-FFF2-40B4-BE49-F238E27FC236}">
                      <a16:creationId xmlns:a16="http://schemas.microsoft.com/office/drawing/2014/main" id="{F32CA083-3D65-9007-72CE-085F2428C73A}"/>
                    </a:ext>
                  </a:extLst>
                </p:cNvPr>
                <p:cNvPicPr/>
                <p:nvPr/>
              </p:nvPicPr>
              <p:blipFill>
                <a:blip r:embed="rId498"/>
                <a:stretch>
                  <a:fillRect/>
                </a:stretch>
              </p:blipFill>
              <p:spPr>
                <a:xfrm>
                  <a:off x="10685760" y="4814680"/>
                  <a:ext cx="118080" cy="144720"/>
                </a:xfrm>
                <a:prstGeom prst="rect">
                  <a:avLst/>
                </a:prstGeom>
              </p:spPr>
            </p:pic>
          </mc:Fallback>
        </mc:AlternateContent>
        <mc:AlternateContent xmlns:mc="http://schemas.openxmlformats.org/markup-compatibility/2006" xmlns:p14="http://schemas.microsoft.com/office/powerpoint/2010/main">
          <mc:Choice Requires="p14">
            <p:contentPart p14:bwMode="auto" r:id="rId499">
              <p14:nvContentPartPr>
                <p14:cNvPr id="41" name="Ink 40">
                  <a:extLst>
                    <a:ext uri="{FF2B5EF4-FFF2-40B4-BE49-F238E27FC236}">
                      <a16:creationId xmlns:a16="http://schemas.microsoft.com/office/drawing/2014/main" id="{400F94DF-4DDB-0B92-CA43-41228917E77C}"/>
                    </a:ext>
                  </a:extLst>
                </p14:cNvPr>
                <p14:cNvContentPartPr/>
                <p14:nvPr/>
              </p14:nvContentPartPr>
              <p14:xfrm>
                <a:off x="10892760" y="4862920"/>
                <a:ext cx="88920" cy="113760"/>
              </p14:xfrm>
            </p:contentPart>
          </mc:Choice>
          <mc:Fallback xmlns="">
            <p:pic>
              <p:nvPicPr>
                <p:cNvPr id="41" name="Ink 40">
                  <a:extLst>
                    <a:ext uri="{FF2B5EF4-FFF2-40B4-BE49-F238E27FC236}">
                      <a16:creationId xmlns:a16="http://schemas.microsoft.com/office/drawing/2014/main" id="{400F94DF-4DDB-0B92-CA43-41228917E77C}"/>
                    </a:ext>
                  </a:extLst>
                </p:cNvPr>
                <p:cNvPicPr/>
                <p:nvPr/>
              </p:nvPicPr>
              <p:blipFill>
                <a:blip r:embed="rId500"/>
                <a:stretch>
                  <a:fillRect/>
                </a:stretch>
              </p:blipFill>
              <p:spPr>
                <a:xfrm>
                  <a:off x="10877640" y="4847440"/>
                  <a:ext cx="119520" cy="144360"/>
                </a:xfrm>
                <a:prstGeom prst="rect">
                  <a:avLst/>
                </a:prstGeom>
              </p:spPr>
            </p:pic>
          </mc:Fallback>
        </mc:AlternateContent>
        <mc:AlternateContent xmlns:mc="http://schemas.openxmlformats.org/markup-compatibility/2006" xmlns:p14="http://schemas.microsoft.com/office/powerpoint/2010/main">
          <mc:Choice Requires="p14">
            <p:contentPart p14:bwMode="auto" r:id="rId501">
              <p14:nvContentPartPr>
                <p14:cNvPr id="42" name="Ink 41">
                  <a:extLst>
                    <a:ext uri="{FF2B5EF4-FFF2-40B4-BE49-F238E27FC236}">
                      <a16:creationId xmlns:a16="http://schemas.microsoft.com/office/drawing/2014/main" id="{4DD532A3-41EC-8D02-9DA3-30551547F138}"/>
                    </a:ext>
                  </a:extLst>
                </p14:cNvPr>
                <p14:cNvContentPartPr/>
                <p14:nvPr/>
              </p14:nvContentPartPr>
              <p14:xfrm>
                <a:off x="10891680" y="4844920"/>
                <a:ext cx="191160" cy="196560"/>
              </p14:xfrm>
            </p:contentPart>
          </mc:Choice>
          <mc:Fallback xmlns="">
            <p:pic>
              <p:nvPicPr>
                <p:cNvPr id="42" name="Ink 41">
                  <a:extLst>
                    <a:ext uri="{FF2B5EF4-FFF2-40B4-BE49-F238E27FC236}">
                      <a16:creationId xmlns:a16="http://schemas.microsoft.com/office/drawing/2014/main" id="{4DD532A3-41EC-8D02-9DA3-30551547F138}"/>
                    </a:ext>
                  </a:extLst>
                </p:cNvPr>
                <p:cNvPicPr/>
                <p:nvPr/>
              </p:nvPicPr>
              <p:blipFill>
                <a:blip r:embed="rId502"/>
                <a:stretch>
                  <a:fillRect/>
                </a:stretch>
              </p:blipFill>
              <p:spPr>
                <a:xfrm>
                  <a:off x="10876560" y="4829440"/>
                  <a:ext cx="221760" cy="226800"/>
                </a:xfrm>
                <a:prstGeom prst="rect">
                  <a:avLst/>
                </a:prstGeom>
              </p:spPr>
            </p:pic>
          </mc:Fallback>
        </mc:AlternateContent>
        <mc:AlternateContent xmlns:mc="http://schemas.openxmlformats.org/markup-compatibility/2006" xmlns:p14="http://schemas.microsoft.com/office/powerpoint/2010/main">
          <mc:Choice Requires="p14">
            <p:contentPart p14:bwMode="auto" r:id="rId503">
              <p14:nvContentPartPr>
                <p14:cNvPr id="43" name="Ink 42">
                  <a:extLst>
                    <a:ext uri="{FF2B5EF4-FFF2-40B4-BE49-F238E27FC236}">
                      <a16:creationId xmlns:a16="http://schemas.microsoft.com/office/drawing/2014/main" id="{EB37A413-C9BE-B178-0F6B-3E6BFE1A4342}"/>
                    </a:ext>
                  </a:extLst>
                </p14:cNvPr>
                <p14:cNvContentPartPr/>
                <p14:nvPr/>
              </p14:nvContentPartPr>
              <p14:xfrm>
                <a:off x="10586040" y="5065240"/>
                <a:ext cx="247320" cy="38880"/>
              </p14:xfrm>
            </p:contentPart>
          </mc:Choice>
          <mc:Fallback xmlns="">
            <p:pic>
              <p:nvPicPr>
                <p:cNvPr id="43" name="Ink 42">
                  <a:extLst>
                    <a:ext uri="{FF2B5EF4-FFF2-40B4-BE49-F238E27FC236}">
                      <a16:creationId xmlns:a16="http://schemas.microsoft.com/office/drawing/2014/main" id="{EB37A413-C9BE-B178-0F6B-3E6BFE1A4342}"/>
                    </a:ext>
                  </a:extLst>
                </p:cNvPr>
                <p:cNvPicPr/>
                <p:nvPr/>
              </p:nvPicPr>
              <p:blipFill>
                <a:blip r:embed="rId504"/>
                <a:stretch>
                  <a:fillRect/>
                </a:stretch>
              </p:blipFill>
              <p:spPr>
                <a:xfrm>
                  <a:off x="10570920" y="5050120"/>
                  <a:ext cx="277560" cy="69120"/>
                </a:xfrm>
                <a:prstGeom prst="rect">
                  <a:avLst/>
                </a:prstGeom>
              </p:spPr>
            </p:pic>
          </mc:Fallback>
        </mc:AlternateContent>
        <mc:AlternateContent xmlns:mc="http://schemas.openxmlformats.org/markup-compatibility/2006" xmlns:p14="http://schemas.microsoft.com/office/powerpoint/2010/main">
          <mc:Choice Requires="p14">
            <p:contentPart p14:bwMode="auto" r:id="rId505">
              <p14:nvContentPartPr>
                <p14:cNvPr id="44" name="Ink 43">
                  <a:extLst>
                    <a:ext uri="{FF2B5EF4-FFF2-40B4-BE49-F238E27FC236}">
                      <a16:creationId xmlns:a16="http://schemas.microsoft.com/office/drawing/2014/main" id="{92B0573A-1FF7-17FF-A43E-DBE6FB4A0B67}"/>
                    </a:ext>
                  </a:extLst>
                </p14:cNvPr>
                <p14:cNvContentPartPr/>
                <p14:nvPr/>
              </p14:nvContentPartPr>
              <p14:xfrm>
                <a:off x="10673520" y="5155240"/>
                <a:ext cx="183960" cy="9360"/>
              </p14:xfrm>
            </p:contentPart>
          </mc:Choice>
          <mc:Fallback xmlns="">
            <p:pic>
              <p:nvPicPr>
                <p:cNvPr id="44" name="Ink 43">
                  <a:extLst>
                    <a:ext uri="{FF2B5EF4-FFF2-40B4-BE49-F238E27FC236}">
                      <a16:creationId xmlns:a16="http://schemas.microsoft.com/office/drawing/2014/main" id="{92B0573A-1FF7-17FF-A43E-DBE6FB4A0B67}"/>
                    </a:ext>
                  </a:extLst>
                </p:cNvPr>
                <p:cNvPicPr/>
                <p:nvPr/>
              </p:nvPicPr>
              <p:blipFill>
                <a:blip r:embed="rId506"/>
                <a:stretch>
                  <a:fillRect/>
                </a:stretch>
              </p:blipFill>
              <p:spPr>
                <a:xfrm>
                  <a:off x="10658400" y="5140120"/>
                  <a:ext cx="214560" cy="3996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07">
            <p14:nvContentPartPr>
              <p14:cNvPr id="46" name="Ink 45">
                <a:extLst>
                  <a:ext uri="{FF2B5EF4-FFF2-40B4-BE49-F238E27FC236}">
                    <a16:creationId xmlns:a16="http://schemas.microsoft.com/office/drawing/2014/main" id="{8A245F5B-A5B2-1C1B-C4C7-66BD27B9E0FA}"/>
                  </a:ext>
                </a:extLst>
              </p14:cNvPr>
              <p14:cNvContentPartPr/>
              <p14:nvPr/>
            </p14:nvContentPartPr>
            <p14:xfrm>
              <a:off x="10110120" y="5340280"/>
              <a:ext cx="125280" cy="344880"/>
            </p14:xfrm>
          </p:contentPart>
        </mc:Choice>
        <mc:Fallback xmlns="">
          <p:pic>
            <p:nvPicPr>
              <p:cNvPr id="46" name="Ink 45">
                <a:extLst>
                  <a:ext uri="{FF2B5EF4-FFF2-40B4-BE49-F238E27FC236}">
                    <a16:creationId xmlns:a16="http://schemas.microsoft.com/office/drawing/2014/main" id="{8A245F5B-A5B2-1C1B-C4C7-66BD27B9E0FA}"/>
                  </a:ext>
                </a:extLst>
              </p:cNvPr>
              <p:cNvPicPr/>
              <p:nvPr/>
            </p:nvPicPr>
            <p:blipFill>
              <a:blip r:embed="rId508"/>
              <a:stretch>
                <a:fillRect/>
              </a:stretch>
            </p:blipFill>
            <p:spPr>
              <a:xfrm>
                <a:off x="10094640" y="5325160"/>
                <a:ext cx="155880" cy="375480"/>
              </a:xfrm>
              <a:prstGeom prst="rect">
                <a:avLst/>
              </a:prstGeom>
            </p:spPr>
          </p:pic>
        </mc:Fallback>
      </mc:AlternateContent>
      <mc:AlternateContent xmlns:mc="http://schemas.openxmlformats.org/markup-compatibility/2006" xmlns:p14="http://schemas.microsoft.com/office/powerpoint/2010/main">
        <mc:Choice Requires="p14">
          <p:contentPart p14:bwMode="auto" r:id="rId509">
            <p14:nvContentPartPr>
              <p14:cNvPr id="47" name="Ink 46">
                <a:extLst>
                  <a:ext uri="{FF2B5EF4-FFF2-40B4-BE49-F238E27FC236}">
                    <a16:creationId xmlns:a16="http://schemas.microsoft.com/office/drawing/2014/main" id="{3D9DAE95-9864-3686-CF37-35BE143D20C7}"/>
                  </a:ext>
                </a:extLst>
              </p14:cNvPr>
              <p14:cNvContentPartPr/>
              <p14:nvPr/>
            </p14:nvContentPartPr>
            <p14:xfrm>
              <a:off x="11996520" y="5315080"/>
              <a:ext cx="142920" cy="403560"/>
            </p14:xfrm>
          </p:contentPart>
        </mc:Choice>
        <mc:Fallback xmlns="">
          <p:pic>
            <p:nvPicPr>
              <p:cNvPr id="47" name="Ink 46">
                <a:extLst>
                  <a:ext uri="{FF2B5EF4-FFF2-40B4-BE49-F238E27FC236}">
                    <a16:creationId xmlns:a16="http://schemas.microsoft.com/office/drawing/2014/main" id="{3D9DAE95-9864-3686-CF37-35BE143D20C7}"/>
                  </a:ext>
                </a:extLst>
              </p:cNvPr>
              <p:cNvPicPr/>
              <p:nvPr/>
            </p:nvPicPr>
            <p:blipFill>
              <a:blip r:embed="rId510"/>
              <a:stretch>
                <a:fillRect/>
              </a:stretch>
            </p:blipFill>
            <p:spPr>
              <a:xfrm>
                <a:off x="11981400" y="5299960"/>
                <a:ext cx="173520" cy="434160"/>
              </a:xfrm>
              <a:prstGeom prst="rect">
                <a:avLst/>
              </a:prstGeom>
            </p:spPr>
          </p:pic>
        </mc:Fallback>
      </mc:AlternateContent>
      <p:grpSp>
        <p:nvGrpSpPr>
          <p:cNvPr id="56" name="Group 55">
            <a:extLst>
              <a:ext uri="{FF2B5EF4-FFF2-40B4-BE49-F238E27FC236}">
                <a16:creationId xmlns:a16="http://schemas.microsoft.com/office/drawing/2014/main" id="{C6F70AB1-F42F-A78D-DDBF-0F543F24DB1A}"/>
              </a:ext>
            </a:extLst>
          </p:cNvPr>
          <p:cNvGrpSpPr/>
          <p:nvPr/>
        </p:nvGrpSpPr>
        <p:grpSpPr>
          <a:xfrm>
            <a:off x="11293440" y="5835280"/>
            <a:ext cx="614880" cy="255960"/>
            <a:chOff x="11293440" y="5835280"/>
            <a:chExt cx="614880" cy="255960"/>
          </a:xfrm>
        </p:grpSpPr>
        <mc:AlternateContent xmlns:mc="http://schemas.openxmlformats.org/markup-compatibility/2006" xmlns:p14="http://schemas.microsoft.com/office/powerpoint/2010/main">
          <mc:Choice Requires="p14">
            <p:contentPart p14:bwMode="auto" r:id="rId511">
              <p14:nvContentPartPr>
                <p14:cNvPr id="48" name="Ink 47">
                  <a:extLst>
                    <a:ext uri="{FF2B5EF4-FFF2-40B4-BE49-F238E27FC236}">
                      <a16:creationId xmlns:a16="http://schemas.microsoft.com/office/drawing/2014/main" id="{E396CD80-E1A6-C5F9-ABDB-3EC253CE53E3}"/>
                    </a:ext>
                  </a:extLst>
                </p14:cNvPr>
                <p14:cNvContentPartPr/>
                <p14:nvPr/>
              </p14:nvContentPartPr>
              <p14:xfrm>
                <a:off x="11293440" y="5835280"/>
                <a:ext cx="101880" cy="178920"/>
              </p14:xfrm>
            </p:contentPart>
          </mc:Choice>
          <mc:Fallback xmlns="">
            <p:pic>
              <p:nvPicPr>
                <p:cNvPr id="48" name="Ink 47">
                  <a:extLst>
                    <a:ext uri="{FF2B5EF4-FFF2-40B4-BE49-F238E27FC236}">
                      <a16:creationId xmlns:a16="http://schemas.microsoft.com/office/drawing/2014/main" id="{E396CD80-E1A6-C5F9-ABDB-3EC253CE53E3}"/>
                    </a:ext>
                  </a:extLst>
                </p:cNvPr>
                <p:cNvPicPr/>
                <p:nvPr/>
              </p:nvPicPr>
              <p:blipFill>
                <a:blip r:embed="rId512"/>
                <a:stretch>
                  <a:fillRect/>
                </a:stretch>
              </p:blipFill>
              <p:spPr>
                <a:xfrm>
                  <a:off x="11278320" y="5819800"/>
                  <a:ext cx="132480" cy="209520"/>
                </a:xfrm>
                <a:prstGeom prst="rect">
                  <a:avLst/>
                </a:prstGeom>
              </p:spPr>
            </p:pic>
          </mc:Fallback>
        </mc:AlternateContent>
        <mc:AlternateContent xmlns:mc="http://schemas.openxmlformats.org/markup-compatibility/2006" xmlns:p14="http://schemas.microsoft.com/office/powerpoint/2010/main">
          <mc:Choice Requires="p14">
            <p:contentPart p14:bwMode="auto" r:id="rId513">
              <p14:nvContentPartPr>
                <p14:cNvPr id="49" name="Ink 48">
                  <a:extLst>
                    <a:ext uri="{FF2B5EF4-FFF2-40B4-BE49-F238E27FC236}">
                      <a16:creationId xmlns:a16="http://schemas.microsoft.com/office/drawing/2014/main" id="{22BA7C5B-C44B-6139-3944-E0BDDDAF7125}"/>
                    </a:ext>
                  </a:extLst>
                </p14:cNvPr>
                <p14:cNvContentPartPr/>
                <p14:nvPr/>
              </p14:nvContentPartPr>
              <p14:xfrm>
                <a:off x="11425200" y="5906200"/>
                <a:ext cx="69840" cy="103320"/>
              </p14:xfrm>
            </p:contentPart>
          </mc:Choice>
          <mc:Fallback xmlns="">
            <p:pic>
              <p:nvPicPr>
                <p:cNvPr id="49" name="Ink 48">
                  <a:extLst>
                    <a:ext uri="{FF2B5EF4-FFF2-40B4-BE49-F238E27FC236}">
                      <a16:creationId xmlns:a16="http://schemas.microsoft.com/office/drawing/2014/main" id="{22BA7C5B-C44B-6139-3944-E0BDDDAF7125}"/>
                    </a:ext>
                  </a:extLst>
                </p:cNvPr>
                <p:cNvPicPr/>
                <p:nvPr/>
              </p:nvPicPr>
              <p:blipFill>
                <a:blip r:embed="rId514"/>
                <a:stretch>
                  <a:fillRect/>
                </a:stretch>
              </p:blipFill>
              <p:spPr>
                <a:xfrm>
                  <a:off x="11409720" y="5891080"/>
                  <a:ext cx="100440" cy="133560"/>
                </a:xfrm>
                <a:prstGeom prst="rect">
                  <a:avLst/>
                </a:prstGeom>
              </p:spPr>
            </p:pic>
          </mc:Fallback>
        </mc:AlternateContent>
        <mc:AlternateContent xmlns:mc="http://schemas.openxmlformats.org/markup-compatibility/2006" xmlns:p14="http://schemas.microsoft.com/office/powerpoint/2010/main">
          <mc:Choice Requires="p14">
            <p:contentPart p14:bwMode="auto" r:id="rId515">
              <p14:nvContentPartPr>
                <p14:cNvPr id="50" name="Ink 49">
                  <a:extLst>
                    <a:ext uri="{FF2B5EF4-FFF2-40B4-BE49-F238E27FC236}">
                      <a16:creationId xmlns:a16="http://schemas.microsoft.com/office/drawing/2014/main" id="{E83E522B-F605-E2BD-D4EE-C5972F866091}"/>
                    </a:ext>
                  </a:extLst>
                </p14:cNvPr>
                <p14:cNvContentPartPr/>
                <p14:nvPr/>
              </p14:nvContentPartPr>
              <p14:xfrm>
                <a:off x="11527080" y="5905120"/>
                <a:ext cx="88560" cy="84240"/>
              </p14:xfrm>
            </p:contentPart>
          </mc:Choice>
          <mc:Fallback xmlns="">
            <p:pic>
              <p:nvPicPr>
                <p:cNvPr id="50" name="Ink 49">
                  <a:extLst>
                    <a:ext uri="{FF2B5EF4-FFF2-40B4-BE49-F238E27FC236}">
                      <a16:creationId xmlns:a16="http://schemas.microsoft.com/office/drawing/2014/main" id="{E83E522B-F605-E2BD-D4EE-C5972F866091}"/>
                    </a:ext>
                  </a:extLst>
                </p:cNvPr>
                <p:cNvPicPr/>
                <p:nvPr/>
              </p:nvPicPr>
              <p:blipFill>
                <a:blip r:embed="rId516"/>
                <a:stretch>
                  <a:fillRect/>
                </a:stretch>
              </p:blipFill>
              <p:spPr>
                <a:xfrm>
                  <a:off x="11511960" y="5890000"/>
                  <a:ext cx="118800" cy="114840"/>
                </a:xfrm>
                <a:prstGeom prst="rect">
                  <a:avLst/>
                </a:prstGeom>
              </p:spPr>
            </p:pic>
          </mc:Fallback>
        </mc:AlternateContent>
        <mc:AlternateContent xmlns:mc="http://schemas.openxmlformats.org/markup-compatibility/2006" xmlns:p14="http://schemas.microsoft.com/office/powerpoint/2010/main">
          <mc:Choice Requires="p14">
            <p:contentPart p14:bwMode="auto" r:id="rId517">
              <p14:nvContentPartPr>
                <p14:cNvPr id="52" name="Ink 51">
                  <a:extLst>
                    <a:ext uri="{FF2B5EF4-FFF2-40B4-BE49-F238E27FC236}">
                      <a16:creationId xmlns:a16="http://schemas.microsoft.com/office/drawing/2014/main" id="{C0B72917-F6FB-5D50-0D27-BCE477B71FE9}"/>
                    </a:ext>
                  </a:extLst>
                </p14:cNvPr>
                <p14:cNvContentPartPr/>
                <p14:nvPr/>
              </p14:nvContentPartPr>
              <p14:xfrm>
                <a:off x="11688000" y="5921680"/>
                <a:ext cx="31680" cy="108720"/>
              </p14:xfrm>
            </p:contentPart>
          </mc:Choice>
          <mc:Fallback xmlns="">
            <p:pic>
              <p:nvPicPr>
                <p:cNvPr id="52" name="Ink 51">
                  <a:extLst>
                    <a:ext uri="{FF2B5EF4-FFF2-40B4-BE49-F238E27FC236}">
                      <a16:creationId xmlns:a16="http://schemas.microsoft.com/office/drawing/2014/main" id="{C0B72917-F6FB-5D50-0D27-BCE477B71FE9}"/>
                    </a:ext>
                  </a:extLst>
                </p:cNvPr>
                <p:cNvPicPr/>
                <p:nvPr/>
              </p:nvPicPr>
              <p:blipFill>
                <a:blip r:embed="rId518"/>
                <a:stretch>
                  <a:fillRect/>
                </a:stretch>
              </p:blipFill>
              <p:spPr>
                <a:xfrm>
                  <a:off x="11672520" y="5906560"/>
                  <a:ext cx="62280" cy="139320"/>
                </a:xfrm>
                <a:prstGeom prst="rect">
                  <a:avLst/>
                </a:prstGeom>
              </p:spPr>
            </p:pic>
          </mc:Fallback>
        </mc:AlternateContent>
        <mc:AlternateContent xmlns:mc="http://schemas.openxmlformats.org/markup-compatibility/2006" xmlns:p14="http://schemas.microsoft.com/office/powerpoint/2010/main">
          <mc:Choice Requires="p14">
            <p:contentPart p14:bwMode="auto" r:id="rId519">
              <p14:nvContentPartPr>
                <p14:cNvPr id="53" name="Ink 52">
                  <a:extLst>
                    <a:ext uri="{FF2B5EF4-FFF2-40B4-BE49-F238E27FC236}">
                      <a16:creationId xmlns:a16="http://schemas.microsoft.com/office/drawing/2014/main" id="{94AC8685-BB5B-B5C8-A6F1-B704E2CE57D3}"/>
                    </a:ext>
                  </a:extLst>
                </p14:cNvPr>
                <p14:cNvContentPartPr/>
                <p14:nvPr/>
              </p14:nvContentPartPr>
              <p14:xfrm>
                <a:off x="11635800" y="5906560"/>
                <a:ext cx="120960" cy="168840"/>
              </p14:xfrm>
            </p:contentPart>
          </mc:Choice>
          <mc:Fallback xmlns="">
            <p:pic>
              <p:nvPicPr>
                <p:cNvPr id="53" name="Ink 52">
                  <a:extLst>
                    <a:ext uri="{FF2B5EF4-FFF2-40B4-BE49-F238E27FC236}">
                      <a16:creationId xmlns:a16="http://schemas.microsoft.com/office/drawing/2014/main" id="{94AC8685-BB5B-B5C8-A6F1-B704E2CE57D3}"/>
                    </a:ext>
                  </a:extLst>
                </p:cNvPr>
                <p:cNvPicPr/>
                <p:nvPr/>
              </p:nvPicPr>
              <p:blipFill>
                <a:blip r:embed="rId520"/>
                <a:stretch>
                  <a:fillRect/>
                </a:stretch>
              </p:blipFill>
              <p:spPr>
                <a:xfrm>
                  <a:off x="11620680" y="5891440"/>
                  <a:ext cx="151560" cy="199440"/>
                </a:xfrm>
                <a:prstGeom prst="rect">
                  <a:avLst/>
                </a:prstGeom>
              </p:spPr>
            </p:pic>
          </mc:Fallback>
        </mc:AlternateContent>
        <mc:AlternateContent xmlns:mc="http://schemas.openxmlformats.org/markup-compatibility/2006" xmlns:p14="http://schemas.microsoft.com/office/powerpoint/2010/main">
          <mc:Choice Requires="p14">
            <p:contentPart p14:bwMode="auto" r:id="rId521">
              <p14:nvContentPartPr>
                <p14:cNvPr id="54" name="Ink 53">
                  <a:extLst>
                    <a:ext uri="{FF2B5EF4-FFF2-40B4-BE49-F238E27FC236}">
                      <a16:creationId xmlns:a16="http://schemas.microsoft.com/office/drawing/2014/main" id="{29293E5D-F171-8058-587F-61DBC368298D}"/>
                    </a:ext>
                  </a:extLst>
                </p14:cNvPr>
                <p14:cNvContentPartPr/>
                <p14:nvPr/>
              </p14:nvContentPartPr>
              <p14:xfrm>
                <a:off x="11691600" y="5886760"/>
                <a:ext cx="58680" cy="170280"/>
              </p14:xfrm>
            </p:contentPart>
          </mc:Choice>
          <mc:Fallback xmlns="">
            <p:pic>
              <p:nvPicPr>
                <p:cNvPr id="54" name="Ink 53">
                  <a:extLst>
                    <a:ext uri="{FF2B5EF4-FFF2-40B4-BE49-F238E27FC236}">
                      <a16:creationId xmlns:a16="http://schemas.microsoft.com/office/drawing/2014/main" id="{29293E5D-F171-8058-587F-61DBC368298D}"/>
                    </a:ext>
                  </a:extLst>
                </p:cNvPr>
                <p:cNvPicPr/>
                <p:nvPr/>
              </p:nvPicPr>
              <p:blipFill>
                <a:blip r:embed="rId522"/>
                <a:stretch>
                  <a:fillRect/>
                </a:stretch>
              </p:blipFill>
              <p:spPr>
                <a:xfrm>
                  <a:off x="11676120" y="5871640"/>
                  <a:ext cx="89280" cy="200880"/>
                </a:xfrm>
                <a:prstGeom prst="rect">
                  <a:avLst/>
                </a:prstGeom>
              </p:spPr>
            </p:pic>
          </mc:Fallback>
        </mc:AlternateContent>
        <mc:AlternateContent xmlns:mc="http://schemas.openxmlformats.org/markup-compatibility/2006" xmlns:p14="http://schemas.microsoft.com/office/powerpoint/2010/main">
          <mc:Choice Requires="p14">
            <p:contentPart p14:bwMode="auto" r:id="rId523">
              <p14:nvContentPartPr>
                <p14:cNvPr id="55" name="Ink 54">
                  <a:extLst>
                    <a:ext uri="{FF2B5EF4-FFF2-40B4-BE49-F238E27FC236}">
                      <a16:creationId xmlns:a16="http://schemas.microsoft.com/office/drawing/2014/main" id="{A2935A26-78DF-9CED-4105-3623C67F6D1D}"/>
                    </a:ext>
                  </a:extLst>
                </p14:cNvPr>
                <p14:cNvContentPartPr/>
                <p14:nvPr/>
              </p14:nvContentPartPr>
              <p14:xfrm>
                <a:off x="11866560" y="5941120"/>
                <a:ext cx="41760" cy="150120"/>
              </p14:xfrm>
            </p:contentPart>
          </mc:Choice>
          <mc:Fallback xmlns="">
            <p:pic>
              <p:nvPicPr>
                <p:cNvPr id="55" name="Ink 54">
                  <a:extLst>
                    <a:ext uri="{FF2B5EF4-FFF2-40B4-BE49-F238E27FC236}">
                      <a16:creationId xmlns:a16="http://schemas.microsoft.com/office/drawing/2014/main" id="{A2935A26-78DF-9CED-4105-3623C67F6D1D}"/>
                    </a:ext>
                  </a:extLst>
                </p:cNvPr>
                <p:cNvPicPr/>
                <p:nvPr/>
              </p:nvPicPr>
              <p:blipFill>
                <a:blip r:embed="rId524"/>
                <a:stretch>
                  <a:fillRect/>
                </a:stretch>
              </p:blipFill>
              <p:spPr>
                <a:xfrm>
                  <a:off x="11851440" y="5925640"/>
                  <a:ext cx="72360" cy="18072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25">
            <p14:nvContentPartPr>
              <p14:cNvPr id="57" name="Ink 56">
                <a:extLst>
                  <a:ext uri="{FF2B5EF4-FFF2-40B4-BE49-F238E27FC236}">
                    <a16:creationId xmlns:a16="http://schemas.microsoft.com/office/drawing/2014/main" id="{5210A789-6B4F-C1C1-6E79-415D03C535DA}"/>
                  </a:ext>
                </a:extLst>
              </p14:cNvPr>
              <p14:cNvContentPartPr/>
              <p14:nvPr/>
            </p14:nvContentPartPr>
            <p14:xfrm>
              <a:off x="10358520" y="5571760"/>
              <a:ext cx="157680" cy="6120"/>
            </p14:xfrm>
          </p:contentPart>
        </mc:Choice>
        <mc:Fallback xmlns="">
          <p:pic>
            <p:nvPicPr>
              <p:cNvPr id="57" name="Ink 56">
                <a:extLst>
                  <a:ext uri="{FF2B5EF4-FFF2-40B4-BE49-F238E27FC236}">
                    <a16:creationId xmlns:a16="http://schemas.microsoft.com/office/drawing/2014/main" id="{5210A789-6B4F-C1C1-6E79-415D03C535DA}"/>
                  </a:ext>
                </a:extLst>
              </p:cNvPr>
              <p:cNvPicPr/>
              <p:nvPr/>
            </p:nvPicPr>
            <p:blipFill>
              <a:blip r:embed="rId526"/>
              <a:stretch>
                <a:fillRect/>
              </a:stretch>
            </p:blipFill>
            <p:spPr>
              <a:xfrm>
                <a:off x="10343400" y="5556280"/>
                <a:ext cx="188280" cy="36360"/>
              </a:xfrm>
              <a:prstGeom prst="rect">
                <a:avLst/>
              </a:prstGeom>
            </p:spPr>
          </p:pic>
        </mc:Fallback>
      </mc:AlternateContent>
      <p:grpSp>
        <p:nvGrpSpPr>
          <p:cNvPr id="60" name="Group 59">
            <a:extLst>
              <a:ext uri="{FF2B5EF4-FFF2-40B4-BE49-F238E27FC236}">
                <a16:creationId xmlns:a16="http://schemas.microsoft.com/office/drawing/2014/main" id="{78373AAA-425A-D4E1-FBB9-59BB8E6E42D7}"/>
              </a:ext>
            </a:extLst>
          </p:cNvPr>
          <p:cNvGrpSpPr/>
          <p:nvPr/>
        </p:nvGrpSpPr>
        <p:grpSpPr>
          <a:xfrm>
            <a:off x="10876920" y="5565640"/>
            <a:ext cx="806760" cy="35640"/>
            <a:chOff x="10876920" y="5565640"/>
            <a:chExt cx="806760" cy="35640"/>
          </a:xfrm>
        </p:grpSpPr>
        <mc:AlternateContent xmlns:mc="http://schemas.openxmlformats.org/markup-compatibility/2006" xmlns:p14="http://schemas.microsoft.com/office/powerpoint/2010/main">
          <mc:Choice Requires="p14">
            <p:contentPart p14:bwMode="auto" r:id="rId527">
              <p14:nvContentPartPr>
                <p14:cNvPr id="58" name="Ink 57">
                  <a:extLst>
                    <a:ext uri="{FF2B5EF4-FFF2-40B4-BE49-F238E27FC236}">
                      <a16:creationId xmlns:a16="http://schemas.microsoft.com/office/drawing/2014/main" id="{198EC63B-9F40-60DA-4A28-6F4AD237643B}"/>
                    </a:ext>
                  </a:extLst>
                </p14:cNvPr>
                <p14:cNvContentPartPr/>
                <p14:nvPr/>
              </p14:nvContentPartPr>
              <p14:xfrm>
                <a:off x="10876920" y="5565640"/>
                <a:ext cx="357480" cy="11880"/>
              </p14:xfrm>
            </p:contentPart>
          </mc:Choice>
          <mc:Fallback xmlns="">
            <p:pic>
              <p:nvPicPr>
                <p:cNvPr id="58" name="Ink 57">
                  <a:extLst>
                    <a:ext uri="{FF2B5EF4-FFF2-40B4-BE49-F238E27FC236}">
                      <a16:creationId xmlns:a16="http://schemas.microsoft.com/office/drawing/2014/main" id="{198EC63B-9F40-60DA-4A28-6F4AD237643B}"/>
                    </a:ext>
                  </a:extLst>
                </p:cNvPr>
                <p:cNvPicPr/>
                <p:nvPr/>
              </p:nvPicPr>
              <p:blipFill>
                <a:blip r:embed="rId528"/>
                <a:stretch>
                  <a:fillRect/>
                </a:stretch>
              </p:blipFill>
              <p:spPr>
                <a:xfrm>
                  <a:off x="10861800" y="5550520"/>
                  <a:ext cx="388080" cy="42480"/>
                </a:xfrm>
                <a:prstGeom prst="rect">
                  <a:avLst/>
                </a:prstGeom>
              </p:spPr>
            </p:pic>
          </mc:Fallback>
        </mc:AlternateContent>
        <mc:AlternateContent xmlns:mc="http://schemas.openxmlformats.org/markup-compatibility/2006" xmlns:p14="http://schemas.microsoft.com/office/powerpoint/2010/main">
          <mc:Choice Requires="p14">
            <p:contentPart p14:bwMode="auto" r:id="rId529">
              <p14:nvContentPartPr>
                <p14:cNvPr id="59" name="Ink 58">
                  <a:extLst>
                    <a:ext uri="{FF2B5EF4-FFF2-40B4-BE49-F238E27FC236}">
                      <a16:creationId xmlns:a16="http://schemas.microsoft.com/office/drawing/2014/main" id="{D9297CF0-C52D-7A1C-643A-E60CE3F845DB}"/>
                    </a:ext>
                  </a:extLst>
                </p14:cNvPr>
                <p14:cNvContentPartPr/>
                <p14:nvPr/>
              </p14:nvContentPartPr>
              <p14:xfrm>
                <a:off x="11360400" y="5587960"/>
                <a:ext cx="323280" cy="13320"/>
              </p14:xfrm>
            </p:contentPart>
          </mc:Choice>
          <mc:Fallback xmlns="">
            <p:pic>
              <p:nvPicPr>
                <p:cNvPr id="59" name="Ink 58">
                  <a:extLst>
                    <a:ext uri="{FF2B5EF4-FFF2-40B4-BE49-F238E27FC236}">
                      <a16:creationId xmlns:a16="http://schemas.microsoft.com/office/drawing/2014/main" id="{D9297CF0-C52D-7A1C-643A-E60CE3F845DB}"/>
                    </a:ext>
                  </a:extLst>
                </p:cNvPr>
                <p:cNvPicPr/>
                <p:nvPr/>
              </p:nvPicPr>
              <p:blipFill>
                <a:blip r:embed="rId530"/>
                <a:stretch>
                  <a:fillRect/>
                </a:stretch>
              </p:blipFill>
              <p:spPr>
                <a:xfrm>
                  <a:off x="11344920" y="5572840"/>
                  <a:ext cx="353880" cy="4392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31">
            <p14:nvContentPartPr>
              <p14:cNvPr id="61" name="Ink 60">
                <a:extLst>
                  <a:ext uri="{FF2B5EF4-FFF2-40B4-BE49-F238E27FC236}">
                    <a16:creationId xmlns:a16="http://schemas.microsoft.com/office/drawing/2014/main" id="{8DFE459F-042A-2647-C1EA-E3FD1A241945}"/>
                  </a:ext>
                </a:extLst>
              </p14:cNvPr>
              <p14:cNvContentPartPr/>
              <p14:nvPr/>
            </p14:nvContentPartPr>
            <p14:xfrm>
              <a:off x="5146800" y="5094040"/>
              <a:ext cx="908280" cy="454320"/>
            </p14:xfrm>
          </p:contentPart>
        </mc:Choice>
        <mc:Fallback xmlns="">
          <p:pic>
            <p:nvPicPr>
              <p:cNvPr id="61" name="Ink 60">
                <a:extLst>
                  <a:ext uri="{FF2B5EF4-FFF2-40B4-BE49-F238E27FC236}">
                    <a16:creationId xmlns:a16="http://schemas.microsoft.com/office/drawing/2014/main" id="{8DFE459F-042A-2647-C1EA-E3FD1A241945}"/>
                  </a:ext>
                </a:extLst>
              </p:cNvPr>
              <p:cNvPicPr/>
              <p:nvPr/>
            </p:nvPicPr>
            <p:blipFill>
              <a:blip r:embed="rId532"/>
              <a:stretch>
                <a:fillRect/>
              </a:stretch>
            </p:blipFill>
            <p:spPr>
              <a:xfrm>
                <a:off x="5131680" y="5078920"/>
                <a:ext cx="938880" cy="484920"/>
              </a:xfrm>
              <a:prstGeom prst="rect">
                <a:avLst/>
              </a:prstGeom>
            </p:spPr>
          </p:pic>
        </mc:Fallback>
      </mc:AlternateContent>
      <mc:AlternateContent xmlns:mc="http://schemas.openxmlformats.org/markup-compatibility/2006" xmlns:p14="http://schemas.microsoft.com/office/powerpoint/2010/main">
        <mc:Choice Requires="p14">
          <p:contentPart p14:bwMode="auto" r:id="rId533">
            <p14:nvContentPartPr>
              <p14:cNvPr id="7" name="Ink 6">
                <a:extLst>
                  <a:ext uri="{FF2B5EF4-FFF2-40B4-BE49-F238E27FC236}">
                    <a16:creationId xmlns:a16="http://schemas.microsoft.com/office/drawing/2014/main" id="{185AD66D-E44E-C70B-3E00-93CF8C19FAF1}"/>
                  </a:ext>
                </a:extLst>
              </p14:cNvPr>
              <p14:cNvContentPartPr/>
              <p14:nvPr/>
            </p14:nvContentPartPr>
            <p14:xfrm>
              <a:off x="7496160" y="1564960"/>
              <a:ext cx="716040" cy="302760"/>
            </p14:xfrm>
          </p:contentPart>
        </mc:Choice>
        <mc:Fallback xmlns="">
          <p:pic>
            <p:nvPicPr>
              <p:cNvPr id="7" name="Ink 6">
                <a:extLst>
                  <a:ext uri="{FF2B5EF4-FFF2-40B4-BE49-F238E27FC236}">
                    <a16:creationId xmlns:a16="http://schemas.microsoft.com/office/drawing/2014/main" id="{185AD66D-E44E-C70B-3E00-93CF8C19FAF1}"/>
                  </a:ext>
                </a:extLst>
              </p:cNvPr>
              <p:cNvPicPr/>
              <p:nvPr/>
            </p:nvPicPr>
            <p:blipFill>
              <a:blip r:embed="rId534"/>
              <a:stretch>
                <a:fillRect/>
              </a:stretch>
            </p:blipFill>
            <p:spPr>
              <a:xfrm>
                <a:off x="7487520" y="1555960"/>
                <a:ext cx="733680" cy="320400"/>
              </a:xfrm>
              <a:prstGeom prst="rect">
                <a:avLst/>
              </a:prstGeom>
            </p:spPr>
          </p:pic>
        </mc:Fallback>
      </mc:AlternateContent>
      <mc:AlternateContent xmlns:mc="http://schemas.openxmlformats.org/markup-compatibility/2006" xmlns:p14="http://schemas.microsoft.com/office/powerpoint/2010/main">
        <mc:Choice Requires="p14">
          <p:contentPart p14:bwMode="auto" r:id="rId535">
            <p14:nvContentPartPr>
              <p14:cNvPr id="24" name="Ink 23">
                <a:extLst>
                  <a:ext uri="{FF2B5EF4-FFF2-40B4-BE49-F238E27FC236}">
                    <a16:creationId xmlns:a16="http://schemas.microsoft.com/office/drawing/2014/main" id="{7F77535F-9D38-9BDC-6A7D-AD19CC553575}"/>
                  </a:ext>
                </a:extLst>
              </p14:cNvPr>
              <p14:cNvContentPartPr/>
              <p14:nvPr/>
            </p14:nvContentPartPr>
            <p14:xfrm>
              <a:off x="2014800" y="6006640"/>
              <a:ext cx="3049560" cy="405000"/>
            </p14:xfrm>
          </p:contentPart>
        </mc:Choice>
        <mc:Fallback xmlns="">
          <p:pic>
            <p:nvPicPr>
              <p:cNvPr id="24" name="Ink 23">
                <a:extLst>
                  <a:ext uri="{FF2B5EF4-FFF2-40B4-BE49-F238E27FC236}">
                    <a16:creationId xmlns:a16="http://schemas.microsoft.com/office/drawing/2014/main" id="{7F77535F-9D38-9BDC-6A7D-AD19CC553575}"/>
                  </a:ext>
                </a:extLst>
              </p:cNvPr>
              <p:cNvPicPr/>
              <p:nvPr/>
            </p:nvPicPr>
            <p:blipFill>
              <a:blip r:embed="rId536"/>
              <a:stretch>
                <a:fillRect/>
              </a:stretch>
            </p:blipFill>
            <p:spPr>
              <a:xfrm>
                <a:off x="2005800" y="5997640"/>
                <a:ext cx="3067200" cy="422640"/>
              </a:xfrm>
              <a:prstGeom prst="rect">
                <a:avLst/>
              </a:prstGeom>
            </p:spPr>
          </p:pic>
        </mc:Fallback>
      </mc:AlternateContent>
      <mc:AlternateContent xmlns:mc="http://schemas.openxmlformats.org/markup-compatibility/2006" xmlns:p14="http://schemas.microsoft.com/office/powerpoint/2010/main">
        <mc:Choice Requires="p14">
          <p:contentPart p14:bwMode="auto" r:id="rId537">
            <p14:nvContentPartPr>
              <p14:cNvPr id="35" name="Ink 34">
                <a:extLst>
                  <a:ext uri="{FF2B5EF4-FFF2-40B4-BE49-F238E27FC236}">
                    <a16:creationId xmlns:a16="http://schemas.microsoft.com/office/drawing/2014/main" id="{7A98F149-8479-82D1-6285-7BD300E61867}"/>
                  </a:ext>
                </a:extLst>
              </p14:cNvPr>
              <p14:cNvContentPartPr/>
              <p14:nvPr/>
            </p14:nvContentPartPr>
            <p14:xfrm>
              <a:off x="5759520" y="2372973"/>
              <a:ext cx="1038960" cy="86040"/>
            </p14:xfrm>
          </p:contentPart>
        </mc:Choice>
        <mc:Fallback xmlns="">
          <p:pic>
            <p:nvPicPr>
              <p:cNvPr id="35" name="Ink 34">
                <a:extLst>
                  <a:ext uri="{FF2B5EF4-FFF2-40B4-BE49-F238E27FC236}">
                    <a16:creationId xmlns:a16="http://schemas.microsoft.com/office/drawing/2014/main" id="{7A98F149-8479-82D1-6285-7BD300E61867}"/>
                  </a:ext>
                </a:extLst>
              </p:cNvPr>
              <p:cNvPicPr/>
              <p:nvPr/>
            </p:nvPicPr>
            <p:blipFill>
              <a:blip r:embed="rId538"/>
              <a:stretch>
                <a:fillRect/>
              </a:stretch>
            </p:blipFill>
            <p:spPr>
              <a:xfrm>
                <a:off x="5744040" y="2357853"/>
                <a:ext cx="1069200" cy="116640"/>
              </a:xfrm>
              <a:prstGeom prst="rect">
                <a:avLst/>
              </a:prstGeom>
            </p:spPr>
          </p:pic>
        </mc:Fallback>
      </mc:AlternateContent>
      <mc:AlternateContent xmlns:mc="http://schemas.openxmlformats.org/markup-compatibility/2006" xmlns:p14="http://schemas.microsoft.com/office/powerpoint/2010/main">
        <mc:Choice Requires="p14">
          <p:contentPart p14:bwMode="auto" r:id="rId539">
            <p14:nvContentPartPr>
              <p14:cNvPr id="63" name="Ink 62">
                <a:extLst>
                  <a:ext uri="{FF2B5EF4-FFF2-40B4-BE49-F238E27FC236}">
                    <a16:creationId xmlns:a16="http://schemas.microsoft.com/office/drawing/2014/main" id="{2668C899-9540-2BE9-6B60-B386A0FC2314}"/>
                  </a:ext>
                </a:extLst>
              </p14:cNvPr>
              <p14:cNvContentPartPr/>
              <p14:nvPr/>
            </p14:nvContentPartPr>
            <p14:xfrm>
              <a:off x="9885480" y="3616413"/>
              <a:ext cx="388440" cy="236520"/>
            </p14:xfrm>
          </p:contentPart>
        </mc:Choice>
        <mc:Fallback xmlns="">
          <p:pic>
            <p:nvPicPr>
              <p:cNvPr id="63" name="Ink 62">
                <a:extLst>
                  <a:ext uri="{FF2B5EF4-FFF2-40B4-BE49-F238E27FC236}">
                    <a16:creationId xmlns:a16="http://schemas.microsoft.com/office/drawing/2014/main" id="{2668C899-9540-2BE9-6B60-B386A0FC2314}"/>
                  </a:ext>
                </a:extLst>
              </p:cNvPr>
              <p:cNvPicPr/>
              <p:nvPr/>
            </p:nvPicPr>
            <p:blipFill>
              <a:blip r:embed="rId540"/>
              <a:stretch>
                <a:fillRect/>
              </a:stretch>
            </p:blipFill>
            <p:spPr>
              <a:xfrm>
                <a:off x="9870360" y="3601293"/>
                <a:ext cx="419040" cy="267120"/>
              </a:xfrm>
              <a:prstGeom prst="rect">
                <a:avLst/>
              </a:prstGeom>
            </p:spPr>
          </p:pic>
        </mc:Fallback>
      </mc:AlternateContent>
      <mc:AlternateContent xmlns:mc="http://schemas.openxmlformats.org/markup-compatibility/2006" xmlns:p14="http://schemas.microsoft.com/office/powerpoint/2010/main">
        <mc:Choice Requires="p14">
          <p:contentPart p14:bwMode="auto" r:id="rId541">
            <p14:nvContentPartPr>
              <p14:cNvPr id="64" name="Ink 63">
                <a:extLst>
                  <a:ext uri="{FF2B5EF4-FFF2-40B4-BE49-F238E27FC236}">
                    <a16:creationId xmlns:a16="http://schemas.microsoft.com/office/drawing/2014/main" id="{F79EF249-747B-1CD8-D1BE-1BA4CE3995F1}"/>
                  </a:ext>
                </a:extLst>
              </p14:cNvPr>
              <p14:cNvContentPartPr/>
              <p14:nvPr/>
            </p14:nvContentPartPr>
            <p14:xfrm>
              <a:off x="11358240" y="3600933"/>
              <a:ext cx="321120" cy="213480"/>
            </p14:xfrm>
          </p:contentPart>
        </mc:Choice>
        <mc:Fallback xmlns="">
          <p:pic>
            <p:nvPicPr>
              <p:cNvPr id="64" name="Ink 63">
                <a:extLst>
                  <a:ext uri="{FF2B5EF4-FFF2-40B4-BE49-F238E27FC236}">
                    <a16:creationId xmlns:a16="http://schemas.microsoft.com/office/drawing/2014/main" id="{F79EF249-747B-1CD8-D1BE-1BA4CE3995F1}"/>
                  </a:ext>
                </a:extLst>
              </p:cNvPr>
              <p:cNvPicPr/>
              <p:nvPr/>
            </p:nvPicPr>
            <p:blipFill>
              <a:blip r:embed="rId542"/>
              <a:stretch>
                <a:fillRect/>
              </a:stretch>
            </p:blipFill>
            <p:spPr>
              <a:xfrm>
                <a:off x="11343120" y="3585453"/>
                <a:ext cx="351720" cy="243720"/>
              </a:xfrm>
              <a:prstGeom prst="rect">
                <a:avLst/>
              </a:prstGeom>
            </p:spPr>
          </p:pic>
        </mc:Fallback>
      </mc:AlternateContent>
      <p:grpSp>
        <p:nvGrpSpPr>
          <p:cNvPr id="67" name="Group 66">
            <a:extLst>
              <a:ext uri="{FF2B5EF4-FFF2-40B4-BE49-F238E27FC236}">
                <a16:creationId xmlns:a16="http://schemas.microsoft.com/office/drawing/2014/main" id="{51128C1C-AA9B-129E-01B2-17124A31FE7D}"/>
              </a:ext>
            </a:extLst>
          </p:cNvPr>
          <p:cNvGrpSpPr/>
          <p:nvPr/>
        </p:nvGrpSpPr>
        <p:grpSpPr>
          <a:xfrm>
            <a:off x="9508560" y="4244253"/>
            <a:ext cx="2271600" cy="386280"/>
            <a:chOff x="9508560" y="4244253"/>
            <a:chExt cx="2271600" cy="386280"/>
          </a:xfrm>
        </p:grpSpPr>
        <mc:AlternateContent xmlns:mc="http://schemas.openxmlformats.org/markup-compatibility/2006" xmlns:p14="http://schemas.microsoft.com/office/powerpoint/2010/main">
          <mc:Choice Requires="p14">
            <p:contentPart p14:bwMode="auto" r:id="rId543">
              <p14:nvContentPartPr>
                <p14:cNvPr id="65" name="Ink 64">
                  <a:extLst>
                    <a:ext uri="{FF2B5EF4-FFF2-40B4-BE49-F238E27FC236}">
                      <a16:creationId xmlns:a16="http://schemas.microsoft.com/office/drawing/2014/main" id="{EE2B50C3-FC71-E2CB-F491-A0F527948FBE}"/>
                    </a:ext>
                  </a:extLst>
                </p14:cNvPr>
                <p14:cNvContentPartPr/>
                <p14:nvPr/>
              </p14:nvContentPartPr>
              <p14:xfrm>
                <a:off x="9609000" y="4244253"/>
                <a:ext cx="2171160" cy="386280"/>
              </p14:xfrm>
            </p:contentPart>
          </mc:Choice>
          <mc:Fallback xmlns="">
            <p:pic>
              <p:nvPicPr>
                <p:cNvPr id="65" name="Ink 64">
                  <a:extLst>
                    <a:ext uri="{FF2B5EF4-FFF2-40B4-BE49-F238E27FC236}">
                      <a16:creationId xmlns:a16="http://schemas.microsoft.com/office/drawing/2014/main" id="{EE2B50C3-FC71-E2CB-F491-A0F527948FBE}"/>
                    </a:ext>
                  </a:extLst>
                </p:cNvPr>
                <p:cNvPicPr/>
                <p:nvPr/>
              </p:nvPicPr>
              <p:blipFill>
                <a:blip r:embed="rId544"/>
                <a:stretch>
                  <a:fillRect/>
                </a:stretch>
              </p:blipFill>
              <p:spPr>
                <a:xfrm>
                  <a:off x="9593880" y="4229133"/>
                  <a:ext cx="2201760" cy="416880"/>
                </a:xfrm>
                <a:prstGeom prst="rect">
                  <a:avLst/>
                </a:prstGeom>
              </p:spPr>
            </p:pic>
          </mc:Fallback>
        </mc:AlternateContent>
        <mc:AlternateContent xmlns:mc="http://schemas.openxmlformats.org/markup-compatibility/2006" xmlns:p14="http://schemas.microsoft.com/office/powerpoint/2010/main">
          <mc:Choice Requires="p14">
            <p:contentPart p14:bwMode="auto" r:id="rId545">
              <p14:nvContentPartPr>
                <p14:cNvPr id="66" name="Ink 65">
                  <a:extLst>
                    <a:ext uri="{FF2B5EF4-FFF2-40B4-BE49-F238E27FC236}">
                      <a16:creationId xmlns:a16="http://schemas.microsoft.com/office/drawing/2014/main" id="{154463E0-6720-AC58-20D2-35B98025A060}"/>
                    </a:ext>
                  </a:extLst>
                </p14:cNvPr>
                <p14:cNvContentPartPr/>
                <p14:nvPr/>
              </p14:nvContentPartPr>
              <p14:xfrm>
                <a:off x="9508560" y="4293213"/>
                <a:ext cx="190800" cy="64440"/>
              </p14:xfrm>
            </p:contentPart>
          </mc:Choice>
          <mc:Fallback xmlns="">
            <p:pic>
              <p:nvPicPr>
                <p:cNvPr id="66" name="Ink 65">
                  <a:extLst>
                    <a:ext uri="{FF2B5EF4-FFF2-40B4-BE49-F238E27FC236}">
                      <a16:creationId xmlns:a16="http://schemas.microsoft.com/office/drawing/2014/main" id="{154463E0-6720-AC58-20D2-35B98025A060}"/>
                    </a:ext>
                  </a:extLst>
                </p:cNvPr>
                <p:cNvPicPr/>
                <p:nvPr/>
              </p:nvPicPr>
              <p:blipFill>
                <a:blip r:embed="rId546"/>
                <a:stretch>
                  <a:fillRect/>
                </a:stretch>
              </p:blipFill>
              <p:spPr>
                <a:xfrm>
                  <a:off x="9493080" y="4278093"/>
                  <a:ext cx="221400" cy="9504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47">
            <p14:nvContentPartPr>
              <p14:cNvPr id="71" name="Ink 70">
                <a:extLst>
                  <a:ext uri="{FF2B5EF4-FFF2-40B4-BE49-F238E27FC236}">
                    <a16:creationId xmlns:a16="http://schemas.microsoft.com/office/drawing/2014/main" id="{FF022468-6546-1104-6D1A-10A0B0A3D275}"/>
                  </a:ext>
                </a:extLst>
              </p14:cNvPr>
              <p14:cNvContentPartPr/>
              <p14:nvPr/>
            </p14:nvContentPartPr>
            <p14:xfrm>
              <a:off x="8291400" y="2096133"/>
              <a:ext cx="208800" cy="92880"/>
            </p14:xfrm>
          </p:contentPart>
        </mc:Choice>
        <mc:Fallback xmlns="">
          <p:pic>
            <p:nvPicPr>
              <p:cNvPr id="71" name="Ink 70">
                <a:extLst>
                  <a:ext uri="{FF2B5EF4-FFF2-40B4-BE49-F238E27FC236}">
                    <a16:creationId xmlns:a16="http://schemas.microsoft.com/office/drawing/2014/main" id="{FF022468-6546-1104-6D1A-10A0B0A3D275}"/>
                  </a:ext>
                </a:extLst>
              </p:cNvPr>
              <p:cNvPicPr/>
              <p:nvPr/>
            </p:nvPicPr>
            <p:blipFill>
              <a:blip r:embed="rId548"/>
              <a:stretch>
                <a:fillRect/>
              </a:stretch>
            </p:blipFill>
            <p:spPr>
              <a:xfrm>
                <a:off x="8275920" y="2080653"/>
                <a:ext cx="239400" cy="123120"/>
              </a:xfrm>
              <a:prstGeom prst="rect">
                <a:avLst/>
              </a:prstGeom>
            </p:spPr>
          </p:pic>
        </mc:Fallback>
      </mc:AlternateContent>
      <mc:AlternateContent xmlns:mc="http://schemas.openxmlformats.org/markup-compatibility/2006" xmlns:p14="http://schemas.microsoft.com/office/powerpoint/2010/main">
        <mc:Choice Requires="p14">
          <p:contentPart p14:bwMode="auto" r:id="rId549">
            <p14:nvContentPartPr>
              <p14:cNvPr id="72" name="Ink 71">
                <a:extLst>
                  <a:ext uri="{FF2B5EF4-FFF2-40B4-BE49-F238E27FC236}">
                    <a16:creationId xmlns:a16="http://schemas.microsoft.com/office/drawing/2014/main" id="{4055FF48-38C9-56DF-B9FF-BA35F4677051}"/>
                  </a:ext>
                </a:extLst>
              </p14:cNvPr>
              <p14:cNvContentPartPr/>
              <p14:nvPr/>
            </p14:nvContentPartPr>
            <p14:xfrm>
              <a:off x="8274120" y="2324013"/>
              <a:ext cx="231120" cy="39960"/>
            </p14:xfrm>
          </p:contentPart>
        </mc:Choice>
        <mc:Fallback xmlns="">
          <p:pic>
            <p:nvPicPr>
              <p:cNvPr id="72" name="Ink 71">
                <a:extLst>
                  <a:ext uri="{FF2B5EF4-FFF2-40B4-BE49-F238E27FC236}">
                    <a16:creationId xmlns:a16="http://schemas.microsoft.com/office/drawing/2014/main" id="{4055FF48-38C9-56DF-B9FF-BA35F4677051}"/>
                  </a:ext>
                </a:extLst>
              </p:cNvPr>
              <p:cNvPicPr/>
              <p:nvPr/>
            </p:nvPicPr>
            <p:blipFill>
              <a:blip r:embed="rId550"/>
              <a:stretch>
                <a:fillRect/>
              </a:stretch>
            </p:blipFill>
            <p:spPr>
              <a:xfrm>
                <a:off x="8259000" y="2308893"/>
                <a:ext cx="261720" cy="70200"/>
              </a:xfrm>
              <a:prstGeom prst="rect">
                <a:avLst/>
              </a:prstGeom>
            </p:spPr>
          </p:pic>
        </mc:Fallback>
      </mc:AlternateContent>
      <p:grpSp>
        <p:nvGrpSpPr>
          <p:cNvPr id="75" name="Group 74">
            <a:extLst>
              <a:ext uri="{FF2B5EF4-FFF2-40B4-BE49-F238E27FC236}">
                <a16:creationId xmlns:a16="http://schemas.microsoft.com/office/drawing/2014/main" id="{C1FD9569-73FA-BE46-C3A5-5405E49F7EB3}"/>
              </a:ext>
            </a:extLst>
          </p:cNvPr>
          <p:cNvGrpSpPr/>
          <p:nvPr/>
        </p:nvGrpSpPr>
        <p:grpSpPr>
          <a:xfrm>
            <a:off x="5598960" y="4368813"/>
            <a:ext cx="695880" cy="596520"/>
            <a:chOff x="5598960" y="4368813"/>
            <a:chExt cx="695880" cy="596520"/>
          </a:xfrm>
        </p:grpSpPr>
        <mc:AlternateContent xmlns:mc="http://schemas.openxmlformats.org/markup-compatibility/2006" xmlns:p14="http://schemas.microsoft.com/office/powerpoint/2010/main">
          <mc:Choice Requires="p14">
            <p:contentPart p14:bwMode="auto" r:id="rId551">
              <p14:nvContentPartPr>
                <p14:cNvPr id="68" name="Ink 67">
                  <a:extLst>
                    <a:ext uri="{FF2B5EF4-FFF2-40B4-BE49-F238E27FC236}">
                      <a16:creationId xmlns:a16="http://schemas.microsoft.com/office/drawing/2014/main" id="{51FD4E67-C441-4CF2-91F9-7EB03CEED480}"/>
                    </a:ext>
                  </a:extLst>
                </p14:cNvPr>
                <p14:cNvContentPartPr/>
                <p14:nvPr/>
              </p14:nvContentPartPr>
              <p14:xfrm>
                <a:off x="5605800" y="4822413"/>
                <a:ext cx="492480" cy="40320"/>
              </p14:xfrm>
            </p:contentPart>
          </mc:Choice>
          <mc:Fallback xmlns="">
            <p:pic>
              <p:nvPicPr>
                <p:cNvPr id="68" name="Ink 67">
                  <a:extLst>
                    <a:ext uri="{FF2B5EF4-FFF2-40B4-BE49-F238E27FC236}">
                      <a16:creationId xmlns:a16="http://schemas.microsoft.com/office/drawing/2014/main" id="{51FD4E67-C441-4CF2-91F9-7EB03CEED480}"/>
                    </a:ext>
                  </a:extLst>
                </p:cNvPr>
                <p:cNvPicPr/>
                <p:nvPr/>
              </p:nvPicPr>
              <p:blipFill>
                <a:blip r:embed="rId552"/>
                <a:stretch>
                  <a:fillRect/>
                </a:stretch>
              </p:blipFill>
              <p:spPr>
                <a:xfrm>
                  <a:off x="5590680" y="4806933"/>
                  <a:ext cx="523080" cy="70560"/>
                </a:xfrm>
                <a:prstGeom prst="rect">
                  <a:avLst/>
                </a:prstGeom>
              </p:spPr>
            </p:pic>
          </mc:Fallback>
        </mc:AlternateContent>
        <mc:AlternateContent xmlns:mc="http://schemas.openxmlformats.org/markup-compatibility/2006" xmlns:p14="http://schemas.microsoft.com/office/powerpoint/2010/main">
          <mc:Choice Requires="p14">
            <p:contentPart p14:bwMode="auto" r:id="rId553">
              <p14:nvContentPartPr>
                <p14:cNvPr id="69" name="Ink 68">
                  <a:extLst>
                    <a:ext uri="{FF2B5EF4-FFF2-40B4-BE49-F238E27FC236}">
                      <a16:creationId xmlns:a16="http://schemas.microsoft.com/office/drawing/2014/main" id="{8898B2D8-D22E-63E8-62F5-C12C3D40E8EA}"/>
                    </a:ext>
                  </a:extLst>
                </p14:cNvPr>
                <p14:cNvContentPartPr/>
                <p14:nvPr/>
              </p14:nvContentPartPr>
              <p14:xfrm>
                <a:off x="5657280" y="4917813"/>
                <a:ext cx="412200" cy="47520"/>
              </p14:xfrm>
            </p:contentPart>
          </mc:Choice>
          <mc:Fallback xmlns="">
            <p:pic>
              <p:nvPicPr>
                <p:cNvPr id="69" name="Ink 68">
                  <a:extLst>
                    <a:ext uri="{FF2B5EF4-FFF2-40B4-BE49-F238E27FC236}">
                      <a16:creationId xmlns:a16="http://schemas.microsoft.com/office/drawing/2014/main" id="{8898B2D8-D22E-63E8-62F5-C12C3D40E8EA}"/>
                    </a:ext>
                  </a:extLst>
                </p:cNvPr>
                <p:cNvPicPr/>
                <p:nvPr/>
              </p:nvPicPr>
              <p:blipFill>
                <a:blip r:embed="rId554"/>
                <a:stretch>
                  <a:fillRect/>
                </a:stretch>
              </p:blipFill>
              <p:spPr>
                <a:xfrm>
                  <a:off x="5642160" y="4902693"/>
                  <a:ext cx="442440" cy="77760"/>
                </a:xfrm>
                <a:prstGeom prst="rect">
                  <a:avLst/>
                </a:prstGeom>
              </p:spPr>
            </p:pic>
          </mc:Fallback>
        </mc:AlternateContent>
        <mc:AlternateContent xmlns:mc="http://schemas.openxmlformats.org/markup-compatibility/2006" xmlns:p14="http://schemas.microsoft.com/office/powerpoint/2010/main">
          <mc:Choice Requires="p14">
            <p:contentPart p14:bwMode="auto" r:id="rId555">
              <p14:nvContentPartPr>
                <p14:cNvPr id="73" name="Ink 72">
                  <a:extLst>
                    <a:ext uri="{FF2B5EF4-FFF2-40B4-BE49-F238E27FC236}">
                      <a16:creationId xmlns:a16="http://schemas.microsoft.com/office/drawing/2014/main" id="{597F7C4A-363F-E3F8-6E3B-62147B0D6261}"/>
                    </a:ext>
                  </a:extLst>
                </p14:cNvPr>
                <p14:cNvContentPartPr/>
                <p14:nvPr/>
              </p14:nvContentPartPr>
              <p14:xfrm>
                <a:off x="5598960" y="4421373"/>
                <a:ext cx="66600" cy="413280"/>
              </p14:xfrm>
            </p:contentPart>
          </mc:Choice>
          <mc:Fallback xmlns="">
            <p:pic>
              <p:nvPicPr>
                <p:cNvPr id="73" name="Ink 72">
                  <a:extLst>
                    <a:ext uri="{FF2B5EF4-FFF2-40B4-BE49-F238E27FC236}">
                      <a16:creationId xmlns:a16="http://schemas.microsoft.com/office/drawing/2014/main" id="{597F7C4A-363F-E3F8-6E3B-62147B0D6261}"/>
                    </a:ext>
                  </a:extLst>
                </p:cNvPr>
                <p:cNvPicPr/>
                <p:nvPr/>
              </p:nvPicPr>
              <p:blipFill>
                <a:blip r:embed="rId556"/>
                <a:stretch>
                  <a:fillRect/>
                </a:stretch>
              </p:blipFill>
              <p:spPr>
                <a:xfrm>
                  <a:off x="5583840" y="4406253"/>
                  <a:ext cx="97200" cy="443520"/>
                </a:xfrm>
                <a:prstGeom prst="rect">
                  <a:avLst/>
                </a:prstGeom>
              </p:spPr>
            </p:pic>
          </mc:Fallback>
        </mc:AlternateContent>
        <mc:AlternateContent xmlns:mc="http://schemas.openxmlformats.org/markup-compatibility/2006" xmlns:p14="http://schemas.microsoft.com/office/powerpoint/2010/main">
          <mc:Choice Requires="p14">
            <p:contentPart p14:bwMode="auto" r:id="rId557">
              <p14:nvContentPartPr>
                <p14:cNvPr id="74" name="Ink 73">
                  <a:extLst>
                    <a:ext uri="{FF2B5EF4-FFF2-40B4-BE49-F238E27FC236}">
                      <a16:creationId xmlns:a16="http://schemas.microsoft.com/office/drawing/2014/main" id="{785C110F-851C-2F21-5295-E984CE869E6A}"/>
                    </a:ext>
                  </a:extLst>
                </p14:cNvPr>
                <p14:cNvContentPartPr/>
                <p14:nvPr/>
              </p14:nvContentPartPr>
              <p14:xfrm>
                <a:off x="5630280" y="4368813"/>
                <a:ext cx="664560" cy="515520"/>
              </p14:xfrm>
            </p:contentPart>
          </mc:Choice>
          <mc:Fallback xmlns="">
            <p:pic>
              <p:nvPicPr>
                <p:cNvPr id="74" name="Ink 73">
                  <a:extLst>
                    <a:ext uri="{FF2B5EF4-FFF2-40B4-BE49-F238E27FC236}">
                      <a16:creationId xmlns:a16="http://schemas.microsoft.com/office/drawing/2014/main" id="{785C110F-851C-2F21-5295-E984CE869E6A}"/>
                    </a:ext>
                  </a:extLst>
                </p:cNvPr>
                <p:cNvPicPr/>
                <p:nvPr/>
              </p:nvPicPr>
              <p:blipFill>
                <a:blip r:embed="rId558"/>
                <a:stretch>
                  <a:fillRect/>
                </a:stretch>
              </p:blipFill>
              <p:spPr>
                <a:xfrm>
                  <a:off x="5614800" y="4353693"/>
                  <a:ext cx="695160" cy="546120"/>
                </a:xfrm>
                <a:prstGeom prst="rect">
                  <a:avLst/>
                </a:prstGeom>
              </p:spPr>
            </p:pic>
          </mc:Fallback>
        </mc:AlternateContent>
      </p:grpSp>
    </p:spTree>
    <p:extLst>
      <p:ext uri="{BB962C8B-B14F-4D97-AF65-F5344CB8AC3E}">
        <p14:creationId xmlns:p14="http://schemas.microsoft.com/office/powerpoint/2010/main" val="13708361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F5E603-548B-4576-BBB6-A50532C3D243}"/>
              </a:ext>
            </a:extLst>
          </p:cNvPr>
          <p:cNvGraphicFramePr>
            <a:graphicFrameLocks noChangeAspect="1"/>
          </p:cNvGraphicFramePr>
          <p:nvPr>
            <p:custDataLst>
              <p:tags r:id="rId1"/>
            </p:custDataLst>
            <p:extLst>
              <p:ext uri="{D42A27DB-BD31-4B8C-83A1-F6EECF244321}">
                <p14:modId xmlns:p14="http://schemas.microsoft.com/office/powerpoint/2010/main" val="989611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D9F5E603-548B-4576-BBB6-A50532C3D2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47637" y="92147"/>
            <a:ext cx="11896725" cy="615950"/>
          </a:xfrm>
        </p:spPr>
        <p:txBody>
          <a:bodyPr vert="horz">
            <a:normAutofit fontScale="90000"/>
          </a:bodyPr>
          <a:lstStyle/>
          <a:p>
            <a:r>
              <a:rPr lang="en-US" b="1" dirty="0">
                <a:solidFill>
                  <a:schemeClr val="accent1"/>
                </a:solidFill>
              </a:rPr>
              <a:t>Word Embeddings – </a:t>
            </a:r>
            <a:r>
              <a:rPr lang="en-US" dirty="0">
                <a:solidFill>
                  <a:schemeClr val="accent1"/>
                </a:solidFill>
              </a:rPr>
              <a:t>Neural Language Model Framework</a:t>
            </a:r>
          </a:p>
        </p:txBody>
      </p:sp>
      <p:sp>
        <p:nvSpPr>
          <p:cNvPr id="15" name="TextBox 14">
            <a:extLst>
              <a:ext uri="{FF2B5EF4-FFF2-40B4-BE49-F238E27FC236}">
                <a16:creationId xmlns:a16="http://schemas.microsoft.com/office/drawing/2014/main" id="{13BDB66B-F098-4CE2-AE85-805DFF1E13FD}"/>
              </a:ext>
            </a:extLst>
          </p:cNvPr>
          <p:cNvSpPr txBox="1"/>
          <p:nvPr/>
        </p:nvSpPr>
        <p:spPr>
          <a:xfrm>
            <a:off x="8571339" y="1670367"/>
            <a:ext cx="3473023" cy="3785652"/>
          </a:xfrm>
          <a:prstGeom prst="rect">
            <a:avLst/>
          </a:prstGeom>
          <a:noFill/>
        </p:spPr>
        <p:txBody>
          <a:bodyPr wrap="square">
            <a:spAutoFit/>
          </a:bodyPr>
          <a:lstStyle/>
          <a:p>
            <a:pPr algn="l">
              <a:buClr>
                <a:srgbClr val="3A6008"/>
              </a:buClr>
            </a:pPr>
            <a:r>
              <a:rPr lang="en-US" altLang="en-US" sz="2000" b="1" i="1" dirty="0"/>
              <a:t>Neural Network Structure:-</a:t>
            </a:r>
          </a:p>
          <a:p>
            <a:pPr algn="l">
              <a:buClr>
                <a:srgbClr val="3A6008"/>
              </a:buClr>
            </a:pPr>
            <a:r>
              <a:rPr lang="en-US" altLang="en-US" sz="2000" b="1" i="1" dirty="0"/>
              <a:t>Input layer - </a:t>
            </a:r>
            <a:r>
              <a:rPr lang="en-US" altLang="en-US" sz="2000" i="1" dirty="0"/>
              <a:t>Embedding layers (300,1 each input – stacked together)</a:t>
            </a:r>
          </a:p>
          <a:p>
            <a:pPr algn="l">
              <a:buClr>
                <a:srgbClr val="3A6008"/>
              </a:buClr>
            </a:pPr>
            <a:r>
              <a:rPr lang="en-US" altLang="en-US" sz="2000" b="1" i="1" dirty="0"/>
              <a:t>Output layer – </a:t>
            </a:r>
            <a:r>
              <a:rPr lang="en-US" altLang="en-US" sz="2000" i="1" dirty="0"/>
              <a:t>Probability of each of word using a </a:t>
            </a:r>
            <a:r>
              <a:rPr lang="en-US" altLang="en-US" sz="2000" i="1" dirty="0" err="1"/>
              <a:t>softmax</a:t>
            </a:r>
            <a:r>
              <a:rPr lang="en-US" altLang="en-US" sz="2000" i="1" dirty="0"/>
              <a:t> activation (multiclass prediction)</a:t>
            </a:r>
          </a:p>
          <a:p>
            <a:pPr algn="l">
              <a:buClr>
                <a:srgbClr val="3A6008"/>
              </a:buClr>
            </a:pPr>
            <a:endParaRPr lang="en-US" altLang="en-US" sz="2000" b="1" i="1" dirty="0"/>
          </a:p>
          <a:p>
            <a:pPr algn="l">
              <a:buClr>
                <a:srgbClr val="3A6008"/>
              </a:buClr>
            </a:pPr>
            <a:r>
              <a:rPr lang="en-US" altLang="en-US" sz="2000" i="1" dirty="0"/>
              <a:t>*In output layer, highest prob value is final prediction for the word like ‘</a:t>
            </a:r>
            <a:r>
              <a:rPr lang="en-US" altLang="en-US" sz="2000" b="1" i="1" dirty="0"/>
              <a:t>Juice’</a:t>
            </a:r>
          </a:p>
        </p:txBody>
      </p:sp>
      <p:pic>
        <p:nvPicPr>
          <p:cNvPr id="21" name="Picture 20">
            <a:extLst>
              <a:ext uri="{FF2B5EF4-FFF2-40B4-BE49-F238E27FC236}">
                <a16:creationId xmlns:a16="http://schemas.microsoft.com/office/drawing/2014/main" id="{B67DAA16-EFCF-41BD-8205-9E289AFF056E}"/>
              </a:ext>
            </a:extLst>
          </p:cNvPr>
          <p:cNvPicPr>
            <a:picLocks noChangeAspect="1"/>
          </p:cNvPicPr>
          <p:nvPr/>
        </p:nvPicPr>
        <p:blipFill>
          <a:blip r:embed="rId6"/>
          <a:stretch>
            <a:fillRect/>
          </a:stretch>
        </p:blipFill>
        <p:spPr>
          <a:xfrm>
            <a:off x="271408" y="1149883"/>
            <a:ext cx="8134233" cy="4583094"/>
          </a:xfrm>
          <a:prstGeom prst="rect">
            <a:avLst/>
          </a:prstGeom>
        </p:spPr>
      </p:pic>
      <p:sp>
        <p:nvSpPr>
          <p:cNvPr id="23" name="TextBox 22">
            <a:extLst>
              <a:ext uri="{FF2B5EF4-FFF2-40B4-BE49-F238E27FC236}">
                <a16:creationId xmlns:a16="http://schemas.microsoft.com/office/drawing/2014/main" id="{FFADDA99-A930-450E-85FA-9566F393FF4A}"/>
              </a:ext>
            </a:extLst>
          </p:cNvPr>
          <p:cNvSpPr txBox="1"/>
          <p:nvPr/>
        </p:nvSpPr>
        <p:spPr>
          <a:xfrm>
            <a:off x="271408" y="5738934"/>
            <a:ext cx="8134233" cy="400110"/>
          </a:xfrm>
          <a:prstGeom prst="rect">
            <a:avLst/>
          </a:prstGeom>
          <a:noFill/>
        </p:spPr>
        <p:txBody>
          <a:bodyPr wrap="square">
            <a:spAutoFit/>
          </a:bodyPr>
          <a:lstStyle/>
          <a:p>
            <a:pPr algn="l">
              <a:buClr>
                <a:srgbClr val="3A6008"/>
              </a:buClr>
            </a:pPr>
            <a:r>
              <a:rPr lang="en-US" altLang="en-US" sz="2000" i="1" dirty="0"/>
              <a:t>We use </a:t>
            </a:r>
            <a:r>
              <a:rPr lang="en-US" altLang="en-US" sz="2000" b="1" i="1" dirty="0"/>
              <a:t>embedding size</a:t>
            </a:r>
            <a:r>
              <a:rPr lang="en-US" altLang="en-US" sz="2000" i="1" dirty="0"/>
              <a:t> in </a:t>
            </a:r>
            <a:r>
              <a:rPr lang="en-US" altLang="en-US" sz="2000" b="1" i="1" dirty="0" err="1"/>
              <a:t>Keras</a:t>
            </a:r>
            <a:r>
              <a:rPr lang="en-US" altLang="en-US" sz="2000" i="1" dirty="0"/>
              <a:t> Embedding layer to decide the matrix size</a:t>
            </a:r>
            <a:endParaRPr lang="en-US" altLang="en-US" sz="2000" b="1" i="1" dirty="0"/>
          </a:p>
        </p:txBody>
      </p:sp>
      <mc:AlternateContent xmlns:mc="http://schemas.openxmlformats.org/markup-compatibility/2006" xmlns:p14="http://schemas.microsoft.com/office/powerpoint/2010/main">
        <mc:Choice Requires="p14">
          <p:contentPart p14:bwMode="auto" r:id="rId7">
            <p14:nvContentPartPr>
              <p14:cNvPr id="4" name="Ink 3">
                <a:extLst>
                  <a:ext uri="{FF2B5EF4-FFF2-40B4-BE49-F238E27FC236}">
                    <a16:creationId xmlns:a16="http://schemas.microsoft.com/office/drawing/2014/main" id="{AC523817-A9EF-04D6-CA04-3FAAF2B80F7E}"/>
                  </a:ext>
                </a:extLst>
              </p14:cNvPr>
              <p14:cNvContentPartPr/>
              <p14:nvPr/>
            </p14:nvContentPartPr>
            <p14:xfrm>
              <a:off x="1950360" y="3022773"/>
              <a:ext cx="397080" cy="69840"/>
            </p14:xfrm>
          </p:contentPart>
        </mc:Choice>
        <mc:Fallback xmlns="">
          <p:pic>
            <p:nvPicPr>
              <p:cNvPr id="4" name="Ink 3">
                <a:extLst>
                  <a:ext uri="{FF2B5EF4-FFF2-40B4-BE49-F238E27FC236}">
                    <a16:creationId xmlns:a16="http://schemas.microsoft.com/office/drawing/2014/main" id="{AC523817-A9EF-04D6-CA04-3FAAF2B80F7E}"/>
                  </a:ext>
                </a:extLst>
              </p:cNvPr>
              <p:cNvPicPr/>
              <p:nvPr/>
            </p:nvPicPr>
            <p:blipFill>
              <a:blip r:embed="rId8"/>
              <a:stretch>
                <a:fillRect/>
              </a:stretch>
            </p:blipFill>
            <p:spPr>
              <a:xfrm>
                <a:off x="1941720" y="3013773"/>
                <a:ext cx="414720" cy="87480"/>
              </a:xfrm>
              <a:prstGeom prst="rect">
                <a:avLst/>
              </a:prstGeom>
            </p:spPr>
          </p:pic>
        </mc:Fallback>
      </mc:AlternateContent>
      <p:grpSp>
        <p:nvGrpSpPr>
          <p:cNvPr id="7" name="Group 6">
            <a:extLst>
              <a:ext uri="{FF2B5EF4-FFF2-40B4-BE49-F238E27FC236}">
                <a16:creationId xmlns:a16="http://schemas.microsoft.com/office/drawing/2014/main" id="{177811B0-6D5A-B666-CF32-DE74F1A270AB}"/>
              </a:ext>
            </a:extLst>
          </p:cNvPr>
          <p:cNvGrpSpPr/>
          <p:nvPr/>
        </p:nvGrpSpPr>
        <p:grpSpPr>
          <a:xfrm>
            <a:off x="5916120" y="2315200"/>
            <a:ext cx="244080" cy="99000"/>
            <a:chOff x="5916120" y="2315200"/>
            <a:chExt cx="244080" cy="99000"/>
          </a:xfrm>
        </p:grpSpPr>
        <mc:AlternateContent xmlns:mc="http://schemas.openxmlformats.org/markup-compatibility/2006" xmlns:p14="http://schemas.microsoft.com/office/powerpoint/2010/main">
          <mc:Choice Requires="p14">
            <p:contentPart p14:bwMode="auto" r:id="rId9">
              <p14:nvContentPartPr>
                <p14:cNvPr id="3" name="Ink 2">
                  <a:extLst>
                    <a:ext uri="{FF2B5EF4-FFF2-40B4-BE49-F238E27FC236}">
                      <a16:creationId xmlns:a16="http://schemas.microsoft.com/office/drawing/2014/main" id="{0505A6A8-7FB8-B8DB-5E46-4FF108B7052E}"/>
                    </a:ext>
                  </a:extLst>
                </p14:cNvPr>
                <p14:cNvContentPartPr/>
                <p14:nvPr/>
              </p14:nvContentPartPr>
              <p14:xfrm>
                <a:off x="5963280" y="2315200"/>
                <a:ext cx="196920" cy="5400"/>
              </p14:xfrm>
            </p:contentPart>
          </mc:Choice>
          <mc:Fallback xmlns="">
            <p:pic>
              <p:nvPicPr>
                <p:cNvPr id="3" name="Ink 2">
                  <a:extLst>
                    <a:ext uri="{FF2B5EF4-FFF2-40B4-BE49-F238E27FC236}">
                      <a16:creationId xmlns:a16="http://schemas.microsoft.com/office/drawing/2014/main" id="{0505A6A8-7FB8-B8DB-5E46-4FF108B7052E}"/>
                    </a:ext>
                  </a:extLst>
                </p:cNvPr>
                <p:cNvPicPr/>
                <p:nvPr/>
              </p:nvPicPr>
              <p:blipFill>
                <a:blip r:embed="rId10"/>
                <a:stretch>
                  <a:fillRect/>
                </a:stretch>
              </p:blipFill>
              <p:spPr>
                <a:xfrm>
                  <a:off x="5947800" y="2299720"/>
                  <a:ext cx="227520" cy="3564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5" name="Ink 4">
                  <a:extLst>
                    <a:ext uri="{FF2B5EF4-FFF2-40B4-BE49-F238E27FC236}">
                      <a16:creationId xmlns:a16="http://schemas.microsoft.com/office/drawing/2014/main" id="{DC0814A0-94EC-E7EA-85ED-F2E9668CF9A5}"/>
                    </a:ext>
                  </a:extLst>
                </p14:cNvPr>
                <p14:cNvContentPartPr/>
                <p14:nvPr/>
              </p14:nvContentPartPr>
              <p14:xfrm>
                <a:off x="5916120" y="2338600"/>
                <a:ext cx="244080" cy="75600"/>
              </p14:xfrm>
            </p:contentPart>
          </mc:Choice>
          <mc:Fallback xmlns="">
            <p:pic>
              <p:nvPicPr>
                <p:cNvPr id="5" name="Ink 4">
                  <a:extLst>
                    <a:ext uri="{FF2B5EF4-FFF2-40B4-BE49-F238E27FC236}">
                      <a16:creationId xmlns:a16="http://schemas.microsoft.com/office/drawing/2014/main" id="{DC0814A0-94EC-E7EA-85ED-F2E9668CF9A5}"/>
                    </a:ext>
                  </a:extLst>
                </p:cNvPr>
                <p:cNvPicPr/>
                <p:nvPr/>
              </p:nvPicPr>
              <p:blipFill>
                <a:blip r:embed="rId12"/>
                <a:stretch>
                  <a:fillRect/>
                </a:stretch>
              </p:blipFill>
              <p:spPr>
                <a:xfrm>
                  <a:off x="5900640" y="2323120"/>
                  <a:ext cx="274680" cy="106200"/>
                </a:xfrm>
                <a:prstGeom prst="rect">
                  <a:avLst/>
                </a:prstGeom>
              </p:spPr>
            </p:pic>
          </mc:Fallback>
        </mc:AlternateContent>
      </p:grpSp>
      <p:grpSp>
        <p:nvGrpSpPr>
          <p:cNvPr id="10" name="Group 9">
            <a:extLst>
              <a:ext uri="{FF2B5EF4-FFF2-40B4-BE49-F238E27FC236}">
                <a16:creationId xmlns:a16="http://schemas.microsoft.com/office/drawing/2014/main" id="{37BC279D-B0B8-8DF7-423C-5EE59FC02574}"/>
              </a:ext>
            </a:extLst>
          </p:cNvPr>
          <p:cNvGrpSpPr/>
          <p:nvPr/>
        </p:nvGrpSpPr>
        <p:grpSpPr>
          <a:xfrm>
            <a:off x="6196920" y="1600240"/>
            <a:ext cx="422640" cy="383760"/>
            <a:chOff x="6196920" y="1600240"/>
            <a:chExt cx="422640" cy="383760"/>
          </a:xfrm>
        </p:grpSpPr>
        <mc:AlternateContent xmlns:mc="http://schemas.openxmlformats.org/markup-compatibility/2006" xmlns:p14="http://schemas.microsoft.com/office/powerpoint/2010/main">
          <mc:Choice Requires="p14">
            <p:contentPart p14:bwMode="auto" r:id="rId13">
              <p14:nvContentPartPr>
                <p14:cNvPr id="8" name="Ink 7">
                  <a:extLst>
                    <a:ext uri="{FF2B5EF4-FFF2-40B4-BE49-F238E27FC236}">
                      <a16:creationId xmlns:a16="http://schemas.microsoft.com/office/drawing/2014/main" id="{1EB16F7D-64BF-ADB8-27F3-DDB9090D7098}"/>
                    </a:ext>
                  </a:extLst>
                </p14:cNvPr>
                <p14:cNvContentPartPr/>
                <p14:nvPr/>
              </p14:nvContentPartPr>
              <p14:xfrm>
                <a:off x="6300600" y="1698880"/>
                <a:ext cx="180360" cy="159120"/>
              </p14:xfrm>
            </p:contentPart>
          </mc:Choice>
          <mc:Fallback xmlns="">
            <p:pic>
              <p:nvPicPr>
                <p:cNvPr id="8" name="Ink 7">
                  <a:extLst>
                    <a:ext uri="{FF2B5EF4-FFF2-40B4-BE49-F238E27FC236}">
                      <a16:creationId xmlns:a16="http://schemas.microsoft.com/office/drawing/2014/main" id="{1EB16F7D-64BF-ADB8-27F3-DDB9090D7098}"/>
                    </a:ext>
                  </a:extLst>
                </p:cNvPr>
                <p:cNvPicPr/>
                <p:nvPr/>
              </p:nvPicPr>
              <p:blipFill>
                <a:blip r:embed="rId14"/>
                <a:stretch>
                  <a:fillRect/>
                </a:stretch>
              </p:blipFill>
              <p:spPr>
                <a:xfrm>
                  <a:off x="6285120" y="1683760"/>
                  <a:ext cx="210600" cy="18972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9" name="Ink 8">
                  <a:extLst>
                    <a:ext uri="{FF2B5EF4-FFF2-40B4-BE49-F238E27FC236}">
                      <a16:creationId xmlns:a16="http://schemas.microsoft.com/office/drawing/2014/main" id="{D8D1BEF3-D31F-1589-E1A0-A5D52AA800D2}"/>
                    </a:ext>
                  </a:extLst>
                </p14:cNvPr>
                <p14:cNvContentPartPr/>
                <p14:nvPr/>
              </p14:nvContentPartPr>
              <p14:xfrm>
                <a:off x="6196920" y="1600240"/>
                <a:ext cx="422640" cy="383760"/>
              </p14:xfrm>
            </p:contentPart>
          </mc:Choice>
          <mc:Fallback xmlns="">
            <p:pic>
              <p:nvPicPr>
                <p:cNvPr id="9" name="Ink 8">
                  <a:extLst>
                    <a:ext uri="{FF2B5EF4-FFF2-40B4-BE49-F238E27FC236}">
                      <a16:creationId xmlns:a16="http://schemas.microsoft.com/office/drawing/2014/main" id="{D8D1BEF3-D31F-1589-E1A0-A5D52AA800D2}"/>
                    </a:ext>
                  </a:extLst>
                </p:cNvPr>
                <p:cNvPicPr/>
                <p:nvPr/>
              </p:nvPicPr>
              <p:blipFill>
                <a:blip r:embed="rId16"/>
                <a:stretch>
                  <a:fillRect/>
                </a:stretch>
              </p:blipFill>
              <p:spPr>
                <a:xfrm>
                  <a:off x="6181800" y="1585120"/>
                  <a:ext cx="453240" cy="41436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7">
            <p14:nvContentPartPr>
              <p14:cNvPr id="11" name="Ink 10">
                <a:extLst>
                  <a:ext uri="{FF2B5EF4-FFF2-40B4-BE49-F238E27FC236}">
                    <a16:creationId xmlns:a16="http://schemas.microsoft.com/office/drawing/2014/main" id="{C778F83D-2A68-AD63-1807-F82FF83C3E98}"/>
                  </a:ext>
                </a:extLst>
              </p14:cNvPr>
              <p14:cNvContentPartPr/>
              <p14:nvPr/>
            </p14:nvContentPartPr>
            <p14:xfrm>
              <a:off x="946680" y="2896960"/>
              <a:ext cx="4680" cy="2880"/>
            </p14:xfrm>
          </p:contentPart>
        </mc:Choice>
        <mc:Fallback xmlns="">
          <p:pic>
            <p:nvPicPr>
              <p:cNvPr id="11" name="Ink 10">
                <a:extLst>
                  <a:ext uri="{FF2B5EF4-FFF2-40B4-BE49-F238E27FC236}">
                    <a16:creationId xmlns:a16="http://schemas.microsoft.com/office/drawing/2014/main" id="{C778F83D-2A68-AD63-1807-F82FF83C3E98}"/>
                  </a:ext>
                </a:extLst>
              </p:cNvPr>
              <p:cNvPicPr/>
              <p:nvPr/>
            </p:nvPicPr>
            <p:blipFill>
              <a:blip r:embed="rId18"/>
              <a:stretch>
                <a:fillRect/>
              </a:stretch>
            </p:blipFill>
            <p:spPr>
              <a:xfrm>
                <a:off x="931560" y="2881840"/>
                <a:ext cx="35280" cy="3312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12" name="Ink 11">
                <a:extLst>
                  <a:ext uri="{FF2B5EF4-FFF2-40B4-BE49-F238E27FC236}">
                    <a16:creationId xmlns:a16="http://schemas.microsoft.com/office/drawing/2014/main" id="{F48B347B-AE2F-39B7-666F-C80CD4C3B0BC}"/>
                  </a:ext>
                </a:extLst>
              </p14:cNvPr>
              <p14:cNvContentPartPr/>
              <p14:nvPr/>
            </p14:nvContentPartPr>
            <p14:xfrm>
              <a:off x="1087800" y="3673120"/>
              <a:ext cx="8280" cy="29160"/>
            </p14:xfrm>
          </p:contentPart>
        </mc:Choice>
        <mc:Fallback xmlns="">
          <p:pic>
            <p:nvPicPr>
              <p:cNvPr id="12" name="Ink 11">
                <a:extLst>
                  <a:ext uri="{FF2B5EF4-FFF2-40B4-BE49-F238E27FC236}">
                    <a16:creationId xmlns:a16="http://schemas.microsoft.com/office/drawing/2014/main" id="{F48B347B-AE2F-39B7-666F-C80CD4C3B0BC}"/>
                  </a:ext>
                </a:extLst>
              </p:cNvPr>
              <p:cNvPicPr/>
              <p:nvPr/>
            </p:nvPicPr>
            <p:blipFill>
              <a:blip r:embed="rId20"/>
              <a:stretch>
                <a:fillRect/>
              </a:stretch>
            </p:blipFill>
            <p:spPr>
              <a:xfrm>
                <a:off x="1072680" y="3658000"/>
                <a:ext cx="38520" cy="594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3" name="Ink 12">
                <a:extLst>
                  <a:ext uri="{FF2B5EF4-FFF2-40B4-BE49-F238E27FC236}">
                    <a16:creationId xmlns:a16="http://schemas.microsoft.com/office/drawing/2014/main" id="{88A61E97-0A19-DCBF-52D6-A81A5072728C}"/>
                  </a:ext>
                </a:extLst>
              </p14:cNvPr>
              <p14:cNvContentPartPr/>
              <p14:nvPr/>
            </p14:nvContentPartPr>
            <p14:xfrm>
              <a:off x="1884120" y="2924320"/>
              <a:ext cx="360" cy="360"/>
            </p14:xfrm>
          </p:contentPart>
        </mc:Choice>
        <mc:Fallback xmlns="">
          <p:pic>
            <p:nvPicPr>
              <p:cNvPr id="13" name="Ink 12">
                <a:extLst>
                  <a:ext uri="{FF2B5EF4-FFF2-40B4-BE49-F238E27FC236}">
                    <a16:creationId xmlns:a16="http://schemas.microsoft.com/office/drawing/2014/main" id="{88A61E97-0A19-DCBF-52D6-A81A5072728C}"/>
                  </a:ext>
                </a:extLst>
              </p:cNvPr>
              <p:cNvPicPr/>
              <p:nvPr/>
            </p:nvPicPr>
            <p:blipFill>
              <a:blip r:embed="rId22"/>
              <a:stretch>
                <a:fillRect/>
              </a:stretch>
            </p:blipFill>
            <p:spPr>
              <a:xfrm>
                <a:off x="1869000" y="2908840"/>
                <a:ext cx="30960" cy="3096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4" name="Ink 13">
                <a:extLst>
                  <a:ext uri="{FF2B5EF4-FFF2-40B4-BE49-F238E27FC236}">
                    <a16:creationId xmlns:a16="http://schemas.microsoft.com/office/drawing/2014/main" id="{3B0134B5-21F7-BE39-F774-57ECA77BB168}"/>
                  </a:ext>
                </a:extLst>
              </p14:cNvPr>
              <p14:cNvContentPartPr/>
              <p14:nvPr/>
            </p14:nvContentPartPr>
            <p14:xfrm>
              <a:off x="1900680" y="3376120"/>
              <a:ext cx="1440" cy="9720"/>
            </p14:xfrm>
          </p:contentPart>
        </mc:Choice>
        <mc:Fallback xmlns="">
          <p:pic>
            <p:nvPicPr>
              <p:cNvPr id="14" name="Ink 13">
                <a:extLst>
                  <a:ext uri="{FF2B5EF4-FFF2-40B4-BE49-F238E27FC236}">
                    <a16:creationId xmlns:a16="http://schemas.microsoft.com/office/drawing/2014/main" id="{3B0134B5-21F7-BE39-F774-57ECA77BB168}"/>
                  </a:ext>
                </a:extLst>
              </p:cNvPr>
              <p:cNvPicPr/>
              <p:nvPr/>
            </p:nvPicPr>
            <p:blipFill>
              <a:blip r:embed="rId24"/>
              <a:stretch>
                <a:fillRect/>
              </a:stretch>
            </p:blipFill>
            <p:spPr>
              <a:xfrm>
                <a:off x="1885560" y="3361000"/>
                <a:ext cx="32040" cy="3996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16" name="Ink 15">
                <a:extLst>
                  <a:ext uri="{FF2B5EF4-FFF2-40B4-BE49-F238E27FC236}">
                    <a16:creationId xmlns:a16="http://schemas.microsoft.com/office/drawing/2014/main" id="{5E1CCA0F-E3C0-757C-A7D7-F5A7232C5C66}"/>
                  </a:ext>
                </a:extLst>
              </p14:cNvPr>
              <p14:cNvContentPartPr/>
              <p14:nvPr/>
            </p14:nvContentPartPr>
            <p14:xfrm>
              <a:off x="1854600" y="3879760"/>
              <a:ext cx="7920" cy="18720"/>
            </p14:xfrm>
          </p:contentPart>
        </mc:Choice>
        <mc:Fallback xmlns="">
          <p:pic>
            <p:nvPicPr>
              <p:cNvPr id="16" name="Ink 15">
                <a:extLst>
                  <a:ext uri="{FF2B5EF4-FFF2-40B4-BE49-F238E27FC236}">
                    <a16:creationId xmlns:a16="http://schemas.microsoft.com/office/drawing/2014/main" id="{5E1CCA0F-E3C0-757C-A7D7-F5A7232C5C66}"/>
                  </a:ext>
                </a:extLst>
              </p:cNvPr>
              <p:cNvPicPr/>
              <p:nvPr/>
            </p:nvPicPr>
            <p:blipFill>
              <a:blip r:embed="rId26"/>
              <a:stretch>
                <a:fillRect/>
              </a:stretch>
            </p:blipFill>
            <p:spPr>
              <a:xfrm>
                <a:off x="1839480" y="3864640"/>
                <a:ext cx="38520" cy="4896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17" name="Ink 16">
                <a:extLst>
                  <a:ext uri="{FF2B5EF4-FFF2-40B4-BE49-F238E27FC236}">
                    <a16:creationId xmlns:a16="http://schemas.microsoft.com/office/drawing/2014/main" id="{EF960BDC-7A85-10B0-C25A-32C43082F8F6}"/>
                  </a:ext>
                </a:extLst>
              </p14:cNvPr>
              <p14:cNvContentPartPr/>
              <p14:nvPr/>
            </p14:nvContentPartPr>
            <p14:xfrm>
              <a:off x="1812480" y="4375480"/>
              <a:ext cx="15120" cy="14400"/>
            </p14:xfrm>
          </p:contentPart>
        </mc:Choice>
        <mc:Fallback xmlns="">
          <p:pic>
            <p:nvPicPr>
              <p:cNvPr id="17" name="Ink 16">
                <a:extLst>
                  <a:ext uri="{FF2B5EF4-FFF2-40B4-BE49-F238E27FC236}">
                    <a16:creationId xmlns:a16="http://schemas.microsoft.com/office/drawing/2014/main" id="{EF960BDC-7A85-10B0-C25A-32C43082F8F6}"/>
                  </a:ext>
                </a:extLst>
              </p:cNvPr>
              <p:cNvPicPr/>
              <p:nvPr/>
            </p:nvPicPr>
            <p:blipFill>
              <a:blip r:embed="rId28"/>
              <a:stretch>
                <a:fillRect/>
              </a:stretch>
            </p:blipFill>
            <p:spPr>
              <a:xfrm>
                <a:off x="1797360" y="4360360"/>
                <a:ext cx="45360" cy="4500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18" name="Ink 17">
                <a:extLst>
                  <a:ext uri="{FF2B5EF4-FFF2-40B4-BE49-F238E27FC236}">
                    <a16:creationId xmlns:a16="http://schemas.microsoft.com/office/drawing/2014/main" id="{3188988E-660C-3EAC-4512-BE5A7902F0D0}"/>
                  </a:ext>
                </a:extLst>
              </p14:cNvPr>
              <p14:cNvContentPartPr/>
              <p14:nvPr/>
            </p14:nvContentPartPr>
            <p14:xfrm>
              <a:off x="1902480" y="5272960"/>
              <a:ext cx="10440" cy="12600"/>
            </p14:xfrm>
          </p:contentPart>
        </mc:Choice>
        <mc:Fallback xmlns="">
          <p:pic>
            <p:nvPicPr>
              <p:cNvPr id="18" name="Ink 17">
                <a:extLst>
                  <a:ext uri="{FF2B5EF4-FFF2-40B4-BE49-F238E27FC236}">
                    <a16:creationId xmlns:a16="http://schemas.microsoft.com/office/drawing/2014/main" id="{3188988E-660C-3EAC-4512-BE5A7902F0D0}"/>
                  </a:ext>
                </a:extLst>
              </p:cNvPr>
              <p:cNvPicPr/>
              <p:nvPr/>
            </p:nvPicPr>
            <p:blipFill>
              <a:blip r:embed="rId30"/>
              <a:stretch>
                <a:fillRect/>
              </a:stretch>
            </p:blipFill>
            <p:spPr>
              <a:xfrm>
                <a:off x="1887000" y="5257840"/>
                <a:ext cx="41040" cy="43200"/>
              </a:xfrm>
              <a:prstGeom prst="rect">
                <a:avLst/>
              </a:prstGeom>
            </p:spPr>
          </p:pic>
        </mc:Fallback>
      </mc:AlternateContent>
      <p:grpSp>
        <p:nvGrpSpPr>
          <p:cNvPr id="22" name="Group 21">
            <a:extLst>
              <a:ext uri="{FF2B5EF4-FFF2-40B4-BE49-F238E27FC236}">
                <a16:creationId xmlns:a16="http://schemas.microsoft.com/office/drawing/2014/main" id="{C06AC0C6-E3B7-FF4B-A8B7-13D9ABEBB5F3}"/>
              </a:ext>
            </a:extLst>
          </p:cNvPr>
          <p:cNvGrpSpPr/>
          <p:nvPr/>
        </p:nvGrpSpPr>
        <p:grpSpPr>
          <a:xfrm>
            <a:off x="3474960" y="3239680"/>
            <a:ext cx="334800" cy="330120"/>
            <a:chOff x="3474960" y="3239680"/>
            <a:chExt cx="334800" cy="330120"/>
          </a:xfrm>
        </p:grpSpPr>
        <mc:AlternateContent xmlns:mc="http://schemas.openxmlformats.org/markup-compatibility/2006" xmlns:p14="http://schemas.microsoft.com/office/powerpoint/2010/main">
          <mc:Choice Requires="p14">
            <p:contentPart p14:bwMode="auto" r:id="rId31">
              <p14:nvContentPartPr>
                <p14:cNvPr id="19" name="Ink 18">
                  <a:extLst>
                    <a:ext uri="{FF2B5EF4-FFF2-40B4-BE49-F238E27FC236}">
                      <a16:creationId xmlns:a16="http://schemas.microsoft.com/office/drawing/2014/main" id="{536C7495-8273-854A-0F39-7F013058EB8D}"/>
                    </a:ext>
                  </a:extLst>
                </p14:cNvPr>
                <p14:cNvContentPartPr/>
                <p14:nvPr/>
              </p14:nvContentPartPr>
              <p14:xfrm>
                <a:off x="3474960" y="3239680"/>
                <a:ext cx="171720" cy="330120"/>
              </p14:xfrm>
            </p:contentPart>
          </mc:Choice>
          <mc:Fallback xmlns="">
            <p:pic>
              <p:nvPicPr>
                <p:cNvPr id="19" name="Ink 18">
                  <a:extLst>
                    <a:ext uri="{FF2B5EF4-FFF2-40B4-BE49-F238E27FC236}">
                      <a16:creationId xmlns:a16="http://schemas.microsoft.com/office/drawing/2014/main" id="{536C7495-8273-854A-0F39-7F013058EB8D}"/>
                    </a:ext>
                  </a:extLst>
                </p:cNvPr>
                <p:cNvPicPr/>
                <p:nvPr/>
              </p:nvPicPr>
              <p:blipFill>
                <a:blip r:embed="rId32"/>
                <a:stretch>
                  <a:fillRect/>
                </a:stretch>
              </p:blipFill>
              <p:spPr>
                <a:xfrm>
                  <a:off x="3459840" y="3224560"/>
                  <a:ext cx="201960" cy="36072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20" name="Ink 19">
                  <a:extLst>
                    <a:ext uri="{FF2B5EF4-FFF2-40B4-BE49-F238E27FC236}">
                      <a16:creationId xmlns:a16="http://schemas.microsoft.com/office/drawing/2014/main" id="{D4C65DB5-F8EF-7325-03E7-2C89E2BA195B}"/>
                    </a:ext>
                  </a:extLst>
                </p14:cNvPr>
                <p14:cNvContentPartPr/>
                <p14:nvPr/>
              </p14:nvContentPartPr>
              <p14:xfrm>
                <a:off x="3680520" y="3252640"/>
                <a:ext cx="129240" cy="306000"/>
              </p14:xfrm>
            </p:contentPart>
          </mc:Choice>
          <mc:Fallback xmlns="">
            <p:pic>
              <p:nvPicPr>
                <p:cNvPr id="20" name="Ink 19">
                  <a:extLst>
                    <a:ext uri="{FF2B5EF4-FFF2-40B4-BE49-F238E27FC236}">
                      <a16:creationId xmlns:a16="http://schemas.microsoft.com/office/drawing/2014/main" id="{D4C65DB5-F8EF-7325-03E7-2C89E2BA195B}"/>
                    </a:ext>
                  </a:extLst>
                </p:cNvPr>
                <p:cNvPicPr/>
                <p:nvPr/>
              </p:nvPicPr>
              <p:blipFill>
                <a:blip r:embed="rId34"/>
                <a:stretch>
                  <a:fillRect/>
                </a:stretch>
              </p:blipFill>
              <p:spPr>
                <a:xfrm>
                  <a:off x="3665400" y="3237160"/>
                  <a:ext cx="159840" cy="3366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5">
            <p14:nvContentPartPr>
              <p14:cNvPr id="24" name="Ink 23">
                <a:extLst>
                  <a:ext uri="{FF2B5EF4-FFF2-40B4-BE49-F238E27FC236}">
                    <a16:creationId xmlns:a16="http://schemas.microsoft.com/office/drawing/2014/main" id="{00693611-26F0-4201-BCBD-9640BCF61590}"/>
                  </a:ext>
                </a:extLst>
              </p14:cNvPr>
              <p14:cNvContentPartPr/>
              <p14:nvPr/>
            </p14:nvContentPartPr>
            <p14:xfrm>
              <a:off x="683880" y="1853853"/>
              <a:ext cx="195480" cy="32760"/>
            </p14:xfrm>
          </p:contentPart>
        </mc:Choice>
        <mc:Fallback xmlns="">
          <p:pic>
            <p:nvPicPr>
              <p:cNvPr id="24" name="Ink 23">
                <a:extLst>
                  <a:ext uri="{FF2B5EF4-FFF2-40B4-BE49-F238E27FC236}">
                    <a16:creationId xmlns:a16="http://schemas.microsoft.com/office/drawing/2014/main" id="{00693611-26F0-4201-BCBD-9640BCF61590}"/>
                  </a:ext>
                </a:extLst>
              </p:cNvPr>
              <p:cNvPicPr/>
              <p:nvPr/>
            </p:nvPicPr>
            <p:blipFill>
              <a:blip r:embed="rId36"/>
              <a:stretch>
                <a:fillRect/>
              </a:stretch>
            </p:blipFill>
            <p:spPr>
              <a:xfrm>
                <a:off x="668760" y="1838733"/>
                <a:ext cx="225720" cy="6300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25" name="Ink 24">
                <a:extLst>
                  <a:ext uri="{FF2B5EF4-FFF2-40B4-BE49-F238E27FC236}">
                    <a16:creationId xmlns:a16="http://schemas.microsoft.com/office/drawing/2014/main" id="{3E5A8A57-83D7-0472-E1CE-BDE4A2645424}"/>
                  </a:ext>
                </a:extLst>
              </p14:cNvPr>
              <p14:cNvContentPartPr/>
              <p14:nvPr/>
            </p14:nvContentPartPr>
            <p14:xfrm>
              <a:off x="1441680" y="2015133"/>
              <a:ext cx="150840" cy="9360"/>
            </p14:xfrm>
          </p:contentPart>
        </mc:Choice>
        <mc:Fallback xmlns="">
          <p:pic>
            <p:nvPicPr>
              <p:cNvPr id="25" name="Ink 24">
                <a:extLst>
                  <a:ext uri="{FF2B5EF4-FFF2-40B4-BE49-F238E27FC236}">
                    <a16:creationId xmlns:a16="http://schemas.microsoft.com/office/drawing/2014/main" id="{3E5A8A57-83D7-0472-E1CE-BDE4A2645424}"/>
                  </a:ext>
                </a:extLst>
              </p:cNvPr>
              <p:cNvPicPr/>
              <p:nvPr/>
            </p:nvPicPr>
            <p:blipFill>
              <a:blip r:embed="rId38"/>
              <a:stretch>
                <a:fillRect/>
              </a:stretch>
            </p:blipFill>
            <p:spPr>
              <a:xfrm>
                <a:off x="1426200" y="2000013"/>
                <a:ext cx="181080" cy="3960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26" name="Ink 25">
                <a:extLst>
                  <a:ext uri="{FF2B5EF4-FFF2-40B4-BE49-F238E27FC236}">
                    <a16:creationId xmlns:a16="http://schemas.microsoft.com/office/drawing/2014/main" id="{1F704B22-0FFF-0B1B-B23E-2041376972F1}"/>
                  </a:ext>
                </a:extLst>
              </p14:cNvPr>
              <p14:cNvContentPartPr/>
              <p14:nvPr/>
            </p14:nvContentPartPr>
            <p14:xfrm>
              <a:off x="2346360" y="1937733"/>
              <a:ext cx="80280" cy="5400"/>
            </p14:xfrm>
          </p:contentPart>
        </mc:Choice>
        <mc:Fallback xmlns="">
          <p:pic>
            <p:nvPicPr>
              <p:cNvPr id="26" name="Ink 25">
                <a:extLst>
                  <a:ext uri="{FF2B5EF4-FFF2-40B4-BE49-F238E27FC236}">
                    <a16:creationId xmlns:a16="http://schemas.microsoft.com/office/drawing/2014/main" id="{1F704B22-0FFF-0B1B-B23E-2041376972F1}"/>
                  </a:ext>
                </a:extLst>
              </p:cNvPr>
              <p:cNvPicPr/>
              <p:nvPr/>
            </p:nvPicPr>
            <p:blipFill>
              <a:blip r:embed="rId40"/>
              <a:stretch>
                <a:fillRect/>
              </a:stretch>
            </p:blipFill>
            <p:spPr>
              <a:xfrm>
                <a:off x="2331240" y="1922613"/>
                <a:ext cx="11088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27" name="Ink 26">
                <a:extLst>
                  <a:ext uri="{FF2B5EF4-FFF2-40B4-BE49-F238E27FC236}">
                    <a16:creationId xmlns:a16="http://schemas.microsoft.com/office/drawing/2014/main" id="{8016144A-624B-4D9C-25D6-0E481CD6C4CF}"/>
                  </a:ext>
                </a:extLst>
              </p14:cNvPr>
              <p14:cNvContentPartPr/>
              <p14:nvPr/>
            </p14:nvContentPartPr>
            <p14:xfrm>
              <a:off x="3445440" y="1951773"/>
              <a:ext cx="27000" cy="5400"/>
            </p14:xfrm>
          </p:contentPart>
        </mc:Choice>
        <mc:Fallback xmlns="">
          <p:pic>
            <p:nvPicPr>
              <p:cNvPr id="27" name="Ink 26">
                <a:extLst>
                  <a:ext uri="{FF2B5EF4-FFF2-40B4-BE49-F238E27FC236}">
                    <a16:creationId xmlns:a16="http://schemas.microsoft.com/office/drawing/2014/main" id="{8016144A-624B-4D9C-25D6-0E481CD6C4CF}"/>
                  </a:ext>
                </a:extLst>
              </p:cNvPr>
              <p:cNvPicPr/>
              <p:nvPr/>
            </p:nvPicPr>
            <p:blipFill>
              <a:blip r:embed="rId42"/>
              <a:stretch>
                <a:fillRect/>
              </a:stretch>
            </p:blipFill>
            <p:spPr>
              <a:xfrm>
                <a:off x="3430320" y="1936653"/>
                <a:ext cx="5724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28" name="Ink 27">
                <a:extLst>
                  <a:ext uri="{FF2B5EF4-FFF2-40B4-BE49-F238E27FC236}">
                    <a16:creationId xmlns:a16="http://schemas.microsoft.com/office/drawing/2014/main" id="{FF0F1754-79A7-FFBA-4D2B-3E0510AE6F2B}"/>
                  </a:ext>
                </a:extLst>
              </p14:cNvPr>
              <p14:cNvContentPartPr/>
              <p14:nvPr/>
            </p14:nvContentPartPr>
            <p14:xfrm>
              <a:off x="4624440" y="2071653"/>
              <a:ext cx="2520" cy="16200"/>
            </p14:xfrm>
          </p:contentPart>
        </mc:Choice>
        <mc:Fallback xmlns="">
          <p:pic>
            <p:nvPicPr>
              <p:cNvPr id="28" name="Ink 27">
                <a:extLst>
                  <a:ext uri="{FF2B5EF4-FFF2-40B4-BE49-F238E27FC236}">
                    <a16:creationId xmlns:a16="http://schemas.microsoft.com/office/drawing/2014/main" id="{FF0F1754-79A7-FFBA-4D2B-3E0510AE6F2B}"/>
                  </a:ext>
                </a:extLst>
              </p:cNvPr>
              <p:cNvPicPr/>
              <p:nvPr/>
            </p:nvPicPr>
            <p:blipFill>
              <a:blip r:embed="rId44"/>
              <a:stretch>
                <a:fillRect/>
              </a:stretch>
            </p:blipFill>
            <p:spPr>
              <a:xfrm>
                <a:off x="4608960" y="2056173"/>
                <a:ext cx="33120" cy="4680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29" name="Ink 28">
                <a:extLst>
                  <a:ext uri="{FF2B5EF4-FFF2-40B4-BE49-F238E27FC236}">
                    <a16:creationId xmlns:a16="http://schemas.microsoft.com/office/drawing/2014/main" id="{ED1E88ED-DE76-D856-F068-91A46A156B20}"/>
                  </a:ext>
                </a:extLst>
              </p14:cNvPr>
              <p14:cNvContentPartPr/>
              <p14:nvPr/>
            </p14:nvContentPartPr>
            <p14:xfrm>
              <a:off x="607560" y="2622453"/>
              <a:ext cx="416520" cy="389520"/>
            </p14:xfrm>
          </p:contentPart>
        </mc:Choice>
        <mc:Fallback xmlns="">
          <p:pic>
            <p:nvPicPr>
              <p:cNvPr id="29" name="Ink 28">
                <a:extLst>
                  <a:ext uri="{FF2B5EF4-FFF2-40B4-BE49-F238E27FC236}">
                    <a16:creationId xmlns:a16="http://schemas.microsoft.com/office/drawing/2014/main" id="{ED1E88ED-DE76-D856-F068-91A46A156B20}"/>
                  </a:ext>
                </a:extLst>
              </p:cNvPr>
              <p:cNvPicPr/>
              <p:nvPr/>
            </p:nvPicPr>
            <p:blipFill>
              <a:blip r:embed="rId46"/>
              <a:stretch>
                <a:fillRect/>
              </a:stretch>
            </p:blipFill>
            <p:spPr>
              <a:xfrm>
                <a:off x="592440" y="2607333"/>
                <a:ext cx="447120" cy="4197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30" name="Ink 29">
                <a:extLst>
                  <a:ext uri="{FF2B5EF4-FFF2-40B4-BE49-F238E27FC236}">
                    <a16:creationId xmlns:a16="http://schemas.microsoft.com/office/drawing/2014/main" id="{CFF4EF22-BCBE-1E91-433C-6A0B483E749B}"/>
                  </a:ext>
                </a:extLst>
              </p14:cNvPr>
              <p14:cNvContentPartPr/>
              <p14:nvPr/>
            </p14:nvContentPartPr>
            <p14:xfrm>
              <a:off x="1813920" y="2616333"/>
              <a:ext cx="629280" cy="498240"/>
            </p14:xfrm>
          </p:contentPart>
        </mc:Choice>
        <mc:Fallback xmlns="">
          <p:pic>
            <p:nvPicPr>
              <p:cNvPr id="30" name="Ink 29">
                <a:extLst>
                  <a:ext uri="{FF2B5EF4-FFF2-40B4-BE49-F238E27FC236}">
                    <a16:creationId xmlns:a16="http://schemas.microsoft.com/office/drawing/2014/main" id="{CFF4EF22-BCBE-1E91-433C-6A0B483E749B}"/>
                  </a:ext>
                </a:extLst>
              </p:cNvPr>
              <p:cNvPicPr/>
              <p:nvPr/>
            </p:nvPicPr>
            <p:blipFill>
              <a:blip r:embed="rId48"/>
              <a:stretch>
                <a:fillRect/>
              </a:stretch>
            </p:blipFill>
            <p:spPr>
              <a:xfrm>
                <a:off x="1798440" y="2601213"/>
                <a:ext cx="659880" cy="52884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31" name="Ink 30">
                <a:extLst>
                  <a:ext uri="{FF2B5EF4-FFF2-40B4-BE49-F238E27FC236}">
                    <a16:creationId xmlns:a16="http://schemas.microsoft.com/office/drawing/2014/main" id="{F1D3BA38-A69E-FD13-E6C3-7937A3CBB677}"/>
                  </a:ext>
                </a:extLst>
              </p14:cNvPr>
              <p14:cNvContentPartPr/>
              <p14:nvPr/>
            </p14:nvContentPartPr>
            <p14:xfrm>
              <a:off x="3394680" y="2617053"/>
              <a:ext cx="363240" cy="401040"/>
            </p14:xfrm>
          </p:contentPart>
        </mc:Choice>
        <mc:Fallback xmlns="">
          <p:pic>
            <p:nvPicPr>
              <p:cNvPr id="31" name="Ink 30">
                <a:extLst>
                  <a:ext uri="{FF2B5EF4-FFF2-40B4-BE49-F238E27FC236}">
                    <a16:creationId xmlns:a16="http://schemas.microsoft.com/office/drawing/2014/main" id="{F1D3BA38-A69E-FD13-E6C3-7937A3CBB677}"/>
                  </a:ext>
                </a:extLst>
              </p:cNvPr>
              <p:cNvPicPr/>
              <p:nvPr/>
            </p:nvPicPr>
            <p:blipFill>
              <a:blip r:embed="rId50"/>
              <a:stretch>
                <a:fillRect/>
              </a:stretch>
            </p:blipFill>
            <p:spPr>
              <a:xfrm>
                <a:off x="3379560" y="2601573"/>
                <a:ext cx="393840" cy="43128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32" name="Ink 31">
                <a:extLst>
                  <a:ext uri="{FF2B5EF4-FFF2-40B4-BE49-F238E27FC236}">
                    <a16:creationId xmlns:a16="http://schemas.microsoft.com/office/drawing/2014/main" id="{46ECC8BF-06C1-5081-3B3C-AD31664054DA}"/>
                  </a:ext>
                </a:extLst>
              </p14:cNvPr>
              <p14:cNvContentPartPr/>
              <p14:nvPr/>
            </p14:nvContentPartPr>
            <p14:xfrm>
              <a:off x="4718760" y="2694093"/>
              <a:ext cx="599400" cy="333720"/>
            </p14:xfrm>
          </p:contentPart>
        </mc:Choice>
        <mc:Fallback xmlns="">
          <p:pic>
            <p:nvPicPr>
              <p:cNvPr id="32" name="Ink 31">
                <a:extLst>
                  <a:ext uri="{FF2B5EF4-FFF2-40B4-BE49-F238E27FC236}">
                    <a16:creationId xmlns:a16="http://schemas.microsoft.com/office/drawing/2014/main" id="{46ECC8BF-06C1-5081-3B3C-AD31664054DA}"/>
                  </a:ext>
                </a:extLst>
              </p:cNvPr>
              <p:cNvPicPr/>
              <p:nvPr/>
            </p:nvPicPr>
            <p:blipFill>
              <a:blip r:embed="rId52"/>
              <a:stretch>
                <a:fillRect/>
              </a:stretch>
            </p:blipFill>
            <p:spPr>
              <a:xfrm>
                <a:off x="4703640" y="2678613"/>
                <a:ext cx="629640" cy="36432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33" name="Ink 32">
                <a:extLst>
                  <a:ext uri="{FF2B5EF4-FFF2-40B4-BE49-F238E27FC236}">
                    <a16:creationId xmlns:a16="http://schemas.microsoft.com/office/drawing/2014/main" id="{62DA57F9-4667-BECA-320F-8FA8D7F20139}"/>
                  </a:ext>
                </a:extLst>
              </p14:cNvPr>
              <p14:cNvContentPartPr/>
              <p14:nvPr/>
            </p14:nvContentPartPr>
            <p14:xfrm>
              <a:off x="6718200" y="2354253"/>
              <a:ext cx="63000" cy="668880"/>
            </p14:xfrm>
          </p:contentPart>
        </mc:Choice>
        <mc:Fallback xmlns="">
          <p:pic>
            <p:nvPicPr>
              <p:cNvPr id="33" name="Ink 32">
                <a:extLst>
                  <a:ext uri="{FF2B5EF4-FFF2-40B4-BE49-F238E27FC236}">
                    <a16:creationId xmlns:a16="http://schemas.microsoft.com/office/drawing/2014/main" id="{62DA57F9-4667-BECA-320F-8FA8D7F20139}"/>
                  </a:ext>
                </a:extLst>
              </p:cNvPr>
              <p:cNvPicPr/>
              <p:nvPr/>
            </p:nvPicPr>
            <p:blipFill>
              <a:blip r:embed="rId54"/>
              <a:stretch>
                <a:fillRect/>
              </a:stretch>
            </p:blipFill>
            <p:spPr>
              <a:xfrm>
                <a:off x="6702720" y="2339133"/>
                <a:ext cx="93240" cy="699480"/>
              </a:xfrm>
              <a:prstGeom prst="rect">
                <a:avLst/>
              </a:prstGeom>
            </p:spPr>
          </p:pic>
        </mc:Fallback>
      </mc:AlternateContent>
      <mc:AlternateContent xmlns:mc="http://schemas.openxmlformats.org/markup-compatibility/2006" xmlns:p14="http://schemas.microsoft.com/office/powerpoint/2010/main">
        <mc:Choice Requires="p14">
          <p:contentPart p14:bwMode="auto" r:id="rId55">
            <p14:nvContentPartPr>
              <p14:cNvPr id="34" name="Ink 33">
                <a:extLst>
                  <a:ext uri="{FF2B5EF4-FFF2-40B4-BE49-F238E27FC236}">
                    <a16:creationId xmlns:a16="http://schemas.microsoft.com/office/drawing/2014/main" id="{C5CF2256-22BB-AE18-BDB9-77AD6B28783F}"/>
                  </a:ext>
                </a:extLst>
              </p14:cNvPr>
              <p14:cNvContentPartPr/>
              <p14:nvPr/>
            </p14:nvContentPartPr>
            <p14:xfrm>
              <a:off x="7068120" y="2314293"/>
              <a:ext cx="133560" cy="516960"/>
            </p14:xfrm>
          </p:contentPart>
        </mc:Choice>
        <mc:Fallback xmlns="">
          <p:pic>
            <p:nvPicPr>
              <p:cNvPr id="34" name="Ink 33">
                <a:extLst>
                  <a:ext uri="{FF2B5EF4-FFF2-40B4-BE49-F238E27FC236}">
                    <a16:creationId xmlns:a16="http://schemas.microsoft.com/office/drawing/2014/main" id="{C5CF2256-22BB-AE18-BDB9-77AD6B28783F}"/>
                  </a:ext>
                </a:extLst>
              </p:cNvPr>
              <p:cNvPicPr/>
              <p:nvPr/>
            </p:nvPicPr>
            <p:blipFill>
              <a:blip r:embed="rId56"/>
              <a:stretch>
                <a:fillRect/>
              </a:stretch>
            </p:blipFill>
            <p:spPr>
              <a:xfrm>
                <a:off x="7052640" y="2299173"/>
                <a:ext cx="164160" cy="547560"/>
              </a:xfrm>
              <a:prstGeom prst="rect">
                <a:avLst/>
              </a:prstGeom>
            </p:spPr>
          </p:pic>
        </mc:Fallback>
      </mc:AlternateContent>
    </p:spTree>
    <p:extLst>
      <p:ext uri="{BB962C8B-B14F-4D97-AF65-F5344CB8AC3E}">
        <p14:creationId xmlns:p14="http://schemas.microsoft.com/office/powerpoint/2010/main" val="26915905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F5E603-548B-4576-BBB6-A50532C3D243}"/>
              </a:ext>
            </a:extLst>
          </p:cNvPr>
          <p:cNvGraphicFramePr>
            <a:graphicFrameLocks noChangeAspect="1"/>
          </p:cNvGraphicFramePr>
          <p:nvPr>
            <p:custDataLst>
              <p:tags r:id="rId1"/>
            </p:custDataLst>
            <p:extLst>
              <p:ext uri="{D42A27DB-BD31-4B8C-83A1-F6EECF244321}">
                <p14:modId xmlns:p14="http://schemas.microsoft.com/office/powerpoint/2010/main" val="1915520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D9F5E603-548B-4576-BBB6-A50532C3D2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47637" y="92147"/>
            <a:ext cx="11896725" cy="615950"/>
          </a:xfrm>
        </p:spPr>
        <p:txBody>
          <a:bodyPr vert="horz">
            <a:normAutofit fontScale="90000"/>
          </a:bodyPr>
          <a:lstStyle/>
          <a:p>
            <a:r>
              <a:rPr lang="en-US" b="1" dirty="0">
                <a:solidFill>
                  <a:schemeClr val="accent1"/>
                </a:solidFill>
              </a:rPr>
              <a:t>Word Embeddings – Word2vec</a:t>
            </a:r>
            <a:r>
              <a:rPr lang="en-US" dirty="0">
                <a:solidFill>
                  <a:schemeClr val="accent1"/>
                </a:solidFill>
              </a:rPr>
              <a:t> models introduction</a:t>
            </a:r>
          </a:p>
        </p:txBody>
      </p:sp>
      <p:sp>
        <p:nvSpPr>
          <p:cNvPr id="19" name="TextBox 18">
            <a:extLst>
              <a:ext uri="{FF2B5EF4-FFF2-40B4-BE49-F238E27FC236}">
                <a16:creationId xmlns:a16="http://schemas.microsoft.com/office/drawing/2014/main" id="{58A59DC6-D3D0-4BB1-93BC-9ECA02D2F6F8}"/>
              </a:ext>
            </a:extLst>
          </p:cNvPr>
          <p:cNvSpPr txBox="1"/>
          <p:nvPr/>
        </p:nvSpPr>
        <p:spPr>
          <a:xfrm>
            <a:off x="1398248" y="5320973"/>
            <a:ext cx="9395502" cy="400110"/>
          </a:xfrm>
          <a:prstGeom prst="rect">
            <a:avLst/>
          </a:prstGeom>
          <a:noFill/>
        </p:spPr>
        <p:txBody>
          <a:bodyPr wrap="square">
            <a:spAutoFit/>
          </a:bodyPr>
          <a:lstStyle/>
          <a:p>
            <a:pPr algn="l">
              <a:buClr>
                <a:srgbClr val="3A6008"/>
              </a:buClr>
            </a:pPr>
            <a:r>
              <a:rPr lang="en-US" altLang="en-US" sz="2000" i="1" dirty="0"/>
              <a:t>Using the context from previous or post words – </a:t>
            </a:r>
            <a:r>
              <a:rPr lang="en-US" altLang="en-US" sz="2000" b="1" i="1" dirty="0"/>
              <a:t>Sliding window</a:t>
            </a:r>
            <a:r>
              <a:rPr lang="en-US" altLang="en-US" sz="2000" i="1" dirty="0"/>
              <a:t> (parameter) concept </a:t>
            </a:r>
            <a:endParaRPr lang="en-US" altLang="en-US" sz="2000" b="1" i="1" dirty="0"/>
          </a:p>
        </p:txBody>
      </p:sp>
      <p:pic>
        <p:nvPicPr>
          <p:cNvPr id="4" name="Picture 3">
            <a:extLst>
              <a:ext uri="{FF2B5EF4-FFF2-40B4-BE49-F238E27FC236}">
                <a16:creationId xmlns:a16="http://schemas.microsoft.com/office/drawing/2014/main" id="{28DF1776-4688-4184-8056-D3B5204963E1}"/>
              </a:ext>
            </a:extLst>
          </p:cNvPr>
          <p:cNvPicPr>
            <a:picLocks noChangeAspect="1"/>
          </p:cNvPicPr>
          <p:nvPr/>
        </p:nvPicPr>
        <p:blipFill>
          <a:blip r:embed="rId6"/>
          <a:stretch>
            <a:fillRect/>
          </a:stretch>
        </p:blipFill>
        <p:spPr>
          <a:xfrm>
            <a:off x="147637" y="1147690"/>
            <a:ext cx="5859319" cy="3927038"/>
          </a:xfrm>
          <a:prstGeom prst="rect">
            <a:avLst/>
          </a:prstGeom>
        </p:spPr>
      </p:pic>
      <p:pic>
        <p:nvPicPr>
          <p:cNvPr id="18" name="Picture 17">
            <a:extLst>
              <a:ext uri="{FF2B5EF4-FFF2-40B4-BE49-F238E27FC236}">
                <a16:creationId xmlns:a16="http://schemas.microsoft.com/office/drawing/2014/main" id="{9DF83ABF-6900-4058-A2C9-722B0190D2D4}"/>
              </a:ext>
            </a:extLst>
          </p:cNvPr>
          <p:cNvPicPr>
            <a:picLocks noChangeAspect="1"/>
          </p:cNvPicPr>
          <p:nvPr/>
        </p:nvPicPr>
        <p:blipFill>
          <a:blip r:embed="rId7"/>
          <a:stretch>
            <a:fillRect/>
          </a:stretch>
        </p:blipFill>
        <p:spPr>
          <a:xfrm>
            <a:off x="6185046" y="1157964"/>
            <a:ext cx="5859319" cy="3901192"/>
          </a:xfrm>
          <a:prstGeom prst="rect">
            <a:avLst/>
          </a:prstGeom>
        </p:spPr>
      </p:pic>
    </p:spTree>
    <p:extLst>
      <p:ext uri="{BB962C8B-B14F-4D97-AF65-F5344CB8AC3E}">
        <p14:creationId xmlns:p14="http://schemas.microsoft.com/office/powerpoint/2010/main" val="30902718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930</TotalTime>
  <Words>956</Words>
  <Application>Microsoft Macintosh PowerPoint</Application>
  <PresentationFormat>Widescreen</PresentationFormat>
  <Paragraphs>82</Paragraphs>
  <Slides>32</Slides>
  <Notes>1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8" baseType="lpstr">
      <vt:lpstr>Arial</vt:lpstr>
      <vt:lpstr>Calibri</vt:lpstr>
      <vt:lpstr>Calibri Light</vt:lpstr>
      <vt:lpstr>Helvetica Neue</vt:lpstr>
      <vt:lpstr>Office Theme</vt:lpstr>
      <vt:lpstr>think-cell Slide</vt:lpstr>
      <vt:lpstr>Word Embeddings &amp; Deep Learning - NLP</vt:lpstr>
      <vt:lpstr>PowerPoint Presentation</vt:lpstr>
      <vt:lpstr>Word Embeddings – Feature representation of words</vt:lpstr>
      <vt:lpstr>Word Embeddings – One Hot representation of words</vt:lpstr>
      <vt:lpstr>Word Embeddings – Feature representation of words</vt:lpstr>
      <vt:lpstr>Word Embeddings – How do we see semantic relationship Properties (Analogies using word vec)</vt:lpstr>
      <vt:lpstr>Word Embeddings – Embedding Matrix to Layer</vt:lpstr>
      <vt:lpstr>Word Embeddings – Neural Language Model Framework</vt:lpstr>
      <vt:lpstr>Word Embeddings – Word2vec models introduction</vt:lpstr>
      <vt:lpstr>Word2vec – Skip-gram model Contd…</vt:lpstr>
      <vt:lpstr>PowerPoint Presentation</vt:lpstr>
      <vt:lpstr>PowerPoint Presentation</vt:lpstr>
      <vt:lpstr>PowerPoint Presentation</vt:lpstr>
      <vt:lpstr>PowerPoint Presentation</vt:lpstr>
      <vt:lpstr>PowerPoint Presentation</vt:lpstr>
      <vt:lpstr>Word2vec – Negative Sampling Introduction</vt:lpstr>
      <vt:lpstr>PowerPoint Presentation</vt:lpstr>
      <vt:lpstr>PowerPoint Presentation</vt:lpstr>
      <vt:lpstr>PowerPoint Presentation</vt:lpstr>
      <vt:lpstr>GloVe – Global Vectors</vt:lpstr>
      <vt:lpstr>GloVe – Word-word Co-occurrence Matrix</vt:lpstr>
      <vt:lpstr>Word2Vec v/s GloVE</vt:lpstr>
      <vt:lpstr>GloVe – Co-occurrence Probabilities Intuition</vt:lpstr>
      <vt:lpstr>GloVe – Co-occurrence Probabilities Intuition</vt:lpstr>
      <vt:lpstr>GloVe – Towards Cost Function</vt:lpstr>
      <vt:lpstr>GloVe – Towards Cost Function</vt:lpstr>
      <vt:lpstr>GloVe – Towards Cost Function</vt:lpstr>
      <vt:lpstr>GloVe – Towards Cost Function Contd…</vt:lpstr>
      <vt:lpstr>GloVe – Towards Cost Function Contd…</vt:lpstr>
      <vt:lpstr>PowerPoint Presentation</vt:lpstr>
      <vt:lpstr>PowerPoint Presentation</vt:lpstr>
      <vt:lpstr>Word2vec – Skip-gram Mode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supervised Learning – Clustering</dc:title>
  <dc:creator>Chhabra, Aniket</dc:creator>
  <cp:lastModifiedBy>Aniket Chhabra</cp:lastModifiedBy>
  <cp:revision>10</cp:revision>
  <dcterms:created xsi:type="dcterms:W3CDTF">2020-12-23T05:35:44Z</dcterms:created>
  <dcterms:modified xsi:type="dcterms:W3CDTF">2023-09-09T14:45:04Z</dcterms:modified>
</cp:coreProperties>
</file>